
<file path=[Content_Types].xml><?xml version="1.0" encoding="utf-8"?>
<Types xmlns="http://schemas.openxmlformats.org/package/2006/content-types">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70" r:id="rId2"/>
    <p:sldId id="258" r:id="rId3"/>
    <p:sldId id="271" r:id="rId4"/>
    <p:sldId id="272" r:id="rId5"/>
    <p:sldId id="274" r:id="rId6"/>
    <p:sldId id="277" r:id="rId7"/>
    <p:sldId id="279" r:id="rId8"/>
    <p:sldId id="280" r:id="rId9"/>
    <p:sldId id="281" r:id="rId10"/>
    <p:sldId id="278" r:id="rId11"/>
    <p:sldId id="27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8DC8E8"/>
    <a:srgbClr val="0E4966"/>
    <a:srgbClr val="FFFF00"/>
    <a:srgbClr val="00B0B5"/>
    <a:srgbClr val="5F2B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20" autoAdjust="0"/>
    <p:restoredTop sz="94681"/>
  </p:normalViewPr>
  <p:slideViewPr>
    <p:cSldViewPr snapToGrid="0">
      <p:cViewPr varScale="1">
        <p:scale>
          <a:sx n="107" d="100"/>
          <a:sy n="107" d="100"/>
        </p:scale>
        <p:origin x="992" y="17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7" d="100"/>
          <a:sy n="87" d="100"/>
        </p:scale>
        <p:origin x="3904"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E5A98D-7A81-7A45-A8E9-CC2AB427EF1A}" type="datetimeFigureOut">
              <a:rPr lang="en-US" smtClean="0"/>
              <a:t>5/21/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17A6FE-03BA-244C-AD0A-1B6993A49B02}" type="slidenum">
              <a:rPr lang="en-US" smtClean="0"/>
              <a:t>‹#›</a:t>
            </a:fld>
            <a:endParaRPr lang="en-US"/>
          </a:p>
        </p:txBody>
      </p:sp>
    </p:spTree>
    <p:extLst>
      <p:ext uri="{BB962C8B-B14F-4D97-AF65-F5344CB8AC3E}">
        <p14:creationId xmlns:p14="http://schemas.microsoft.com/office/powerpoint/2010/main" val="33302019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pha4ge.or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asbcb.org/"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www.sanbi.ac.za/" TargetMode="External"/><Relationship Id="rId4" Type="http://schemas.openxmlformats.org/officeDocument/2006/relationships/hyperlink" Target="http://h3abionet.or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gisaid.org/"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submit.ncbi.nlm.nih.gov/subs/sra/"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solidFill>
                <a:srgbClr val="FF0000"/>
              </a:solidFill>
            </a:endParaRPr>
          </a:p>
        </p:txBody>
      </p:sp>
      <p:sp>
        <p:nvSpPr>
          <p:cNvPr id="4" name="Slide Number Placeholder 3"/>
          <p:cNvSpPr>
            <a:spLocks noGrp="1"/>
          </p:cNvSpPr>
          <p:nvPr>
            <p:ph type="sldNum" sz="quarter" idx="5"/>
          </p:nvPr>
        </p:nvSpPr>
        <p:spPr/>
        <p:txBody>
          <a:bodyPr/>
          <a:lstStyle/>
          <a:p>
            <a:fld id="{8617A6FE-03BA-244C-AD0A-1B6993A49B02}" type="slidenum">
              <a:rPr lang="en-US" smtClean="0"/>
              <a:t>1</a:t>
            </a:fld>
            <a:endParaRPr lang="en-US"/>
          </a:p>
        </p:txBody>
      </p:sp>
    </p:spTree>
    <p:extLst>
      <p:ext uri="{BB962C8B-B14F-4D97-AF65-F5344CB8AC3E}">
        <p14:creationId xmlns:p14="http://schemas.microsoft.com/office/powerpoint/2010/main" val="699281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71575"/>
            <a:ext cx="5486400" cy="3086100"/>
          </a:xfrm>
        </p:spPr>
      </p:sp>
      <p:sp>
        <p:nvSpPr>
          <p:cNvPr id="3" name="Notes Placeholder 2"/>
          <p:cNvSpPr>
            <a:spLocks noGrp="1"/>
          </p:cNvSpPr>
          <p:nvPr>
            <p:ph type="body" idx="1"/>
          </p:nvPr>
        </p:nvSpPr>
        <p:spPr/>
        <p:txBody>
          <a:bodyPr/>
          <a:lstStyle/>
          <a:p>
            <a:r>
              <a:rPr lang="en-ZA" b="1" dirty="0"/>
              <a:t>Who oversees the development of these data standards?</a:t>
            </a:r>
            <a:endParaRPr lang="en-ZA" dirty="0"/>
          </a:p>
          <a:p>
            <a:r>
              <a:rPr lang="en-ZA" dirty="0"/>
              <a:t>There are variety of global initiatives aimed at championing the development of open-source data standards. </a:t>
            </a:r>
          </a:p>
          <a:p>
            <a:r>
              <a:rPr lang="en-ZA" dirty="0"/>
              <a:t>In October 2019, the Bill &amp; Melinda Gates Foundation funded the launch of a global initiative called the Public health Alliance for Genomic Epidemiology (PHA4GE). PHA4GE was established to champion the support for development of bioinformatics and data standards for public health. There are 8 working groups in this global initiative. This global community provide a forum to debate new data exchange standards, or to drive the establishment of best practices for using computing protocols in public health to analyse viruses such as SARS-COV-2 or bacterial drug resistance. identification. </a:t>
            </a:r>
          </a:p>
          <a:p>
            <a:r>
              <a:rPr lang="en-ZA" u="sng" dirty="0">
                <a:hlinkClick r:id="rId3"/>
              </a:rPr>
              <a:t>http://www.pha4ge.org</a:t>
            </a:r>
            <a:endParaRPr lang="en-ZA" dirty="0"/>
          </a:p>
          <a:p>
            <a:endParaRPr lang="en-US"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10</a:t>
            </a:fld>
            <a:endParaRPr lang="en-US"/>
          </a:p>
        </p:txBody>
      </p:sp>
    </p:spTree>
    <p:extLst>
      <p:ext uri="{BB962C8B-B14F-4D97-AF65-F5344CB8AC3E}">
        <p14:creationId xmlns:p14="http://schemas.microsoft.com/office/powerpoint/2010/main" val="3374712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 I acquire training in data analytics in Africa?</a:t>
            </a:r>
            <a:endParaRPr lang="en-ZA" dirty="0"/>
          </a:p>
          <a:p>
            <a:r>
              <a:rPr lang="en-ZA" dirty="0"/>
              <a:t>There are a number of initiatives across Africa devoted to bioinformatics including National Institutes of Health and </a:t>
            </a:r>
            <a:r>
              <a:rPr lang="en-ZA" dirty="0" err="1"/>
              <a:t>Wellcome</a:t>
            </a:r>
            <a:r>
              <a:rPr lang="en-ZA" dirty="0"/>
              <a:t> Trust funded H3Africa Bioinformatics Network with a focus on human genomics. The African Society for Bioinformatics and Computational Biology provides a community of practice that is driving data intensive research across a wide range of disciplines including human, animal and agriculture.  </a:t>
            </a:r>
          </a:p>
          <a:p>
            <a:r>
              <a:rPr lang="en-ZA" dirty="0"/>
              <a:t>More recently the Africa CDC launch a Pathogen Genomics Intelligence Initiative with the purpose driving data analytics training support and applications across the African Continent. </a:t>
            </a:r>
          </a:p>
          <a:p>
            <a:r>
              <a:rPr lang="en-ZA" dirty="0"/>
              <a:t>Through partnerships with organisations such as the South African National Bioinformatics Institute, they aim to build a data analytics platform that can be deployed at National Public Health Institutes. Through this partnership they envision a data analysis skills force that includes both bioinformatics scientists and system engineers. </a:t>
            </a:r>
          </a:p>
          <a:p>
            <a:r>
              <a:rPr lang="en-ZA" u="sng" dirty="0">
                <a:hlinkClick r:id="rId3"/>
              </a:rPr>
              <a:t>http://www.asbcb.org</a:t>
            </a:r>
            <a:r>
              <a:rPr lang="en-ZA" dirty="0"/>
              <a:t>  ;  </a:t>
            </a:r>
            <a:r>
              <a:rPr lang="en-ZA" u="sng" dirty="0">
                <a:hlinkClick r:id="rId4"/>
              </a:rPr>
              <a:t>http://h3abionet.org</a:t>
            </a:r>
            <a:r>
              <a:rPr lang="en-ZA" dirty="0"/>
              <a:t> ; </a:t>
            </a:r>
            <a:r>
              <a:rPr lang="en-ZA" u="sng" dirty="0">
                <a:hlinkClick r:id="rId5"/>
              </a:rPr>
              <a:t>http://www.sanbi.ac.za</a:t>
            </a:r>
            <a:endParaRPr lang="en-ZA" dirty="0"/>
          </a:p>
          <a:p>
            <a:endParaRPr lang="en-US"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11</a:t>
            </a:fld>
            <a:endParaRPr lang="en-US"/>
          </a:p>
        </p:txBody>
      </p:sp>
    </p:spTree>
    <p:extLst>
      <p:ext uri="{BB962C8B-B14F-4D97-AF65-F5344CB8AC3E}">
        <p14:creationId xmlns:p14="http://schemas.microsoft.com/office/powerpoint/2010/main" val="782610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ly, </a:t>
            </a:r>
            <a:r>
              <a:rPr lang="en-GB" dirty="0"/>
              <a:t>a genome </a:t>
            </a:r>
            <a:r>
              <a:rPr lang="en-ZA" dirty="0"/>
              <a:t>is an organism’s complete set of DNA organised as genetic messages. It includes all the information that is needed to construct an organism and to keep this organism functional. </a:t>
            </a:r>
          </a:p>
          <a:p>
            <a:r>
              <a:rPr lang="en-GB" dirty="0"/>
              <a:t>Genomics on the other hand represent a branch of molecular biology that deals with t</a:t>
            </a:r>
            <a:r>
              <a:rPr lang="en-ZA" dirty="0"/>
              <a:t>he structure, function, changes in DNA, and mapping of genomes. </a:t>
            </a:r>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2</a:t>
            </a:fld>
            <a:endParaRPr lang="en-US"/>
          </a:p>
        </p:txBody>
      </p:sp>
    </p:spTree>
    <p:extLst>
      <p:ext uri="{BB962C8B-B14F-4D97-AF65-F5344CB8AC3E}">
        <p14:creationId xmlns:p14="http://schemas.microsoft.com/office/powerpoint/2010/main" val="2069780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 we identify this genome material?</a:t>
            </a:r>
            <a:endParaRPr lang="en-ZA" dirty="0"/>
          </a:p>
          <a:p>
            <a:r>
              <a:rPr lang="en-ZA" dirty="0"/>
              <a:t>Technology has advanced rapidly in the genetics applications space such that we have machines that are able to unravel the genetic code within a biological sample. These machines are called DNA sequencing machines referring to the process of obtaining a string of genetic code or “DNA sequence” or “RNA sequence” in the case of SARS-COV-2 </a:t>
            </a:r>
          </a:p>
          <a:p>
            <a:r>
              <a:rPr lang="en-ZA" dirty="0"/>
              <a:t>These DNA sequencing machines have evolved rapidly to the point where cost has plummeted, and the reduced size of these machines ensure portability. Both these factors have removed the barrier to entry for resource limited laboratories to acquire and utilize it in a clinical setting for molecular diagnostics.</a:t>
            </a:r>
          </a:p>
          <a:p>
            <a:endParaRPr lang="en-US" dirty="0"/>
          </a:p>
          <a:p>
            <a:endParaRPr lang="en-US" i="1" dirty="0">
              <a:solidFill>
                <a:srgbClr val="FF0000"/>
              </a:solidFill>
            </a:endParaRPr>
          </a:p>
        </p:txBody>
      </p:sp>
      <p:sp>
        <p:nvSpPr>
          <p:cNvPr id="4" name="Slide Number Placeholder 3"/>
          <p:cNvSpPr>
            <a:spLocks noGrp="1"/>
          </p:cNvSpPr>
          <p:nvPr>
            <p:ph type="sldNum" sz="quarter" idx="5"/>
          </p:nvPr>
        </p:nvSpPr>
        <p:spPr/>
        <p:txBody>
          <a:bodyPr/>
          <a:lstStyle/>
          <a:p>
            <a:fld id="{8617A6FE-03BA-244C-AD0A-1B6993A49B02}" type="slidenum">
              <a:rPr lang="en-US" smtClean="0"/>
              <a:t>3</a:t>
            </a:fld>
            <a:endParaRPr lang="en-US"/>
          </a:p>
        </p:txBody>
      </p:sp>
    </p:spTree>
    <p:extLst>
      <p:ext uri="{BB962C8B-B14F-4D97-AF65-F5344CB8AC3E}">
        <p14:creationId xmlns:p14="http://schemas.microsoft.com/office/powerpoint/2010/main" val="921029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es sequencing apply to COVID19?</a:t>
            </a:r>
            <a:endParaRPr lang="en-ZA" dirty="0"/>
          </a:p>
          <a:p>
            <a:r>
              <a:rPr lang="en-ZA" dirty="0"/>
              <a:t>Sequencing the SARS-COV-2 genome was key to identifying it as the virus that causes COVID19. SARS-COV-2 has a genome that contains approximately 29,000 letters representing the DNA (RNA) alphabet. A virus sample obtained from a patient can be placed in a DNA sequencing machine to obtain the full length of the 29,000 characters that represent the virus genome or the virus finger print.</a:t>
            </a:r>
          </a:p>
          <a:p>
            <a:r>
              <a:rPr lang="en-ZA" dirty="0"/>
              <a:t>The 29,000 characters are produced as a printout of strings of 100-200 characters. Millions of character strings are generated. Think of this as a massive jigsaw puzzle. </a:t>
            </a:r>
          </a:p>
          <a:p>
            <a:r>
              <a:rPr lang="en-ZA" dirty="0"/>
              <a:t>At this stage we have to depend on computers to assist us in piecing together this puzzle.</a:t>
            </a:r>
          </a:p>
          <a:p>
            <a:r>
              <a:rPr lang="en-ZA" dirty="0"/>
              <a:t>Through a process of quality control and matching the different strings to find overlapping ends, we can generate the complete assembly of all the strings to form one genetic fingerprint or genome sequence for the virus. </a:t>
            </a:r>
            <a:r>
              <a:rPr lang="en-ZA" dirty="0">
                <a:solidFill>
                  <a:srgbClr val="FF00FF"/>
                </a:solidFill>
              </a:rPr>
              <a:t>This </a:t>
            </a:r>
            <a:r>
              <a:rPr lang="en-ZA" dirty="0"/>
              <a:t>complete genome information allows for the development of molecular diagnostics to rapidly identify COVID19 infections</a:t>
            </a:r>
            <a:r>
              <a:rPr lang="en-ZA" dirty="0">
                <a:solidFill>
                  <a:srgbClr val="FF00FF"/>
                </a:solidFill>
              </a:rPr>
              <a:t>.</a:t>
            </a:r>
          </a:p>
          <a:p>
            <a:r>
              <a:rPr lang="en-US" dirty="0"/>
              <a:t> </a:t>
            </a:r>
            <a:endParaRPr lang="en-US" i="1" dirty="0">
              <a:solidFill>
                <a:srgbClr val="FF0000"/>
              </a:solidFill>
            </a:endParaRPr>
          </a:p>
          <a:p>
            <a:endParaRPr lang="en-ZA"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4</a:t>
            </a:fld>
            <a:endParaRPr lang="en-US"/>
          </a:p>
        </p:txBody>
      </p:sp>
    </p:spTree>
    <p:extLst>
      <p:ext uri="{BB962C8B-B14F-4D97-AF65-F5344CB8AC3E}">
        <p14:creationId xmlns:p14="http://schemas.microsoft.com/office/powerpoint/2010/main" val="1623493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Sequencing Capacity in Africa</a:t>
            </a:r>
            <a:endParaRPr lang="en-ZA" dirty="0"/>
          </a:p>
          <a:p>
            <a:r>
              <a:rPr lang="en-ZA" dirty="0"/>
              <a:t>The black dots on this map depict the laboratories that can accommodate national scale-up of DNA sequencing capability. Initiatives through joint efforts of the Africa CDC and African Society for Laboratory Medicine (ASLM) aims to extend this sequencing capacity across the African continent. Sequencing of viruses have been used during other outbreaks in Africa such as the Ebola outbreak in 2014. </a:t>
            </a:r>
          </a:p>
          <a:p>
            <a:r>
              <a:rPr lang="en-ZA" dirty="0"/>
              <a:t>Scaling up Pan-African sequencing capacity is not without challenges including access to, and affordability of, chemical reagents to operate these DNA sequencing machines. </a:t>
            </a:r>
          </a:p>
          <a:p>
            <a:r>
              <a:rPr lang="en-US" dirty="0"/>
              <a:t> </a:t>
            </a:r>
            <a:endParaRPr lang="en-ZA" dirty="0"/>
          </a:p>
        </p:txBody>
      </p:sp>
      <p:sp>
        <p:nvSpPr>
          <p:cNvPr id="4" name="Slide Number Placeholder 3"/>
          <p:cNvSpPr>
            <a:spLocks noGrp="1"/>
          </p:cNvSpPr>
          <p:nvPr>
            <p:ph type="sldNum" sz="quarter" idx="5"/>
          </p:nvPr>
        </p:nvSpPr>
        <p:spPr/>
        <p:txBody>
          <a:bodyPr/>
          <a:lstStyle/>
          <a:p>
            <a:fld id="{8617A6FE-03BA-244C-AD0A-1B6993A49B02}" type="slidenum">
              <a:rPr lang="en-US" smtClean="0"/>
              <a:t>5</a:t>
            </a:fld>
            <a:endParaRPr lang="en-US"/>
          </a:p>
        </p:txBody>
      </p:sp>
    </p:spTree>
    <p:extLst>
      <p:ext uri="{BB962C8B-B14F-4D97-AF65-F5344CB8AC3E}">
        <p14:creationId xmlns:p14="http://schemas.microsoft.com/office/powerpoint/2010/main" val="889891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Data management is a key element of genomic sequencing and requires that data are accurately collected, labelled or annotated, and curated. These processes make it easier for others to find and reuse the data. Data sharing requires that data adhere to the FAIR principles.</a:t>
            </a:r>
          </a:p>
          <a:p>
            <a:r>
              <a:rPr lang="en-ZA" dirty="0"/>
              <a:t>Data should be: F – Findable; A – Accessible ; I – interoperable ; R – Reusable</a:t>
            </a:r>
          </a:p>
          <a:p>
            <a:r>
              <a:rPr lang="en-ZA" dirty="0"/>
              <a:t>Developing Standards require agreement on how to share genomic data between collaborators so that data is not corrupted or missing from a file.</a:t>
            </a:r>
          </a:p>
          <a:p>
            <a:endParaRPr lang="en-ZA" dirty="0"/>
          </a:p>
          <a:p>
            <a:r>
              <a:rPr lang="en-ZA" dirty="0"/>
              <a:t>The Global Initiative on Sharing All Influenza Data (GISAID) is a public-private partnership that promotes international sharing of ALL influenza virus sequences, and associated clinical data in the case of human viruses</a:t>
            </a:r>
          </a:p>
          <a:p>
            <a:endParaRPr lang="en-ZA" dirty="0"/>
          </a:p>
          <a:p>
            <a:r>
              <a:rPr lang="en-ZA" dirty="0"/>
              <a:t>Scientists are allowed to submit SARS-COV-2 genome data to GISAID</a:t>
            </a:r>
          </a:p>
          <a:p>
            <a:pPr lvl="0"/>
            <a:r>
              <a:rPr lang="en-ZA" u="sng" dirty="0">
                <a:hlinkClick r:id="rId3"/>
              </a:rPr>
              <a:t>https://www.gisaid.org/</a:t>
            </a:r>
            <a:endParaRPr lang="en-ZA" dirty="0"/>
          </a:p>
          <a:p>
            <a:r>
              <a:rPr lang="en-ZA" dirty="0"/>
              <a:t>Raw DNA sequencing data for SARS-COV-2 can be submitted to the Sequence Read Archive:</a:t>
            </a:r>
          </a:p>
          <a:p>
            <a:pPr lvl="0"/>
            <a:r>
              <a:rPr lang="en-ZA" u="sng" dirty="0">
                <a:hlinkClick r:id="rId4"/>
              </a:rPr>
              <a:t>https://submit.ncbi.nlm.nih.gov/subs/sra/</a:t>
            </a:r>
            <a:endParaRPr lang="en-ZA" dirty="0"/>
          </a:p>
          <a:p>
            <a:r>
              <a:rPr lang="en-US" dirty="0"/>
              <a:t> </a:t>
            </a:r>
            <a:endParaRPr lang="en-ZA" dirty="0"/>
          </a:p>
          <a:p>
            <a:r>
              <a:rPr lang="en-US" dirty="0"/>
              <a:t> </a:t>
            </a:r>
            <a:endParaRPr lang="en-ZA"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6</a:t>
            </a:fld>
            <a:endParaRPr lang="en-US"/>
          </a:p>
        </p:txBody>
      </p:sp>
    </p:spTree>
    <p:extLst>
      <p:ext uri="{BB962C8B-B14F-4D97-AF65-F5344CB8AC3E}">
        <p14:creationId xmlns:p14="http://schemas.microsoft.com/office/powerpoint/2010/main" val="2337309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 I use this data to control COVID19 spread?</a:t>
            </a:r>
            <a:endParaRPr lang="en-ZA" dirty="0"/>
          </a:p>
          <a:p>
            <a:r>
              <a:rPr lang="en-US" dirty="0"/>
              <a:t>On the previous slide we learnt about GISAID – the database to store corona virus sequences. </a:t>
            </a:r>
            <a:endParaRPr lang="en-ZA" dirty="0"/>
          </a:p>
          <a:p>
            <a:r>
              <a:rPr lang="en-US" dirty="0"/>
              <a:t>Step1 – download a collection of SARS-COV02 virus sequences. And combine those with your own locally sequenced virus genomes. </a:t>
            </a:r>
            <a:endParaRPr lang="en-ZA" dirty="0"/>
          </a:p>
          <a:p>
            <a:r>
              <a:rPr lang="en-US" dirty="0"/>
              <a:t>Step 2- Software programs such as MMFAT allows you to compare 1000s of viral sequences. This comparison is called an alignment. The differences obtained at specific locations provide the unique fingerprint for each virus sample. </a:t>
            </a:r>
            <a:endParaRPr lang="en-ZA" dirty="0"/>
          </a:p>
          <a:p>
            <a:r>
              <a:rPr lang="en-US" dirty="0"/>
              <a:t>Step 3 – group the sequences using computer programs like </a:t>
            </a:r>
            <a:r>
              <a:rPr lang="en-US" dirty="0" err="1"/>
              <a:t>Nextstrain</a:t>
            </a:r>
            <a:r>
              <a:rPr lang="en-US" dirty="0"/>
              <a:t>. These groups will give us an idea of the distribution of these viruses. Remember, each virus fingerprint also has other information associated with it such as country, patient data, date of collection etc. with this information we can now follow the spread of COVID19. Lets take a practical example.</a:t>
            </a:r>
            <a:endParaRPr lang="en-ZA"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7</a:t>
            </a:fld>
            <a:endParaRPr lang="en-US"/>
          </a:p>
        </p:txBody>
      </p:sp>
    </p:spTree>
    <p:extLst>
      <p:ext uri="{BB962C8B-B14F-4D97-AF65-F5344CB8AC3E}">
        <p14:creationId xmlns:p14="http://schemas.microsoft.com/office/powerpoint/2010/main" val="1385112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 I use this data to control COVID19 spread?</a:t>
            </a:r>
            <a:endParaRPr lang="en-ZA" dirty="0"/>
          </a:p>
          <a:p>
            <a:r>
              <a:rPr lang="en-US" dirty="0"/>
              <a:t>The image on the left show a snapshot of a larger collection of 3609 COVID19 virus sequences. A red arrow points to position 241 in a 29,000 long sequence. Look at the vertical line below position 241. Some sequences (Belgium and SA) have a “T” at that position. Other sequences (Hongkong) have a “C” at that same position. </a:t>
            </a:r>
          </a:p>
          <a:p>
            <a:endParaRPr lang="en-ZA" i="1" dirty="0">
              <a:solidFill>
                <a:srgbClr val="FF0000"/>
              </a:solidFill>
            </a:endParaRPr>
          </a:p>
          <a:p>
            <a:r>
              <a:rPr lang="en-US" dirty="0"/>
              <a:t> </a:t>
            </a:r>
            <a:endParaRPr lang="en-ZA" dirty="0"/>
          </a:p>
          <a:p>
            <a:endParaRPr lang="en-US" dirty="0"/>
          </a:p>
        </p:txBody>
      </p:sp>
      <p:sp>
        <p:nvSpPr>
          <p:cNvPr id="4" name="Slide Number Placeholder 3"/>
          <p:cNvSpPr>
            <a:spLocks noGrp="1"/>
          </p:cNvSpPr>
          <p:nvPr>
            <p:ph type="sldNum" sz="quarter" idx="5"/>
          </p:nvPr>
        </p:nvSpPr>
        <p:spPr/>
        <p:txBody>
          <a:bodyPr/>
          <a:lstStyle/>
          <a:p>
            <a:fld id="{8617A6FE-03BA-244C-AD0A-1B6993A49B02}" type="slidenum">
              <a:rPr lang="en-US" smtClean="0"/>
              <a:t>8</a:t>
            </a:fld>
            <a:endParaRPr lang="en-US"/>
          </a:p>
        </p:txBody>
      </p:sp>
    </p:spTree>
    <p:extLst>
      <p:ext uri="{BB962C8B-B14F-4D97-AF65-F5344CB8AC3E}">
        <p14:creationId xmlns:p14="http://schemas.microsoft.com/office/powerpoint/2010/main" val="2862876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a:t>How do I use this data to control COVID19 spread?</a:t>
            </a:r>
            <a:endParaRPr lang="en-ZA" dirty="0"/>
          </a:p>
          <a:p>
            <a:r>
              <a:rPr lang="en-US" dirty="0"/>
              <a:t> </a:t>
            </a:r>
            <a:endParaRPr lang="en-ZA" dirty="0"/>
          </a:p>
          <a:p>
            <a:r>
              <a:rPr lang="en-US" dirty="0"/>
              <a:t>The image on the left is a zoomed in section of a much larger picture of 3609 virus sequences. This analysis was done with the software, </a:t>
            </a:r>
            <a:r>
              <a:rPr lang="en-US" dirty="0" err="1"/>
              <a:t>NextStrain</a:t>
            </a:r>
            <a:r>
              <a:rPr lang="en-US" dirty="0"/>
              <a:t>. The </a:t>
            </a:r>
            <a:r>
              <a:rPr lang="en-US" dirty="0">
                <a:solidFill>
                  <a:srgbClr val="FF00FF"/>
                </a:solidFill>
              </a:rPr>
              <a:t>horizontal lines </a:t>
            </a:r>
            <a:r>
              <a:rPr lang="en-US" dirty="0"/>
              <a:t>in this tree are called branches. Each branch depicts a virus genome.  Branches that are longer imply more mutations in that virus genome. The position where the branches intersect is called a node. Two branches that share a node means that those two virus genomes are more similar or have less mutations when compared to a virus genome (branch) elsewhere in this tree. Look at the first pink arrow; Senegal branches share nodes not shared by other viruses. And this means that these viruses obtained in Senegal are more similar to each other than viruses obtained from other countries. This group or cluster of Senegal virus genomes are changing within the country. The Senegal cluster also shares a node with a cluster of viruses obtained from Australia. Pink arrows 2 and 3 shows additional virus genomes sequenced in Senegal and implies that the virus was introduced multiple times into Senegal. The dates on the horizontal axis such as 26</a:t>
            </a:r>
            <a:r>
              <a:rPr lang="en-US" baseline="30000" dirty="0"/>
              <a:t>th</a:t>
            </a:r>
            <a:r>
              <a:rPr lang="en-US" dirty="0"/>
              <a:t> February 2020 and 11</a:t>
            </a:r>
            <a:r>
              <a:rPr lang="en-US" baseline="30000" dirty="0"/>
              <a:t>th</a:t>
            </a:r>
            <a:r>
              <a:rPr lang="en-US" dirty="0"/>
              <a:t> march 2020 gives you an idea of how fast the virus is mutating between nodes. More sequencing  data is needed to give an improved picture of how the virus is spreading within a country and between countries.</a:t>
            </a:r>
          </a:p>
        </p:txBody>
      </p:sp>
      <p:sp>
        <p:nvSpPr>
          <p:cNvPr id="4" name="Slide Number Placeholder 3"/>
          <p:cNvSpPr>
            <a:spLocks noGrp="1"/>
          </p:cNvSpPr>
          <p:nvPr>
            <p:ph type="sldNum" sz="quarter" idx="5"/>
          </p:nvPr>
        </p:nvSpPr>
        <p:spPr/>
        <p:txBody>
          <a:bodyPr/>
          <a:lstStyle/>
          <a:p>
            <a:fld id="{8617A6FE-03BA-244C-AD0A-1B6993A49B02}" type="slidenum">
              <a:rPr lang="en-US" smtClean="0"/>
              <a:t>9</a:t>
            </a:fld>
            <a:endParaRPr lang="en-US"/>
          </a:p>
        </p:txBody>
      </p:sp>
    </p:spTree>
    <p:extLst>
      <p:ext uri="{BB962C8B-B14F-4D97-AF65-F5344CB8AC3E}">
        <p14:creationId xmlns:p14="http://schemas.microsoft.com/office/powerpoint/2010/main" val="2860152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 Slide ">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4DC6BCA-6CE2-4EE8-A74B-4BA886B4760A}"/>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A2B3A507-50D5-4050-9E40-9251AB91E2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1" y="2966677"/>
            <a:ext cx="2588413" cy="952586"/>
          </a:xfrm>
          <a:prstGeom prst="rect">
            <a:avLst/>
          </a:prstGeom>
        </p:spPr>
      </p:pic>
      <p:grpSp>
        <p:nvGrpSpPr>
          <p:cNvPr id="25" name="Group 24">
            <a:extLst>
              <a:ext uri="{FF2B5EF4-FFF2-40B4-BE49-F238E27FC236}">
                <a16:creationId xmlns:a16="http://schemas.microsoft.com/office/drawing/2014/main" id="{1D0CEED1-0BFD-4E22-A4BD-DF4BB48B9318}"/>
              </a:ext>
            </a:extLst>
          </p:cNvPr>
          <p:cNvGrpSpPr/>
          <p:nvPr userDrawn="1"/>
        </p:nvGrpSpPr>
        <p:grpSpPr>
          <a:xfrm>
            <a:off x="4972122" y="3018813"/>
            <a:ext cx="2683320" cy="921602"/>
            <a:chOff x="5021263" y="4232276"/>
            <a:chExt cx="3711575" cy="1274762"/>
          </a:xfrm>
        </p:grpSpPr>
        <p:sp>
          <p:nvSpPr>
            <p:cNvPr id="17" name="Freeform 9">
              <a:extLst>
                <a:ext uri="{FF2B5EF4-FFF2-40B4-BE49-F238E27FC236}">
                  <a16:creationId xmlns:a16="http://schemas.microsoft.com/office/drawing/2014/main" id="{2B75E23F-0A49-4647-A969-5E7F44DBEE94}"/>
                </a:ext>
              </a:extLst>
            </p:cNvPr>
            <p:cNvSpPr>
              <a:spLocks noEditPoints="1"/>
            </p:cNvSpPr>
            <p:nvPr userDrawn="1"/>
          </p:nvSpPr>
          <p:spPr bwMode="auto">
            <a:xfrm>
              <a:off x="5021263" y="5141913"/>
              <a:ext cx="3667125" cy="365125"/>
            </a:xfrm>
            <a:custGeom>
              <a:avLst/>
              <a:gdLst>
                <a:gd name="T0" fmla="*/ 1645 w 1680"/>
                <a:gd name="T1" fmla="*/ 53 h 167"/>
                <a:gd name="T2" fmla="*/ 1628 w 1680"/>
                <a:gd name="T3" fmla="*/ 66 h 167"/>
                <a:gd name="T4" fmla="*/ 1641 w 1680"/>
                <a:gd name="T5" fmla="*/ 96 h 167"/>
                <a:gd name="T6" fmla="*/ 1618 w 1680"/>
                <a:gd name="T7" fmla="*/ 44 h 167"/>
                <a:gd name="T8" fmla="*/ 1541 w 1680"/>
                <a:gd name="T9" fmla="*/ 56 h 167"/>
                <a:gd name="T10" fmla="*/ 1506 w 1680"/>
                <a:gd name="T11" fmla="*/ 109 h 167"/>
                <a:gd name="T12" fmla="*/ 1448 w 1680"/>
                <a:gd name="T13" fmla="*/ 52 h 167"/>
                <a:gd name="T14" fmla="*/ 1475 w 1680"/>
                <a:gd name="T15" fmla="*/ 98 h 167"/>
                <a:gd name="T16" fmla="*/ 1448 w 1680"/>
                <a:gd name="T17" fmla="*/ 52 h 167"/>
                <a:gd name="T18" fmla="*/ 1429 w 1680"/>
                <a:gd name="T19" fmla="*/ 109 h 167"/>
                <a:gd name="T20" fmla="*/ 1400 w 1680"/>
                <a:gd name="T21" fmla="*/ 46 h 167"/>
                <a:gd name="T22" fmla="*/ 1390 w 1680"/>
                <a:gd name="T23" fmla="*/ 118 h 167"/>
                <a:gd name="T24" fmla="*/ 1350 w 1680"/>
                <a:gd name="T25" fmla="*/ 64 h 167"/>
                <a:gd name="T26" fmla="*/ 1369 w 1680"/>
                <a:gd name="T27" fmla="*/ 113 h 167"/>
                <a:gd name="T28" fmla="*/ 1254 w 1680"/>
                <a:gd name="T29" fmla="*/ 56 h 167"/>
                <a:gd name="T30" fmla="*/ 1300 w 1680"/>
                <a:gd name="T31" fmla="*/ 118 h 167"/>
                <a:gd name="T32" fmla="*/ 1235 w 1680"/>
                <a:gd name="T33" fmla="*/ 52 h 167"/>
                <a:gd name="T34" fmla="*/ 1152 w 1680"/>
                <a:gd name="T35" fmla="*/ 86 h 167"/>
                <a:gd name="T36" fmla="*/ 1153 w 1680"/>
                <a:gd name="T37" fmla="*/ 66 h 167"/>
                <a:gd name="T38" fmla="*/ 1139 w 1680"/>
                <a:gd name="T39" fmla="*/ 110 h 167"/>
                <a:gd name="T40" fmla="*/ 1068 w 1680"/>
                <a:gd name="T41" fmla="*/ 19 h 167"/>
                <a:gd name="T42" fmla="*/ 1085 w 1680"/>
                <a:gd name="T43" fmla="*/ 46 h 167"/>
                <a:gd name="T44" fmla="*/ 1022 w 1680"/>
                <a:gd name="T45" fmla="*/ 73 h 167"/>
                <a:gd name="T46" fmla="*/ 1024 w 1680"/>
                <a:gd name="T47" fmla="*/ 44 h 167"/>
                <a:gd name="T48" fmla="*/ 1017 w 1680"/>
                <a:gd name="T49" fmla="*/ 112 h 167"/>
                <a:gd name="T50" fmla="*/ 944 w 1680"/>
                <a:gd name="T51" fmla="*/ 113 h 167"/>
                <a:gd name="T52" fmla="*/ 933 w 1680"/>
                <a:gd name="T53" fmla="*/ 115 h 167"/>
                <a:gd name="T54" fmla="*/ 842 w 1680"/>
                <a:gd name="T55" fmla="*/ 118 h 167"/>
                <a:gd name="T56" fmla="*/ 902 w 1680"/>
                <a:gd name="T57" fmla="*/ 71 h 167"/>
                <a:gd name="T58" fmla="*/ 823 w 1680"/>
                <a:gd name="T59" fmla="*/ 142 h 167"/>
                <a:gd name="T60" fmla="*/ 807 w 1680"/>
                <a:gd name="T61" fmla="*/ 71 h 167"/>
                <a:gd name="T62" fmla="*/ 772 w 1680"/>
                <a:gd name="T63" fmla="*/ 53 h 167"/>
                <a:gd name="T64" fmla="*/ 770 w 1680"/>
                <a:gd name="T65" fmla="*/ 162 h 167"/>
                <a:gd name="T66" fmla="*/ 784 w 1680"/>
                <a:gd name="T67" fmla="*/ 98 h 167"/>
                <a:gd name="T68" fmla="*/ 717 w 1680"/>
                <a:gd name="T69" fmla="*/ 113 h 167"/>
                <a:gd name="T70" fmla="*/ 744 w 1680"/>
                <a:gd name="T71" fmla="*/ 52 h 167"/>
                <a:gd name="T72" fmla="*/ 733 w 1680"/>
                <a:gd name="T73" fmla="*/ 67 h 167"/>
                <a:gd name="T74" fmla="*/ 656 w 1680"/>
                <a:gd name="T75" fmla="*/ 5 h 167"/>
                <a:gd name="T76" fmla="*/ 656 w 1680"/>
                <a:gd name="T77" fmla="*/ 118 h 167"/>
                <a:gd name="T78" fmla="*/ 611 w 1680"/>
                <a:gd name="T79" fmla="*/ 107 h 167"/>
                <a:gd name="T80" fmla="*/ 634 w 1680"/>
                <a:gd name="T81" fmla="*/ 0 h 167"/>
                <a:gd name="T82" fmla="*/ 596 w 1680"/>
                <a:gd name="T83" fmla="*/ 120 h 167"/>
                <a:gd name="T84" fmla="*/ 494 w 1680"/>
                <a:gd name="T85" fmla="*/ 56 h 167"/>
                <a:gd name="T86" fmla="*/ 459 w 1680"/>
                <a:gd name="T87" fmla="*/ 109 h 167"/>
                <a:gd name="T88" fmla="*/ 388 w 1680"/>
                <a:gd name="T89" fmla="*/ 108 h 167"/>
                <a:gd name="T90" fmla="*/ 412 w 1680"/>
                <a:gd name="T91" fmla="*/ 49 h 167"/>
                <a:gd name="T92" fmla="*/ 392 w 1680"/>
                <a:gd name="T93" fmla="*/ 81 h 167"/>
                <a:gd name="T94" fmla="*/ 384 w 1680"/>
                <a:gd name="T95" fmla="*/ 96 h 167"/>
                <a:gd name="T96" fmla="*/ 309 w 1680"/>
                <a:gd name="T97" fmla="*/ 46 h 167"/>
                <a:gd name="T98" fmla="*/ 272 w 1680"/>
                <a:gd name="T99" fmla="*/ 101 h 167"/>
                <a:gd name="T100" fmla="*/ 289 w 1680"/>
                <a:gd name="T101" fmla="*/ 60 h 167"/>
                <a:gd name="T102" fmla="*/ 272 w 1680"/>
                <a:gd name="T103" fmla="*/ 54 h 167"/>
                <a:gd name="T104" fmla="*/ 274 w 1680"/>
                <a:gd name="T105" fmla="*/ 118 h 167"/>
                <a:gd name="T106" fmla="*/ 194 w 1680"/>
                <a:gd name="T107" fmla="*/ 44 h 167"/>
                <a:gd name="T108" fmla="*/ 210 w 1680"/>
                <a:gd name="T109" fmla="*/ 106 h 167"/>
                <a:gd name="T110" fmla="*/ 99 w 1680"/>
                <a:gd name="T111" fmla="*/ 49 h 167"/>
                <a:gd name="T112" fmla="*/ 120 w 1680"/>
                <a:gd name="T113" fmla="*/ 114 h 167"/>
                <a:gd name="T114" fmla="*/ 30 w 1680"/>
                <a:gd name="T115" fmla="*/ 112 h 167"/>
                <a:gd name="T116" fmla="*/ 30 w 1680"/>
                <a:gd name="T117" fmla="*/ 58 h 167"/>
                <a:gd name="T118" fmla="*/ 44 w 1680"/>
                <a:gd name="T119" fmla="*/ 6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0" h="167">
                  <a:moveTo>
                    <a:pt x="1630" y="108"/>
                  </a:moveTo>
                  <a:cubicBezTo>
                    <a:pt x="1634" y="116"/>
                    <a:pt x="1642" y="120"/>
                    <a:pt x="1654" y="120"/>
                  </a:cubicBezTo>
                  <a:cubicBezTo>
                    <a:pt x="1661" y="120"/>
                    <a:pt x="1666" y="119"/>
                    <a:pt x="1670" y="116"/>
                  </a:cubicBezTo>
                  <a:cubicBezTo>
                    <a:pt x="1677" y="112"/>
                    <a:pt x="1680" y="105"/>
                    <a:pt x="1680" y="97"/>
                  </a:cubicBezTo>
                  <a:cubicBezTo>
                    <a:pt x="1680" y="92"/>
                    <a:pt x="1679" y="89"/>
                    <a:pt x="1678" y="86"/>
                  </a:cubicBezTo>
                  <a:cubicBezTo>
                    <a:pt x="1675" y="81"/>
                    <a:pt x="1670" y="78"/>
                    <a:pt x="1662" y="76"/>
                  </a:cubicBezTo>
                  <a:cubicBezTo>
                    <a:pt x="1652" y="73"/>
                    <a:pt x="1652" y="73"/>
                    <a:pt x="1652" y="73"/>
                  </a:cubicBezTo>
                  <a:cubicBezTo>
                    <a:pt x="1645" y="71"/>
                    <a:pt x="1642" y="67"/>
                    <a:pt x="1642" y="61"/>
                  </a:cubicBezTo>
                  <a:cubicBezTo>
                    <a:pt x="1642" y="58"/>
                    <a:pt x="1643" y="55"/>
                    <a:pt x="1645" y="53"/>
                  </a:cubicBezTo>
                  <a:cubicBezTo>
                    <a:pt x="1647" y="51"/>
                    <a:pt x="1650" y="49"/>
                    <a:pt x="1654" y="49"/>
                  </a:cubicBezTo>
                  <a:cubicBezTo>
                    <a:pt x="1656" y="49"/>
                    <a:pt x="1658" y="50"/>
                    <a:pt x="1660" y="51"/>
                  </a:cubicBezTo>
                  <a:cubicBezTo>
                    <a:pt x="1662" y="52"/>
                    <a:pt x="1663" y="53"/>
                    <a:pt x="1663" y="55"/>
                  </a:cubicBezTo>
                  <a:cubicBezTo>
                    <a:pt x="1664" y="57"/>
                    <a:pt x="1665" y="61"/>
                    <a:pt x="1665" y="66"/>
                  </a:cubicBezTo>
                  <a:cubicBezTo>
                    <a:pt x="1679" y="66"/>
                    <a:pt x="1679" y="66"/>
                    <a:pt x="1679" y="66"/>
                  </a:cubicBezTo>
                  <a:cubicBezTo>
                    <a:pt x="1678" y="61"/>
                    <a:pt x="1677" y="57"/>
                    <a:pt x="1675" y="54"/>
                  </a:cubicBezTo>
                  <a:cubicBezTo>
                    <a:pt x="1671" y="47"/>
                    <a:pt x="1664" y="44"/>
                    <a:pt x="1654" y="44"/>
                  </a:cubicBezTo>
                  <a:cubicBezTo>
                    <a:pt x="1648" y="44"/>
                    <a:pt x="1642" y="45"/>
                    <a:pt x="1638" y="48"/>
                  </a:cubicBezTo>
                  <a:cubicBezTo>
                    <a:pt x="1632" y="52"/>
                    <a:pt x="1628" y="58"/>
                    <a:pt x="1628" y="66"/>
                  </a:cubicBezTo>
                  <a:cubicBezTo>
                    <a:pt x="1628" y="72"/>
                    <a:pt x="1630" y="77"/>
                    <a:pt x="1634" y="81"/>
                  </a:cubicBezTo>
                  <a:cubicBezTo>
                    <a:pt x="1637" y="83"/>
                    <a:pt x="1642" y="86"/>
                    <a:pt x="1648" y="88"/>
                  </a:cubicBezTo>
                  <a:cubicBezTo>
                    <a:pt x="1656" y="90"/>
                    <a:pt x="1656" y="90"/>
                    <a:pt x="1656" y="90"/>
                  </a:cubicBezTo>
                  <a:cubicBezTo>
                    <a:pt x="1663" y="92"/>
                    <a:pt x="1667" y="96"/>
                    <a:pt x="1667" y="102"/>
                  </a:cubicBezTo>
                  <a:cubicBezTo>
                    <a:pt x="1667" y="105"/>
                    <a:pt x="1666" y="108"/>
                    <a:pt x="1664" y="110"/>
                  </a:cubicBezTo>
                  <a:cubicBezTo>
                    <a:pt x="1662" y="113"/>
                    <a:pt x="1659" y="115"/>
                    <a:pt x="1654" y="115"/>
                  </a:cubicBezTo>
                  <a:cubicBezTo>
                    <a:pt x="1651" y="115"/>
                    <a:pt x="1649" y="114"/>
                    <a:pt x="1646" y="112"/>
                  </a:cubicBezTo>
                  <a:cubicBezTo>
                    <a:pt x="1645" y="111"/>
                    <a:pt x="1643" y="110"/>
                    <a:pt x="1643" y="108"/>
                  </a:cubicBezTo>
                  <a:cubicBezTo>
                    <a:pt x="1641" y="105"/>
                    <a:pt x="1641" y="101"/>
                    <a:pt x="1641" y="96"/>
                  </a:cubicBezTo>
                  <a:cubicBezTo>
                    <a:pt x="1626" y="96"/>
                    <a:pt x="1626" y="96"/>
                    <a:pt x="1626" y="96"/>
                  </a:cubicBezTo>
                  <a:cubicBezTo>
                    <a:pt x="1627" y="101"/>
                    <a:pt x="1628" y="105"/>
                    <a:pt x="1630" y="108"/>
                  </a:cubicBezTo>
                  <a:moveTo>
                    <a:pt x="1578" y="118"/>
                  </a:moveTo>
                  <a:cubicBezTo>
                    <a:pt x="1595" y="118"/>
                    <a:pt x="1595" y="118"/>
                    <a:pt x="1595" y="118"/>
                  </a:cubicBezTo>
                  <a:cubicBezTo>
                    <a:pt x="1595" y="79"/>
                    <a:pt x="1595" y="79"/>
                    <a:pt x="1595" y="79"/>
                  </a:cubicBezTo>
                  <a:cubicBezTo>
                    <a:pt x="1595" y="73"/>
                    <a:pt x="1597" y="68"/>
                    <a:pt x="1599" y="64"/>
                  </a:cubicBezTo>
                  <a:cubicBezTo>
                    <a:pt x="1601" y="61"/>
                    <a:pt x="1604" y="60"/>
                    <a:pt x="1608" y="60"/>
                  </a:cubicBezTo>
                  <a:cubicBezTo>
                    <a:pt x="1610" y="60"/>
                    <a:pt x="1614" y="61"/>
                    <a:pt x="1618" y="62"/>
                  </a:cubicBezTo>
                  <a:cubicBezTo>
                    <a:pt x="1618" y="44"/>
                    <a:pt x="1618" y="44"/>
                    <a:pt x="1618" y="44"/>
                  </a:cubicBezTo>
                  <a:cubicBezTo>
                    <a:pt x="1611" y="45"/>
                    <a:pt x="1607" y="47"/>
                    <a:pt x="1603" y="50"/>
                  </a:cubicBezTo>
                  <a:cubicBezTo>
                    <a:pt x="1600" y="53"/>
                    <a:pt x="1597" y="59"/>
                    <a:pt x="1594" y="67"/>
                  </a:cubicBezTo>
                  <a:cubicBezTo>
                    <a:pt x="1594" y="46"/>
                    <a:pt x="1594" y="46"/>
                    <a:pt x="1594" y="46"/>
                  </a:cubicBezTo>
                  <a:cubicBezTo>
                    <a:pt x="1578" y="46"/>
                    <a:pt x="1578" y="46"/>
                    <a:pt x="1578" y="46"/>
                  </a:cubicBezTo>
                  <a:lnTo>
                    <a:pt x="1578" y="118"/>
                  </a:lnTo>
                  <a:close/>
                  <a:moveTo>
                    <a:pt x="1514" y="77"/>
                  </a:moveTo>
                  <a:cubicBezTo>
                    <a:pt x="1514" y="72"/>
                    <a:pt x="1514" y="67"/>
                    <a:pt x="1516" y="63"/>
                  </a:cubicBezTo>
                  <a:cubicBezTo>
                    <a:pt x="1518" y="54"/>
                    <a:pt x="1523" y="49"/>
                    <a:pt x="1530" y="49"/>
                  </a:cubicBezTo>
                  <a:cubicBezTo>
                    <a:pt x="1535" y="49"/>
                    <a:pt x="1539" y="51"/>
                    <a:pt x="1541" y="56"/>
                  </a:cubicBezTo>
                  <a:cubicBezTo>
                    <a:pt x="1544" y="62"/>
                    <a:pt x="1546" y="69"/>
                    <a:pt x="1546" y="77"/>
                  </a:cubicBezTo>
                  <a:lnTo>
                    <a:pt x="1514" y="77"/>
                  </a:lnTo>
                  <a:close/>
                  <a:moveTo>
                    <a:pt x="1552" y="52"/>
                  </a:moveTo>
                  <a:cubicBezTo>
                    <a:pt x="1546" y="47"/>
                    <a:pt x="1539" y="44"/>
                    <a:pt x="1530" y="44"/>
                  </a:cubicBezTo>
                  <a:cubicBezTo>
                    <a:pt x="1523" y="44"/>
                    <a:pt x="1517" y="46"/>
                    <a:pt x="1512" y="49"/>
                  </a:cubicBezTo>
                  <a:cubicBezTo>
                    <a:pt x="1508" y="52"/>
                    <a:pt x="1505" y="56"/>
                    <a:pt x="1502" y="60"/>
                  </a:cubicBezTo>
                  <a:cubicBezTo>
                    <a:pt x="1499" y="66"/>
                    <a:pt x="1498" y="73"/>
                    <a:pt x="1498" y="81"/>
                  </a:cubicBezTo>
                  <a:cubicBezTo>
                    <a:pt x="1498" y="86"/>
                    <a:pt x="1498" y="91"/>
                    <a:pt x="1499" y="95"/>
                  </a:cubicBezTo>
                  <a:cubicBezTo>
                    <a:pt x="1501" y="101"/>
                    <a:pt x="1503" y="105"/>
                    <a:pt x="1506" y="109"/>
                  </a:cubicBezTo>
                  <a:cubicBezTo>
                    <a:pt x="1512" y="116"/>
                    <a:pt x="1520" y="120"/>
                    <a:pt x="1531" y="120"/>
                  </a:cubicBezTo>
                  <a:cubicBezTo>
                    <a:pt x="1547" y="120"/>
                    <a:pt x="1557" y="112"/>
                    <a:pt x="1560" y="97"/>
                  </a:cubicBezTo>
                  <a:cubicBezTo>
                    <a:pt x="1553" y="97"/>
                    <a:pt x="1553" y="97"/>
                    <a:pt x="1553" y="97"/>
                  </a:cubicBezTo>
                  <a:cubicBezTo>
                    <a:pt x="1552" y="101"/>
                    <a:pt x="1551" y="104"/>
                    <a:pt x="1548" y="107"/>
                  </a:cubicBezTo>
                  <a:cubicBezTo>
                    <a:pt x="1544" y="112"/>
                    <a:pt x="1539" y="114"/>
                    <a:pt x="1533" y="114"/>
                  </a:cubicBezTo>
                  <a:cubicBezTo>
                    <a:pt x="1520" y="114"/>
                    <a:pt x="1514" y="104"/>
                    <a:pt x="1514" y="83"/>
                  </a:cubicBezTo>
                  <a:cubicBezTo>
                    <a:pt x="1562" y="83"/>
                    <a:pt x="1562" y="83"/>
                    <a:pt x="1562" y="83"/>
                  </a:cubicBezTo>
                  <a:cubicBezTo>
                    <a:pt x="1561" y="68"/>
                    <a:pt x="1558" y="58"/>
                    <a:pt x="1552" y="52"/>
                  </a:cubicBezTo>
                  <a:moveTo>
                    <a:pt x="1448" y="52"/>
                  </a:moveTo>
                  <a:cubicBezTo>
                    <a:pt x="1458" y="52"/>
                    <a:pt x="1458" y="52"/>
                    <a:pt x="1458" y="52"/>
                  </a:cubicBezTo>
                  <a:cubicBezTo>
                    <a:pt x="1458" y="96"/>
                    <a:pt x="1458" y="96"/>
                    <a:pt x="1458" y="96"/>
                  </a:cubicBezTo>
                  <a:cubicBezTo>
                    <a:pt x="1458" y="103"/>
                    <a:pt x="1459" y="108"/>
                    <a:pt x="1460" y="111"/>
                  </a:cubicBezTo>
                  <a:cubicBezTo>
                    <a:pt x="1463" y="117"/>
                    <a:pt x="1468" y="120"/>
                    <a:pt x="1476" y="120"/>
                  </a:cubicBezTo>
                  <a:cubicBezTo>
                    <a:pt x="1480" y="120"/>
                    <a:pt x="1486" y="119"/>
                    <a:pt x="1493" y="117"/>
                  </a:cubicBezTo>
                  <a:cubicBezTo>
                    <a:pt x="1493" y="111"/>
                    <a:pt x="1493" y="111"/>
                    <a:pt x="1493" y="111"/>
                  </a:cubicBezTo>
                  <a:cubicBezTo>
                    <a:pt x="1488" y="112"/>
                    <a:pt x="1484" y="113"/>
                    <a:pt x="1483" y="113"/>
                  </a:cubicBezTo>
                  <a:cubicBezTo>
                    <a:pt x="1480" y="113"/>
                    <a:pt x="1477" y="112"/>
                    <a:pt x="1476" y="109"/>
                  </a:cubicBezTo>
                  <a:cubicBezTo>
                    <a:pt x="1475" y="107"/>
                    <a:pt x="1475" y="103"/>
                    <a:pt x="1475" y="98"/>
                  </a:cubicBezTo>
                  <a:cubicBezTo>
                    <a:pt x="1475" y="52"/>
                    <a:pt x="1475" y="52"/>
                    <a:pt x="1475" y="52"/>
                  </a:cubicBezTo>
                  <a:cubicBezTo>
                    <a:pt x="1493" y="52"/>
                    <a:pt x="1493" y="52"/>
                    <a:pt x="1493" y="52"/>
                  </a:cubicBezTo>
                  <a:cubicBezTo>
                    <a:pt x="1493" y="46"/>
                    <a:pt x="1493" y="46"/>
                    <a:pt x="1493" y="46"/>
                  </a:cubicBezTo>
                  <a:cubicBezTo>
                    <a:pt x="1475" y="46"/>
                    <a:pt x="1475" y="46"/>
                    <a:pt x="1475" y="46"/>
                  </a:cubicBezTo>
                  <a:cubicBezTo>
                    <a:pt x="1475" y="21"/>
                    <a:pt x="1475" y="21"/>
                    <a:pt x="1475" y="21"/>
                  </a:cubicBezTo>
                  <a:cubicBezTo>
                    <a:pt x="1458" y="25"/>
                    <a:pt x="1458" y="25"/>
                    <a:pt x="1458" y="25"/>
                  </a:cubicBezTo>
                  <a:cubicBezTo>
                    <a:pt x="1458" y="46"/>
                    <a:pt x="1458" y="46"/>
                    <a:pt x="1458" y="46"/>
                  </a:cubicBezTo>
                  <a:cubicBezTo>
                    <a:pt x="1448" y="46"/>
                    <a:pt x="1448" y="46"/>
                    <a:pt x="1448" y="46"/>
                  </a:cubicBezTo>
                  <a:lnTo>
                    <a:pt x="1448" y="52"/>
                  </a:lnTo>
                  <a:close/>
                  <a:moveTo>
                    <a:pt x="1400" y="52"/>
                  </a:moveTo>
                  <a:cubicBezTo>
                    <a:pt x="1410" y="52"/>
                    <a:pt x="1410" y="52"/>
                    <a:pt x="1410" y="52"/>
                  </a:cubicBezTo>
                  <a:cubicBezTo>
                    <a:pt x="1410" y="96"/>
                    <a:pt x="1410" y="96"/>
                    <a:pt x="1410" y="96"/>
                  </a:cubicBezTo>
                  <a:cubicBezTo>
                    <a:pt x="1410" y="103"/>
                    <a:pt x="1411" y="108"/>
                    <a:pt x="1413" y="111"/>
                  </a:cubicBezTo>
                  <a:cubicBezTo>
                    <a:pt x="1416" y="117"/>
                    <a:pt x="1421" y="120"/>
                    <a:pt x="1428" y="120"/>
                  </a:cubicBezTo>
                  <a:cubicBezTo>
                    <a:pt x="1433" y="120"/>
                    <a:pt x="1439" y="119"/>
                    <a:pt x="1445" y="117"/>
                  </a:cubicBezTo>
                  <a:cubicBezTo>
                    <a:pt x="1445" y="111"/>
                    <a:pt x="1445" y="111"/>
                    <a:pt x="1445" y="111"/>
                  </a:cubicBezTo>
                  <a:cubicBezTo>
                    <a:pt x="1441" y="112"/>
                    <a:pt x="1437" y="113"/>
                    <a:pt x="1435" y="113"/>
                  </a:cubicBezTo>
                  <a:cubicBezTo>
                    <a:pt x="1432" y="113"/>
                    <a:pt x="1430" y="112"/>
                    <a:pt x="1429" y="109"/>
                  </a:cubicBezTo>
                  <a:cubicBezTo>
                    <a:pt x="1428" y="107"/>
                    <a:pt x="1427" y="103"/>
                    <a:pt x="1427" y="98"/>
                  </a:cubicBezTo>
                  <a:cubicBezTo>
                    <a:pt x="1427" y="52"/>
                    <a:pt x="1427" y="52"/>
                    <a:pt x="1427" y="52"/>
                  </a:cubicBezTo>
                  <a:cubicBezTo>
                    <a:pt x="1446" y="52"/>
                    <a:pt x="1446" y="52"/>
                    <a:pt x="1446" y="52"/>
                  </a:cubicBezTo>
                  <a:cubicBezTo>
                    <a:pt x="1446" y="46"/>
                    <a:pt x="1446" y="46"/>
                    <a:pt x="1446" y="46"/>
                  </a:cubicBezTo>
                  <a:cubicBezTo>
                    <a:pt x="1427" y="46"/>
                    <a:pt x="1427" y="46"/>
                    <a:pt x="1427" y="46"/>
                  </a:cubicBezTo>
                  <a:cubicBezTo>
                    <a:pt x="1427" y="21"/>
                    <a:pt x="1427" y="21"/>
                    <a:pt x="1427" y="21"/>
                  </a:cubicBezTo>
                  <a:cubicBezTo>
                    <a:pt x="1410" y="25"/>
                    <a:pt x="1410" y="25"/>
                    <a:pt x="1410" y="25"/>
                  </a:cubicBezTo>
                  <a:cubicBezTo>
                    <a:pt x="1410" y="46"/>
                    <a:pt x="1410" y="46"/>
                    <a:pt x="1410" y="46"/>
                  </a:cubicBezTo>
                  <a:cubicBezTo>
                    <a:pt x="1400" y="46"/>
                    <a:pt x="1400" y="46"/>
                    <a:pt x="1400" y="46"/>
                  </a:cubicBezTo>
                  <a:lnTo>
                    <a:pt x="1400" y="52"/>
                  </a:lnTo>
                  <a:close/>
                  <a:moveTo>
                    <a:pt x="1373" y="101"/>
                  </a:moveTo>
                  <a:cubicBezTo>
                    <a:pt x="1370" y="109"/>
                    <a:pt x="1365" y="113"/>
                    <a:pt x="1359" y="113"/>
                  </a:cubicBezTo>
                  <a:cubicBezTo>
                    <a:pt x="1352" y="113"/>
                    <a:pt x="1348" y="108"/>
                    <a:pt x="1348" y="98"/>
                  </a:cubicBezTo>
                  <a:cubicBezTo>
                    <a:pt x="1348" y="90"/>
                    <a:pt x="1351" y="85"/>
                    <a:pt x="1356" y="82"/>
                  </a:cubicBezTo>
                  <a:cubicBezTo>
                    <a:pt x="1360" y="80"/>
                    <a:pt x="1366" y="79"/>
                    <a:pt x="1375" y="79"/>
                  </a:cubicBezTo>
                  <a:cubicBezTo>
                    <a:pt x="1375" y="90"/>
                    <a:pt x="1374" y="97"/>
                    <a:pt x="1373" y="101"/>
                  </a:cubicBezTo>
                  <a:moveTo>
                    <a:pt x="1374" y="118"/>
                  </a:moveTo>
                  <a:cubicBezTo>
                    <a:pt x="1390" y="118"/>
                    <a:pt x="1390" y="118"/>
                    <a:pt x="1390" y="118"/>
                  </a:cubicBezTo>
                  <a:cubicBezTo>
                    <a:pt x="1390" y="72"/>
                    <a:pt x="1390" y="72"/>
                    <a:pt x="1390" y="72"/>
                  </a:cubicBezTo>
                  <a:cubicBezTo>
                    <a:pt x="1390" y="67"/>
                    <a:pt x="1390" y="63"/>
                    <a:pt x="1390" y="60"/>
                  </a:cubicBezTo>
                  <a:cubicBezTo>
                    <a:pt x="1389" y="57"/>
                    <a:pt x="1387" y="55"/>
                    <a:pt x="1386" y="52"/>
                  </a:cubicBezTo>
                  <a:cubicBezTo>
                    <a:pt x="1381" y="47"/>
                    <a:pt x="1374" y="44"/>
                    <a:pt x="1363" y="44"/>
                  </a:cubicBezTo>
                  <a:cubicBezTo>
                    <a:pt x="1355" y="44"/>
                    <a:pt x="1349" y="45"/>
                    <a:pt x="1344" y="48"/>
                  </a:cubicBezTo>
                  <a:cubicBezTo>
                    <a:pt x="1341" y="50"/>
                    <a:pt x="1339" y="52"/>
                    <a:pt x="1337" y="55"/>
                  </a:cubicBezTo>
                  <a:cubicBezTo>
                    <a:pt x="1336" y="58"/>
                    <a:pt x="1335" y="62"/>
                    <a:pt x="1335" y="66"/>
                  </a:cubicBezTo>
                  <a:cubicBezTo>
                    <a:pt x="1350" y="66"/>
                    <a:pt x="1350" y="66"/>
                    <a:pt x="1350" y="66"/>
                  </a:cubicBezTo>
                  <a:cubicBezTo>
                    <a:pt x="1350" y="64"/>
                    <a:pt x="1350" y="64"/>
                    <a:pt x="1350" y="64"/>
                  </a:cubicBezTo>
                  <a:cubicBezTo>
                    <a:pt x="1350" y="54"/>
                    <a:pt x="1354" y="49"/>
                    <a:pt x="1362" y="49"/>
                  </a:cubicBezTo>
                  <a:cubicBezTo>
                    <a:pt x="1367" y="49"/>
                    <a:pt x="1371" y="51"/>
                    <a:pt x="1372" y="54"/>
                  </a:cubicBezTo>
                  <a:cubicBezTo>
                    <a:pt x="1374" y="57"/>
                    <a:pt x="1375" y="62"/>
                    <a:pt x="1375" y="67"/>
                  </a:cubicBezTo>
                  <a:cubicBezTo>
                    <a:pt x="1375" y="75"/>
                    <a:pt x="1375" y="75"/>
                    <a:pt x="1375" y="75"/>
                  </a:cubicBezTo>
                  <a:cubicBezTo>
                    <a:pt x="1358" y="75"/>
                    <a:pt x="1348" y="77"/>
                    <a:pt x="1342" y="80"/>
                  </a:cubicBezTo>
                  <a:cubicBezTo>
                    <a:pt x="1335" y="84"/>
                    <a:pt x="1331" y="90"/>
                    <a:pt x="1331" y="99"/>
                  </a:cubicBezTo>
                  <a:cubicBezTo>
                    <a:pt x="1331" y="104"/>
                    <a:pt x="1333" y="109"/>
                    <a:pt x="1335" y="113"/>
                  </a:cubicBezTo>
                  <a:cubicBezTo>
                    <a:pt x="1339" y="118"/>
                    <a:pt x="1345" y="120"/>
                    <a:pt x="1353" y="120"/>
                  </a:cubicBezTo>
                  <a:cubicBezTo>
                    <a:pt x="1359" y="120"/>
                    <a:pt x="1365" y="118"/>
                    <a:pt x="1369" y="113"/>
                  </a:cubicBezTo>
                  <a:cubicBezTo>
                    <a:pt x="1371" y="111"/>
                    <a:pt x="1373" y="107"/>
                    <a:pt x="1374" y="103"/>
                  </a:cubicBezTo>
                  <a:lnTo>
                    <a:pt x="1374" y="118"/>
                  </a:lnTo>
                  <a:close/>
                  <a:moveTo>
                    <a:pt x="1213" y="118"/>
                  </a:moveTo>
                  <a:cubicBezTo>
                    <a:pt x="1230" y="118"/>
                    <a:pt x="1230" y="118"/>
                    <a:pt x="1230" y="118"/>
                  </a:cubicBezTo>
                  <a:cubicBezTo>
                    <a:pt x="1230" y="85"/>
                    <a:pt x="1230" y="85"/>
                    <a:pt x="1230" y="85"/>
                  </a:cubicBezTo>
                  <a:cubicBezTo>
                    <a:pt x="1230" y="78"/>
                    <a:pt x="1230" y="73"/>
                    <a:pt x="1231" y="69"/>
                  </a:cubicBezTo>
                  <a:cubicBezTo>
                    <a:pt x="1232" y="63"/>
                    <a:pt x="1234" y="58"/>
                    <a:pt x="1237" y="55"/>
                  </a:cubicBezTo>
                  <a:cubicBezTo>
                    <a:pt x="1240" y="52"/>
                    <a:pt x="1243" y="51"/>
                    <a:pt x="1246" y="51"/>
                  </a:cubicBezTo>
                  <a:cubicBezTo>
                    <a:pt x="1250" y="51"/>
                    <a:pt x="1253" y="52"/>
                    <a:pt x="1254" y="56"/>
                  </a:cubicBezTo>
                  <a:cubicBezTo>
                    <a:pt x="1256" y="59"/>
                    <a:pt x="1256" y="65"/>
                    <a:pt x="1256" y="73"/>
                  </a:cubicBezTo>
                  <a:cubicBezTo>
                    <a:pt x="1256" y="118"/>
                    <a:pt x="1256" y="118"/>
                    <a:pt x="1256" y="118"/>
                  </a:cubicBezTo>
                  <a:cubicBezTo>
                    <a:pt x="1273" y="118"/>
                    <a:pt x="1273" y="118"/>
                    <a:pt x="1273" y="118"/>
                  </a:cubicBezTo>
                  <a:cubicBezTo>
                    <a:pt x="1273" y="86"/>
                    <a:pt x="1273" y="86"/>
                    <a:pt x="1273" y="86"/>
                  </a:cubicBezTo>
                  <a:cubicBezTo>
                    <a:pt x="1273" y="71"/>
                    <a:pt x="1276" y="60"/>
                    <a:pt x="1280" y="55"/>
                  </a:cubicBezTo>
                  <a:cubicBezTo>
                    <a:pt x="1283" y="52"/>
                    <a:pt x="1286" y="51"/>
                    <a:pt x="1289" y="51"/>
                  </a:cubicBezTo>
                  <a:cubicBezTo>
                    <a:pt x="1293" y="51"/>
                    <a:pt x="1296" y="52"/>
                    <a:pt x="1298" y="56"/>
                  </a:cubicBezTo>
                  <a:cubicBezTo>
                    <a:pt x="1299" y="59"/>
                    <a:pt x="1300" y="64"/>
                    <a:pt x="1300" y="71"/>
                  </a:cubicBezTo>
                  <a:cubicBezTo>
                    <a:pt x="1300" y="118"/>
                    <a:pt x="1300" y="118"/>
                    <a:pt x="1300" y="118"/>
                  </a:cubicBezTo>
                  <a:cubicBezTo>
                    <a:pt x="1316" y="118"/>
                    <a:pt x="1316" y="118"/>
                    <a:pt x="1316" y="118"/>
                  </a:cubicBezTo>
                  <a:cubicBezTo>
                    <a:pt x="1316" y="69"/>
                    <a:pt x="1316" y="69"/>
                    <a:pt x="1316" y="69"/>
                  </a:cubicBezTo>
                  <a:cubicBezTo>
                    <a:pt x="1316" y="63"/>
                    <a:pt x="1316" y="58"/>
                    <a:pt x="1314" y="55"/>
                  </a:cubicBezTo>
                  <a:cubicBezTo>
                    <a:pt x="1310" y="48"/>
                    <a:pt x="1304" y="44"/>
                    <a:pt x="1295" y="44"/>
                  </a:cubicBezTo>
                  <a:cubicBezTo>
                    <a:pt x="1288" y="44"/>
                    <a:pt x="1283" y="46"/>
                    <a:pt x="1278" y="51"/>
                  </a:cubicBezTo>
                  <a:cubicBezTo>
                    <a:pt x="1276" y="54"/>
                    <a:pt x="1274" y="57"/>
                    <a:pt x="1273" y="62"/>
                  </a:cubicBezTo>
                  <a:cubicBezTo>
                    <a:pt x="1272" y="58"/>
                    <a:pt x="1270" y="54"/>
                    <a:pt x="1269" y="51"/>
                  </a:cubicBezTo>
                  <a:cubicBezTo>
                    <a:pt x="1265" y="46"/>
                    <a:pt x="1260" y="44"/>
                    <a:pt x="1252" y="44"/>
                  </a:cubicBezTo>
                  <a:cubicBezTo>
                    <a:pt x="1245" y="44"/>
                    <a:pt x="1239" y="47"/>
                    <a:pt x="1235" y="52"/>
                  </a:cubicBezTo>
                  <a:cubicBezTo>
                    <a:pt x="1232" y="55"/>
                    <a:pt x="1230" y="59"/>
                    <a:pt x="1229" y="64"/>
                  </a:cubicBezTo>
                  <a:cubicBezTo>
                    <a:pt x="1229" y="46"/>
                    <a:pt x="1229" y="46"/>
                    <a:pt x="1229" y="46"/>
                  </a:cubicBezTo>
                  <a:cubicBezTo>
                    <a:pt x="1213" y="46"/>
                    <a:pt x="1213" y="46"/>
                    <a:pt x="1213" y="46"/>
                  </a:cubicBezTo>
                  <a:lnTo>
                    <a:pt x="1213" y="118"/>
                  </a:lnTo>
                  <a:close/>
                  <a:moveTo>
                    <a:pt x="1104" y="108"/>
                  </a:moveTo>
                  <a:cubicBezTo>
                    <a:pt x="1108" y="116"/>
                    <a:pt x="1116" y="120"/>
                    <a:pt x="1128" y="120"/>
                  </a:cubicBezTo>
                  <a:cubicBezTo>
                    <a:pt x="1135" y="120"/>
                    <a:pt x="1140" y="119"/>
                    <a:pt x="1145" y="116"/>
                  </a:cubicBezTo>
                  <a:cubicBezTo>
                    <a:pt x="1151" y="112"/>
                    <a:pt x="1155" y="105"/>
                    <a:pt x="1155" y="97"/>
                  </a:cubicBezTo>
                  <a:cubicBezTo>
                    <a:pt x="1155" y="92"/>
                    <a:pt x="1154" y="89"/>
                    <a:pt x="1152" y="86"/>
                  </a:cubicBezTo>
                  <a:cubicBezTo>
                    <a:pt x="1149" y="81"/>
                    <a:pt x="1144" y="78"/>
                    <a:pt x="1137" y="76"/>
                  </a:cubicBezTo>
                  <a:cubicBezTo>
                    <a:pt x="1126" y="73"/>
                    <a:pt x="1126" y="73"/>
                    <a:pt x="1126" y="73"/>
                  </a:cubicBezTo>
                  <a:cubicBezTo>
                    <a:pt x="1120" y="71"/>
                    <a:pt x="1116" y="67"/>
                    <a:pt x="1116" y="61"/>
                  </a:cubicBezTo>
                  <a:cubicBezTo>
                    <a:pt x="1116" y="58"/>
                    <a:pt x="1117" y="55"/>
                    <a:pt x="1119" y="53"/>
                  </a:cubicBezTo>
                  <a:cubicBezTo>
                    <a:pt x="1121" y="51"/>
                    <a:pt x="1124" y="49"/>
                    <a:pt x="1128" y="49"/>
                  </a:cubicBezTo>
                  <a:cubicBezTo>
                    <a:pt x="1130" y="49"/>
                    <a:pt x="1132" y="50"/>
                    <a:pt x="1134" y="51"/>
                  </a:cubicBezTo>
                  <a:cubicBezTo>
                    <a:pt x="1136" y="52"/>
                    <a:pt x="1137" y="53"/>
                    <a:pt x="1138" y="55"/>
                  </a:cubicBezTo>
                  <a:cubicBezTo>
                    <a:pt x="1139" y="57"/>
                    <a:pt x="1139" y="61"/>
                    <a:pt x="1139" y="66"/>
                  </a:cubicBezTo>
                  <a:cubicBezTo>
                    <a:pt x="1153" y="66"/>
                    <a:pt x="1153" y="66"/>
                    <a:pt x="1153" y="66"/>
                  </a:cubicBezTo>
                  <a:cubicBezTo>
                    <a:pt x="1153" y="61"/>
                    <a:pt x="1151" y="57"/>
                    <a:pt x="1149" y="54"/>
                  </a:cubicBezTo>
                  <a:cubicBezTo>
                    <a:pt x="1145" y="47"/>
                    <a:pt x="1138" y="44"/>
                    <a:pt x="1128" y="44"/>
                  </a:cubicBezTo>
                  <a:cubicBezTo>
                    <a:pt x="1122" y="44"/>
                    <a:pt x="1117" y="45"/>
                    <a:pt x="1112" y="48"/>
                  </a:cubicBezTo>
                  <a:cubicBezTo>
                    <a:pt x="1106" y="52"/>
                    <a:pt x="1103" y="58"/>
                    <a:pt x="1103" y="66"/>
                  </a:cubicBezTo>
                  <a:cubicBezTo>
                    <a:pt x="1103" y="72"/>
                    <a:pt x="1105" y="77"/>
                    <a:pt x="1109" y="81"/>
                  </a:cubicBezTo>
                  <a:cubicBezTo>
                    <a:pt x="1111" y="83"/>
                    <a:pt x="1116" y="86"/>
                    <a:pt x="1122" y="88"/>
                  </a:cubicBezTo>
                  <a:cubicBezTo>
                    <a:pt x="1131" y="90"/>
                    <a:pt x="1131" y="90"/>
                    <a:pt x="1131" y="90"/>
                  </a:cubicBezTo>
                  <a:cubicBezTo>
                    <a:pt x="1138" y="92"/>
                    <a:pt x="1141" y="96"/>
                    <a:pt x="1141" y="102"/>
                  </a:cubicBezTo>
                  <a:cubicBezTo>
                    <a:pt x="1141" y="105"/>
                    <a:pt x="1140" y="108"/>
                    <a:pt x="1139" y="110"/>
                  </a:cubicBezTo>
                  <a:cubicBezTo>
                    <a:pt x="1136" y="113"/>
                    <a:pt x="1133" y="115"/>
                    <a:pt x="1128" y="115"/>
                  </a:cubicBezTo>
                  <a:cubicBezTo>
                    <a:pt x="1125" y="115"/>
                    <a:pt x="1123" y="114"/>
                    <a:pt x="1121" y="112"/>
                  </a:cubicBezTo>
                  <a:cubicBezTo>
                    <a:pt x="1119" y="111"/>
                    <a:pt x="1118" y="110"/>
                    <a:pt x="1117" y="108"/>
                  </a:cubicBezTo>
                  <a:cubicBezTo>
                    <a:pt x="1115" y="105"/>
                    <a:pt x="1115" y="101"/>
                    <a:pt x="1115" y="96"/>
                  </a:cubicBezTo>
                  <a:cubicBezTo>
                    <a:pt x="1101" y="96"/>
                    <a:pt x="1101" y="96"/>
                    <a:pt x="1101" y="96"/>
                  </a:cubicBezTo>
                  <a:cubicBezTo>
                    <a:pt x="1101" y="101"/>
                    <a:pt x="1102" y="105"/>
                    <a:pt x="1104" y="108"/>
                  </a:cubicBezTo>
                  <a:moveTo>
                    <a:pt x="1068" y="5"/>
                  </a:moveTo>
                  <a:cubicBezTo>
                    <a:pt x="1066" y="7"/>
                    <a:pt x="1065" y="10"/>
                    <a:pt x="1065" y="13"/>
                  </a:cubicBezTo>
                  <a:cubicBezTo>
                    <a:pt x="1065" y="15"/>
                    <a:pt x="1066" y="18"/>
                    <a:pt x="1068" y="19"/>
                  </a:cubicBezTo>
                  <a:cubicBezTo>
                    <a:pt x="1070" y="22"/>
                    <a:pt x="1072" y="23"/>
                    <a:pt x="1076" y="23"/>
                  </a:cubicBezTo>
                  <a:cubicBezTo>
                    <a:pt x="1080" y="23"/>
                    <a:pt x="1083" y="22"/>
                    <a:pt x="1084" y="20"/>
                  </a:cubicBezTo>
                  <a:cubicBezTo>
                    <a:pt x="1086" y="18"/>
                    <a:pt x="1087" y="16"/>
                    <a:pt x="1087" y="13"/>
                  </a:cubicBezTo>
                  <a:cubicBezTo>
                    <a:pt x="1087" y="10"/>
                    <a:pt x="1087" y="8"/>
                    <a:pt x="1085" y="6"/>
                  </a:cubicBezTo>
                  <a:cubicBezTo>
                    <a:pt x="1083" y="4"/>
                    <a:pt x="1080" y="3"/>
                    <a:pt x="1076" y="3"/>
                  </a:cubicBezTo>
                  <a:cubicBezTo>
                    <a:pt x="1073" y="3"/>
                    <a:pt x="1070" y="4"/>
                    <a:pt x="1068" y="5"/>
                  </a:cubicBezTo>
                  <a:moveTo>
                    <a:pt x="1068" y="118"/>
                  </a:moveTo>
                  <a:cubicBezTo>
                    <a:pt x="1085" y="118"/>
                    <a:pt x="1085" y="118"/>
                    <a:pt x="1085" y="118"/>
                  </a:cubicBezTo>
                  <a:cubicBezTo>
                    <a:pt x="1085" y="46"/>
                    <a:pt x="1085" y="46"/>
                    <a:pt x="1085" y="46"/>
                  </a:cubicBezTo>
                  <a:cubicBezTo>
                    <a:pt x="1068" y="46"/>
                    <a:pt x="1068" y="46"/>
                    <a:pt x="1068" y="46"/>
                  </a:cubicBezTo>
                  <a:lnTo>
                    <a:pt x="1068" y="118"/>
                  </a:lnTo>
                  <a:close/>
                  <a:moveTo>
                    <a:pt x="1000" y="108"/>
                  </a:moveTo>
                  <a:cubicBezTo>
                    <a:pt x="1005" y="116"/>
                    <a:pt x="1013" y="120"/>
                    <a:pt x="1024" y="120"/>
                  </a:cubicBezTo>
                  <a:cubicBezTo>
                    <a:pt x="1031" y="120"/>
                    <a:pt x="1037" y="119"/>
                    <a:pt x="1041" y="116"/>
                  </a:cubicBezTo>
                  <a:cubicBezTo>
                    <a:pt x="1048" y="112"/>
                    <a:pt x="1051" y="105"/>
                    <a:pt x="1051" y="97"/>
                  </a:cubicBezTo>
                  <a:cubicBezTo>
                    <a:pt x="1051" y="92"/>
                    <a:pt x="1050" y="89"/>
                    <a:pt x="1048" y="86"/>
                  </a:cubicBezTo>
                  <a:cubicBezTo>
                    <a:pt x="1045" y="81"/>
                    <a:pt x="1040" y="78"/>
                    <a:pt x="1033" y="76"/>
                  </a:cubicBezTo>
                  <a:cubicBezTo>
                    <a:pt x="1022" y="73"/>
                    <a:pt x="1022" y="73"/>
                    <a:pt x="1022" y="73"/>
                  </a:cubicBezTo>
                  <a:cubicBezTo>
                    <a:pt x="1016" y="71"/>
                    <a:pt x="1013" y="67"/>
                    <a:pt x="1013" y="61"/>
                  </a:cubicBezTo>
                  <a:cubicBezTo>
                    <a:pt x="1013" y="58"/>
                    <a:pt x="1013" y="55"/>
                    <a:pt x="1015" y="53"/>
                  </a:cubicBezTo>
                  <a:cubicBezTo>
                    <a:pt x="1017" y="51"/>
                    <a:pt x="1020" y="49"/>
                    <a:pt x="1024" y="49"/>
                  </a:cubicBezTo>
                  <a:cubicBezTo>
                    <a:pt x="1026" y="49"/>
                    <a:pt x="1029" y="50"/>
                    <a:pt x="1031" y="51"/>
                  </a:cubicBezTo>
                  <a:cubicBezTo>
                    <a:pt x="1032" y="52"/>
                    <a:pt x="1033" y="53"/>
                    <a:pt x="1034" y="55"/>
                  </a:cubicBezTo>
                  <a:cubicBezTo>
                    <a:pt x="1035" y="57"/>
                    <a:pt x="1035" y="61"/>
                    <a:pt x="1035" y="66"/>
                  </a:cubicBezTo>
                  <a:cubicBezTo>
                    <a:pt x="1049" y="66"/>
                    <a:pt x="1049" y="66"/>
                    <a:pt x="1049" y="66"/>
                  </a:cubicBezTo>
                  <a:cubicBezTo>
                    <a:pt x="1049" y="61"/>
                    <a:pt x="1048" y="57"/>
                    <a:pt x="1046" y="54"/>
                  </a:cubicBezTo>
                  <a:cubicBezTo>
                    <a:pt x="1042" y="47"/>
                    <a:pt x="1034" y="44"/>
                    <a:pt x="1024" y="44"/>
                  </a:cubicBezTo>
                  <a:cubicBezTo>
                    <a:pt x="1018" y="44"/>
                    <a:pt x="1013" y="45"/>
                    <a:pt x="1009" y="48"/>
                  </a:cubicBezTo>
                  <a:cubicBezTo>
                    <a:pt x="1002" y="52"/>
                    <a:pt x="999" y="58"/>
                    <a:pt x="999" y="66"/>
                  </a:cubicBezTo>
                  <a:cubicBezTo>
                    <a:pt x="999" y="72"/>
                    <a:pt x="1001" y="77"/>
                    <a:pt x="1005" y="81"/>
                  </a:cubicBezTo>
                  <a:cubicBezTo>
                    <a:pt x="1008" y="83"/>
                    <a:pt x="1012" y="86"/>
                    <a:pt x="1019" y="88"/>
                  </a:cubicBezTo>
                  <a:cubicBezTo>
                    <a:pt x="1027" y="90"/>
                    <a:pt x="1027" y="90"/>
                    <a:pt x="1027" y="90"/>
                  </a:cubicBezTo>
                  <a:cubicBezTo>
                    <a:pt x="1034" y="92"/>
                    <a:pt x="1037" y="96"/>
                    <a:pt x="1037" y="102"/>
                  </a:cubicBezTo>
                  <a:cubicBezTo>
                    <a:pt x="1037" y="105"/>
                    <a:pt x="1036" y="108"/>
                    <a:pt x="1035" y="110"/>
                  </a:cubicBezTo>
                  <a:cubicBezTo>
                    <a:pt x="1033" y="113"/>
                    <a:pt x="1029" y="115"/>
                    <a:pt x="1025" y="115"/>
                  </a:cubicBezTo>
                  <a:cubicBezTo>
                    <a:pt x="1022" y="115"/>
                    <a:pt x="1019" y="114"/>
                    <a:pt x="1017" y="112"/>
                  </a:cubicBezTo>
                  <a:cubicBezTo>
                    <a:pt x="1015" y="111"/>
                    <a:pt x="1014" y="110"/>
                    <a:pt x="1013" y="108"/>
                  </a:cubicBezTo>
                  <a:cubicBezTo>
                    <a:pt x="1012" y="105"/>
                    <a:pt x="1011" y="101"/>
                    <a:pt x="1011" y="96"/>
                  </a:cubicBezTo>
                  <a:cubicBezTo>
                    <a:pt x="997" y="96"/>
                    <a:pt x="997" y="96"/>
                    <a:pt x="997" y="96"/>
                  </a:cubicBezTo>
                  <a:cubicBezTo>
                    <a:pt x="997" y="101"/>
                    <a:pt x="998" y="105"/>
                    <a:pt x="1000" y="108"/>
                  </a:cubicBezTo>
                  <a:moveTo>
                    <a:pt x="964" y="57"/>
                  </a:moveTo>
                  <a:cubicBezTo>
                    <a:pt x="967" y="63"/>
                    <a:pt x="968" y="71"/>
                    <a:pt x="968" y="83"/>
                  </a:cubicBezTo>
                  <a:cubicBezTo>
                    <a:pt x="968" y="98"/>
                    <a:pt x="965" y="108"/>
                    <a:pt x="960" y="112"/>
                  </a:cubicBezTo>
                  <a:cubicBezTo>
                    <a:pt x="957" y="114"/>
                    <a:pt x="955" y="115"/>
                    <a:pt x="952" y="115"/>
                  </a:cubicBezTo>
                  <a:cubicBezTo>
                    <a:pt x="949" y="115"/>
                    <a:pt x="947" y="114"/>
                    <a:pt x="944" y="113"/>
                  </a:cubicBezTo>
                  <a:cubicBezTo>
                    <a:pt x="942" y="111"/>
                    <a:pt x="941" y="109"/>
                    <a:pt x="940" y="107"/>
                  </a:cubicBezTo>
                  <a:cubicBezTo>
                    <a:pt x="937" y="100"/>
                    <a:pt x="936" y="92"/>
                    <a:pt x="936" y="83"/>
                  </a:cubicBezTo>
                  <a:cubicBezTo>
                    <a:pt x="936" y="72"/>
                    <a:pt x="937" y="63"/>
                    <a:pt x="940" y="57"/>
                  </a:cubicBezTo>
                  <a:cubicBezTo>
                    <a:pt x="942" y="51"/>
                    <a:pt x="946" y="49"/>
                    <a:pt x="952" y="49"/>
                  </a:cubicBezTo>
                  <a:cubicBezTo>
                    <a:pt x="958" y="49"/>
                    <a:pt x="962" y="51"/>
                    <a:pt x="964" y="57"/>
                  </a:cubicBezTo>
                  <a:moveTo>
                    <a:pt x="928" y="53"/>
                  </a:moveTo>
                  <a:cubicBezTo>
                    <a:pt x="921" y="59"/>
                    <a:pt x="918" y="69"/>
                    <a:pt x="918" y="82"/>
                  </a:cubicBezTo>
                  <a:cubicBezTo>
                    <a:pt x="918" y="90"/>
                    <a:pt x="919" y="97"/>
                    <a:pt x="923" y="104"/>
                  </a:cubicBezTo>
                  <a:cubicBezTo>
                    <a:pt x="925" y="109"/>
                    <a:pt x="928" y="112"/>
                    <a:pt x="933" y="115"/>
                  </a:cubicBezTo>
                  <a:cubicBezTo>
                    <a:pt x="938" y="119"/>
                    <a:pt x="945" y="120"/>
                    <a:pt x="952" y="120"/>
                  </a:cubicBezTo>
                  <a:cubicBezTo>
                    <a:pt x="959" y="120"/>
                    <a:pt x="965" y="119"/>
                    <a:pt x="971" y="115"/>
                  </a:cubicBezTo>
                  <a:cubicBezTo>
                    <a:pt x="976" y="112"/>
                    <a:pt x="979" y="109"/>
                    <a:pt x="981" y="104"/>
                  </a:cubicBezTo>
                  <a:cubicBezTo>
                    <a:pt x="984" y="97"/>
                    <a:pt x="986" y="90"/>
                    <a:pt x="986" y="83"/>
                  </a:cubicBezTo>
                  <a:cubicBezTo>
                    <a:pt x="986" y="69"/>
                    <a:pt x="983" y="59"/>
                    <a:pt x="976" y="53"/>
                  </a:cubicBezTo>
                  <a:cubicBezTo>
                    <a:pt x="970" y="47"/>
                    <a:pt x="962" y="43"/>
                    <a:pt x="952" y="43"/>
                  </a:cubicBezTo>
                  <a:cubicBezTo>
                    <a:pt x="942" y="43"/>
                    <a:pt x="934" y="46"/>
                    <a:pt x="928" y="53"/>
                  </a:cubicBezTo>
                  <a:moveTo>
                    <a:pt x="842" y="46"/>
                  </a:moveTo>
                  <a:cubicBezTo>
                    <a:pt x="842" y="118"/>
                    <a:pt x="842" y="118"/>
                    <a:pt x="842" y="118"/>
                  </a:cubicBezTo>
                  <a:cubicBezTo>
                    <a:pt x="859" y="118"/>
                    <a:pt x="859" y="118"/>
                    <a:pt x="859" y="118"/>
                  </a:cubicBezTo>
                  <a:cubicBezTo>
                    <a:pt x="859" y="87"/>
                    <a:pt x="859" y="87"/>
                    <a:pt x="859" y="87"/>
                  </a:cubicBezTo>
                  <a:cubicBezTo>
                    <a:pt x="859" y="71"/>
                    <a:pt x="861" y="61"/>
                    <a:pt x="866" y="56"/>
                  </a:cubicBezTo>
                  <a:cubicBezTo>
                    <a:pt x="869" y="53"/>
                    <a:pt x="872" y="51"/>
                    <a:pt x="875" y="51"/>
                  </a:cubicBezTo>
                  <a:cubicBezTo>
                    <a:pt x="879" y="51"/>
                    <a:pt x="882" y="53"/>
                    <a:pt x="884" y="57"/>
                  </a:cubicBezTo>
                  <a:cubicBezTo>
                    <a:pt x="885" y="60"/>
                    <a:pt x="885" y="65"/>
                    <a:pt x="885" y="72"/>
                  </a:cubicBezTo>
                  <a:cubicBezTo>
                    <a:pt x="885" y="118"/>
                    <a:pt x="885" y="118"/>
                    <a:pt x="885" y="118"/>
                  </a:cubicBezTo>
                  <a:cubicBezTo>
                    <a:pt x="902" y="118"/>
                    <a:pt x="902" y="118"/>
                    <a:pt x="902" y="118"/>
                  </a:cubicBezTo>
                  <a:cubicBezTo>
                    <a:pt x="902" y="71"/>
                    <a:pt x="902" y="71"/>
                    <a:pt x="902" y="71"/>
                  </a:cubicBezTo>
                  <a:cubicBezTo>
                    <a:pt x="902" y="64"/>
                    <a:pt x="901" y="58"/>
                    <a:pt x="900" y="55"/>
                  </a:cubicBezTo>
                  <a:cubicBezTo>
                    <a:pt x="896" y="48"/>
                    <a:pt x="890" y="44"/>
                    <a:pt x="881" y="44"/>
                  </a:cubicBezTo>
                  <a:cubicBezTo>
                    <a:pt x="869" y="44"/>
                    <a:pt x="861" y="51"/>
                    <a:pt x="858" y="66"/>
                  </a:cubicBezTo>
                  <a:cubicBezTo>
                    <a:pt x="858" y="46"/>
                    <a:pt x="858" y="46"/>
                    <a:pt x="858" y="46"/>
                  </a:cubicBezTo>
                  <a:lnTo>
                    <a:pt x="842" y="46"/>
                  </a:lnTo>
                  <a:close/>
                  <a:moveTo>
                    <a:pt x="788" y="130"/>
                  </a:moveTo>
                  <a:cubicBezTo>
                    <a:pt x="808" y="131"/>
                    <a:pt x="808" y="131"/>
                    <a:pt x="808" y="131"/>
                  </a:cubicBezTo>
                  <a:cubicBezTo>
                    <a:pt x="814" y="132"/>
                    <a:pt x="818" y="133"/>
                    <a:pt x="820" y="135"/>
                  </a:cubicBezTo>
                  <a:cubicBezTo>
                    <a:pt x="822" y="137"/>
                    <a:pt x="823" y="139"/>
                    <a:pt x="823" y="142"/>
                  </a:cubicBezTo>
                  <a:cubicBezTo>
                    <a:pt x="823" y="145"/>
                    <a:pt x="822" y="147"/>
                    <a:pt x="821" y="150"/>
                  </a:cubicBezTo>
                  <a:cubicBezTo>
                    <a:pt x="819" y="153"/>
                    <a:pt x="816" y="155"/>
                    <a:pt x="814" y="157"/>
                  </a:cubicBezTo>
                  <a:cubicBezTo>
                    <a:pt x="808" y="160"/>
                    <a:pt x="802" y="161"/>
                    <a:pt x="795" y="161"/>
                  </a:cubicBezTo>
                  <a:cubicBezTo>
                    <a:pt x="791" y="161"/>
                    <a:pt x="787" y="161"/>
                    <a:pt x="784" y="160"/>
                  </a:cubicBezTo>
                  <a:cubicBezTo>
                    <a:pt x="779" y="159"/>
                    <a:pt x="776" y="157"/>
                    <a:pt x="774" y="155"/>
                  </a:cubicBezTo>
                  <a:cubicBezTo>
                    <a:pt x="770" y="151"/>
                    <a:pt x="767" y="147"/>
                    <a:pt x="767" y="141"/>
                  </a:cubicBezTo>
                  <a:cubicBezTo>
                    <a:pt x="767" y="136"/>
                    <a:pt x="770" y="131"/>
                    <a:pt x="774" y="127"/>
                  </a:cubicBezTo>
                  <a:cubicBezTo>
                    <a:pt x="777" y="128"/>
                    <a:pt x="782" y="129"/>
                    <a:pt x="788" y="130"/>
                  </a:cubicBezTo>
                  <a:moveTo>
                    <a:pt x="807" y="71"/>
                  </a:moveTo>
                  <a:cubicBezTo>
                    <a:pt x="807" y="87"/>
                    <a:pt x="802" y="94"/>
                    <a:pt x="794" y="94"/>
                  </a:cubicBezTo>
                  <a:cubicBezTo>
                    <a:pt x="790" y="94"/>
                    <a:pt x="787" y="92"/>
                    <a:pt x="785" y="89"/>
                  </a:cubicBezTo>
                  <a:cubicBezTo>
                    <a:pt x="783" y="85"/>
                    <a:pt x="782" y="79"/>
                    <a:pt x="782" y="71"/>
                  </a:cubicBezTo>
                  <a:cubicBezTo>
                    <a:pt x="782" y="63"/>
                    <a:pt x="783" y="57"/>
                    <a:pt x="786" y="54"/>
                  </a:cubicBezTo>
                  <a:cubicBezTo>
                    <a:pt x="788" y="51"/>
                    <a:pt x="791" y="49"/>
                    <a:pt x="794" y="49"/>
                  </a:cubicBezTo>
                  <a:cubicBezTo>
                    <a:pt x="802" y="49"/>
                    <a:pt x="807" y="57"/>
                    <a:pt x="807" y="71"/>
                  </a:cubicBezTo>
                  <a:moveTo>
                    <a:pt x="807" y="46"/>
                  </a:moveTo>
                  <a:cubicBezTo>
                    <a:pt x="802" y="45"/>
                    <a:pt x="798" y="44"/>
                    <a:pt x="794" y="44"/>
                  </a:cubicBezTo>
                  <a:cubicBezTo>
                    <a:pt x="784" y="44"/>
                    <a:pt x="777" y="47"/>
                    <a:pt x="772" y="53"/>
                  </a:cubicBezTo>
                  <a:cubicBezTo>
                    <a:pt x="767" y="59"/>
                    <a:pt x="765" y="65"/>
                    <a:pt x="765" y="72"/>
                  </a:cubicBezTo>
                  <a:cubicBezTo>
                    <a:pt x="765" y="79"/>
                    <a:pt x="767" y="85"/>
                    <a:pt x="771" y="90"/>
                  </a:cubicBezTo>
                  <a:cubicBezTo>
                    <a:pt x="773" y="92"/>
                    <a:pt x="776" y="95"/>
                    <a:pt x="780" y="97"/>
                  </a:cubicBezTo>
                  <a:cubicBezTo>
                    <a:pt x="776" y="98"/>
                    <a:pt x="773" y="100"/>
                    <a:pt x="772" y="102"/>
                  </a:cubicBezTo>
                  <a:cubicBezTo>
                    <a:pt x="769" y="105"/>
                    <a:pt x="768" y="109"/>
                    <a:pt x="768" y="113"/>
                  </a:cubicBezTo>
                  <a:cubicBezTo>
                    <a:pt x="768" y="118"/>
                    <a:pt x="769" y="122"/>
                    <a:pt x="773" y="125"/>
                  </a:cubicBezTo>
                  <a:cubicBezTo>
                    <a:pt x="765" y="130"/>
                    <a:pt x="761" y="136"/>
                    <a:pt x="761" y="144"/>
                  </a:cubicBezTo>
                  <a:cubicBezTo>
                    <a:pt x="761" y="147"/>
                    <a:pt x="762" y="151"/>
                    <a:pt x="763" y="154"/>
                  </a:cubicBezTo>
                  <a:cubicBezTo>
                    <a:pt x="765" y="157"/>
                    <a:pt x="767" y="160"/>
                    <a:pt x="770" y="162"/>
                  </a:cubicBezTo>
                  <a:cubicBezTo>
                    <a:pt x="776" y="165"/>
                    <a:pt x="783" y="167"/>
                    <a:pt x="792" y="167"/>
                  </a:cubicBezTo>
                  <a:cubicBezTo>
                    <a:pt x="806" y="167"/>
                    <a:pt x="817" y="163"/>
                    <a:pt x="823" y="156"/>
                  </a:cubicBezTo>
                  <a:cubicBezTo>
                    <a:pt x="827" y="150"/>
                    <a:pt x="829" y="144"/>
                    <a:pt x="829" y="137"/>
                  </a:cubicBezTo>
                  <a:cubicBezTo>
                    <a:pt x="829" y="130"/>
                    <a:pt x="827" y="124"/>
                    <a:pt x="822" y="121"/>
                  </a:cubicBezTo>
                  <a:cubicBezTo>
                    <a:pt x="818" y="118"/>
                    <a:pt x="812" y="117"/>
                    <a:pt x="805" y="116"/>
                  </a:cubicBezTo>
                  <a:cubicBezTo>
                    <a:pt x="791" y="115"/>
                    <a:pt x="791" y="115"/>
                    <a:pt x="791" y="115"/>
                  </a:cubicBezTo>
                  <a:cubicBezTo>
                    <a:pt x="786" y="115"/>
                    <a:pt x="783" y="114"/>
                    <a:pt x="781" y="113"/>
                  </a:cubicBezTo>
                  <a:cubicBezTo>
                    <a:pt x="780" y="111"/>
                    <a:pt x="779" y="109"/>
                    <a:pt x="779" y="106"/>
                  </a:cubicBezTo>
                  <a:cubicBezTo>
                    <a:pt x="779" y="103"/>
                    <a:pt x="781" y="100"/>
                    <a:pt x="784" y="98"/>
                  </a:cubicBezTo>
                  <a:cubicBezTo>
                    <a:pt x="788" y="99"/>
                    <a:pt x="791" y="99"/>
                    <a:pt x="794" y="99"/>
                  </a:cubicBezTo>
                  <a:cubicBezTo>
                    <a:pt x="803" y="99"/>
                    <a:pt x="810" y="96"/>
                    <a:pt x="816" y="91"/>
                  </a:cubicBezTo>
                  <a:cubicBezTo>
                    <a:pt x="821" y="86"/>
                    <a:pt x="823" y="80"/>
                    <a:pt x="823" y="72"/>
                  </a:cubicBezTo>
                  <a:cubicBezTo>
                    <a:pt x="823" y="64"/>
                    <a:pt x="821" y="58"/>
                    <a:pt x="816" y="53"/>
                  </a:cubicBezTo>
                  <a:cubicBezTo>
                    <a:pt x="831" y="53"/>
                    <a:pt x="831" y="53"/>
                    <a:pt x="831" y="53"/>
                  </a:cubicBezTo>
                  <a:cubicBezTo>
                    <a:pt x="831" y="46"/>
                    <a:pt x="831" y="46"/>
                    <a:pt x="831" y="46"/>
                  </a:cubicBezTo>
                  <a:lnTo>
                    <a:pt x="807" y="46"/>
                  </a:lnTo>
                  <a:close/>
                  <a:moveTo>
                    <a:pt x="731" y="101"/>
                  </a:moveTo>
                  <a:cubicBezTo>
                    <a:pt x="728" y="109"/>
                    <a:pt x="723" y="113"/>
                    <a:pt x="717" y="113"/>
                  </a:cubicBezTo>
                  <a:cubicBezTo>
                    <a:pt x="710" y="113"/>
                    <a:pt x="707" y="108"/>
                    <a:pt x="707" y="98"/>
                  </a:cubicBezTo>
                  <a:cubicBezTo>
                    <a:pt x="707" y="90"/>
                    <a:pt x="709" y="85"/>
                    <a:pt x="714" y="82"/>
                  </a:cubicBezTo>
                  <a:cubicBezTo>
                    <a:pt x="718" y="80"/>
                    <a:pt x="724" y="79"/>
                    <a:pt x="733" y="79"/>
                  </a:cubicBezTo>
                  <a:cubicBezTo>
                    <a:pt x="733" y="90"/>
                    <a:pt x="732" y="97"/>
                    <a:pt x="731" y="101"/>
                  </a:cubicBezTo>
                  <a:moveTo>
                    <a:pt x="732" y="118"/>
                  </a:moveTo>
                  <a:cubicBezTo>
                    <a:pt x="749" y="118"/>
                    <a:pt x="749" y="118"/>
                    <a:pt x="749" y="118"/>
                  </a:cubicBezTo>
                  <a:cubicBezTo>
                    <a:pt x="749" y="72"/>
                    <a:pt x="749" y="72"/>
                    <a:pt x="749" y="72"/>
                  </a:cubicBezTo>
                  <a:cubicBezTo>
                    <a:pt x="749" y="67"/>
                    <a:pt x="748" y="63"/>
                    <a:pt x="748" y="60"/>
                  </a:cubicBezTo>
                  <a:cubicBezTo>
                    <a:pt x="747" y="57"/>
                    <a:pt x="745" y="55"/>
                    <a:pt x="744" y="52"/>
                  </a:cubicBezTo>
                  <a:cubicBezTo>
                    <a:pt x="739" y="47"/>
                    <a:pt x="732" y="44"/>
                    <a:pt x="721" y="44"/>
                  </a:cubicBezTo>
                  <a:cubicBezTo>
                    <a:pt x="713" y="44"/>
                    <a:pt x="707" y="45"/>
                    <a:pt x="702" y="48"/>
                  </a:cubicBezTo>
                  <a:cubicBezTo>
                    <a:pt x="699" y="50"/>
                    <a:pt x="697" y="52"/>
                    <a:pt x="695" y="55"/>
                  </a:cubicBezTo>
                  <a:cubicBezTo>
                    <a:pt x="694" y="58"/>
                    <a:pt x="693" y="62"/>
                    <a:pt x="693" y="66"/>
                  </a:cubicBezTo>
                  <a:cubicBezTo>
                    <a:pt x="708" y="66"/>
                    <a:pt x="708" y="66"/>
                    <a:pt x="708" y="66"/>
                  </a:cubicBezTo>
                  <a:cubicBezTo>
                    <a:pt x="708" y="64"/>
                    <a:pt x="708" y="64"/>
                    <a:pt x="708" y="64"/>
                  </a:cubicBezTo>
                  <a:cubicBezTo>
                    <a:pt x="708" y="54"/>
                    <a:pt x="712" y="49"/>
                    <a:pt x="720" y="49"/>
                  </a:cubicBezTo>
                  <a:cubicBezTo>
                    <a:pt x="725" y="49"/>
                    <a:pt x="729" y="51"/>
                    <a:pt x="730" y="54"/>
                  </a:cubicBezTo>
                  <a:cubicBezTo>
                    <a:pt x="732" y="57"/>
                    <a:pt x="733" y="62"/>
                    <a:pt x="733" y="67"/>
                  </a:cubicBezTo>
                  <a:cubicBezTo>
                    <a:pt x="733" y="75"/>
                    <a:pt x="733" y="75"/>
                    <a:pt x="733" y="75"/>
                  </a:cubicBezTo>
                  <a:cubicBezTo>
                    <a:pt x="716" y="75"/>
                    <a:pt x="706" y="77"/>
                    <a:pt x="700" y="80"/>
                  </a:cubicBezTo>
                  <a:cubicBezTo>
                    <a:pt x="693" y="84"/>
                    <a:pt x="689" y="90"/>
                    <a:pt x="689" y="99"/>
                  </a:cubicBezTo>
                  <a:cubicBezTo>
                    <a:pt x="689" y="104"/>
                    <a:pt x="691" y="109"/>
                    <a:pt x="693" y="113"/>
                  </a:cubicBezTo>
                  <a:cubicBezTo>
                    <a:pt x="697" y="118"/>
                    <a:pt x="703" y="120"/>
                    <a:pt x="711" y="120"/>
                  </a:cubicBezTo>
                  <a:cubicBezTo>
                    <a:pt x="717" y="120"/>
                    <a:pt x="723" y="118"/>
                    <a:pt x="727" y="113"/>
                  </a:cubicBezTo>
                  <a:cubicBezTo>
                    <a:pt x="729" y="111"/>
                    <a:pt x="731" y="107"/>
                    <a:pt x="732" y="103"/>
                  </a:cubicBezTo>
                  <a:lnTo>
                    <a:pt x="732" y="118"/>
                  </a:lnTo>
                  <a:close/>
                  <a:moveTo>
                    <a:pt x="656" y="5"/>
                  </a:moveTo>
                  <a:cubicBezTo>
                    <a:pt x="654" y="7"/>
                    <a:pt x="653" y="10"/>
                    <a:pt x="653" y="13"/>
                  </a:cubicBezTo>
                  <a:cubicBezTo>
                    <a:pt x="653" y="15"/>
                    <a:pt x="654" y="18"/>
                    <a:pt x="656" y="19"/>
                  </a:cubicBezTo>
                  <a:cubicBezTo>
                    <a:pt x="658" y="22"/>
                    <a:pt x="661" y="23"/>
                    <a:pt x="664" y="23"/>
                  </a:cubicBezTo>
                  <a:cubicBezTo>
                    <a:pt x="668" y="23"/>
                    <a:pt x="671" y="22"/>
                    <a:pt x="672" y="20"/>
                  </a:cubicBezTo>
                  <a:cubicBezTo>
                    <a:pt x="674" y="18"/>
                    <a:pt x="675" y="16"/>
                    <a:pt x="675" y="13"/>
                  </a:cubicBezTo>
                  <a:cubicBezTo>
                    <a:pt x="675" y="10"/>
                    <a:pt x="675" y="8"/>
                    <a:pt x="673" y="6"/>
                  </a:cubicBezTo>
                  <a:cubicBezTo>
                    <a:pt x="671" y="4"/>
                    <a:pt x="668" y="3"/>
                    <a:pt x="664" y="3"/>
                  </a:cubicBezTo>
                  <a:cubicBezTo>
                    <a:pt x="661" y="3"/>
                    <a:pt x="658" y="4"/>
                    <a:pt x="656" y="5"/>
                  </a:cubicBezTo>
                  <a:moveTo>
                    <a:pt x="656" y="118"/>
                  </a:moveTo>
                  <a:cubicBezTo>
                    <a:pt x="673" y="118"/>
                    <a:pt x="673" y="118"/>
                    <a:pt x="673" y="118"/>
                  </a:cubicBezTo>
                  <a:cubicBezTo>
                    <a:pt x="673" y="46"/>
                    <a:pt x="673" y="46"/>
                    <a:pt x="673" y="46"/>
                  </a:cubicBezTo>
                  <a:cubicBezTo>
                    <a:pt x="656" y="46"/>
                    <a:pt x="656" y="46"/>
                    <a:pt x="656" y="46"/>
                  </a:cubicBezTo>
                  <a:lnTo>
                    <a:pt x="656" y="118"/>
                  </a:lnTo>
                  <a:close/>
                  <a:moveTo>
                    <a:pt x="607" y="53"/>
                  </a:moveTo>
                  <a:cubicBezTo>
                    <a:pt x="610" y="55"/>
                    <a:pt x="612" y="57"/>
                    <a:pt x="613" y="60"/>
                  </a:cubicBezTo>
                  <a:cubicBezTo>
                    <a:pt x="616" y="66"/>
                    <a:pt x="617" y="73"/>
                    <a:pt x="617" y="82"/>
                  </a:cubicBezTo>
                  <a:cubicBezTo>
                    <a:pt x="617" y="87"/>
                    <a:pt x="617" y="91"/>
                    <a:pt x="616" y="95"/>
                  </a:cubicBezTo>
                  <a:cubicBezTo>
                    <a:pt x="615" y="100"/>
                    <a:pt x="613" y="104"/>
                    <a:pt x="611" y="107"/>
                  </a:cubicBezTo>
                  <a:cubicBezTo>
                    <a:pt x="608" y="111"/>
                    <a:pt x="604" y="114"/>
                    <a:pt x="600" y="114"/>
                  </a:cubicBezTo>
                  <a:cubicBezTo>
                    <a:pt x="598" y="114"/>
                    <a:pt x="596" y="113"/>
                    <a:pt x="595" y="112"/>
                  </a:cubicBezTo>
                  <a:cubicBezTo>
                    <a:pt x="593" y="111"/>
                    <a:pt x="591" y="109"/>
                    <a:pt x="590" y="107"/>
                  </a:cubicBezTo>
                  <a:cubicBezTo>
                    <a:pt x="587" y="102"/>
                    <a:pt x="586" y="93"/>
                    <a:pt x="586" y="80"/>
                  </a:cubicBezTo>
                  <a:cubicBezTo>
                    <a:pt x="586" y="75"/>
                    <a:pt x="586" y="71"/>
                    <a:pt x="587" y="66"/>
                  </a:cubicBezTo>
                  <a:cubicBezTo>
                    <a:pt x="588" y="61"/>
                    <a:pt x="589" y="57"/>
                    <a:pt x="591" y="55"/>
                  </a:cubicBezTo>
                  <a:cubicBezTo>
                    <a:pt x="594" y="52"/>
                    <a:pt x="597" y="50"/>
                    <a:pt x="600" y="50"/>
                  </a:cubicBezTo>
                  <a:cubicBezTo>
                    <a:pt x="603" y="50"/>
                    <a:pt x="605" y="51"/>
                    <a:pt x="607" y="53"/>
                  </a:cubicBezTo>
                  <a:moveTo>
                    <a:pt x="634" y="0"/>
                  </a:moveTo>
                  <a:cubicBezTo>
                    <a:pt x="617" y="0"/>
                    <a:pt x="617" y="0"/>
                    <a:pt x="617" y="0"/>
                  </a:cubicBezTo>
                  <a:cubicBezTo>
                    <a:pt x="617" y="61"/>
                    <a:pt x="617" y="61"/>
                    <a:pt x="617" y="61"/>
                  </a:cubicBezTo>
                  <a:cubicBezTo>
                    <a:pt x="613" y="50"/>
                    <a:pt x="606" y="44"/>
                    <a:pt x="596" y="44"/>
                  </a:cubicBezTo>
                  <a:cubicBezTo>
                    <a:pt x="591" y="44"/>
                    <a:pt x="586" y="45"/>
                    <a:pt x="582" y="48"/>
                  </a:cubicBezTo>
                  <a:cubicBezTo>
                    <a:pt x="578" y="51"/>
                    <a:pt x="574" y="54"/>
                    <a:pt x="573" y="58"/>
                  </a:cubicBezTo>
                  <a:cubicBezTo>
                    <a:pt x="570" y="65"/>
                    <a:pt x="568" y="73"/>
                    <a:pt x="568" y="82"/>
                  </a:cubicBezTo>
                  <a:cubicBezTo>
                    <a:pt x="568" y="87"/>
                    <a:pt x="569" y="91"/>
                    <a:pt x="570" y="96"/>
                  </a:cubicBezTo>
                  <a:cubicBezTo>
                    <a:pt x="571" y="102"/>
                    <a:pt x="573" y="107"/>
                    <a:pt x="576" y="110"/>
                  </a:cubicBezTo>
                  <a:cubicBezTo>
                    <a:pt x="581" y="117"/>
                    <a:pt x="588" y="120"/>
                    <a:pt x="596" y="120"/>
                  </a:cubicBezTo>
                  <a:cubicBezTo>
                    <a:pt x="602" y="120"/>
                    <a:pt x="607" y="118"/>
                    <a:pt x="612" y="113"/>
                  </a:cubicBezTo>
                  <a:cubicBezTo>
                    <a:pt x="614" y="110"/>
                    <a:pt x="616" y="106"/>
                    <a:pt x="618" y="101"/>
                  </a:cubicBezTo>
                  <a:cubicBezTo>
                    <a:pt x="618" y="118"/>
                    <a:pt x="618" y="118"/>
                    <a:pt x="618" y="118"/>
                  </a:cubicBezTo>
                  <a:cubicBezTo>
                    <a:pt x="634" y="118"/>
                    <a:pt x="634" y="118"/>
                    <a:pt x="634" y="118"/>
                  </a:cubicBezTo>
                  <a:lnTo>
                    <a:pt x="634" y="0"/>
                  </a:lnTo>
                  <a:close/>
                  <a:moveTo>
                    <a:pt x="466" y="77"/>
                  </a:moveTo>
                  <a:cubicBezTo>
                    <a:pt x="466" y="72"/>
                    <a:pt x="467" y="67"/>
                    <a:pt x="468" y="63"/>
                  </a:cubicBezTo>
                  <a:cubicBezTo>
                    <a:pt x="471" y="54"/>
                    <a:pt x="476" y="49"/>
                    <a:pt x="483" y="49"/>
                  </a:cubicBezTo>
                  <a:cubicBezTo>
                    <a:pt x="488" y="49"/>
                    <a:pt x="492" y="51"/>
                    <a:pt x="494" y="56"/>
                  </a:cubicBezTo>
                  <a:cubicBezTo>
                    <a:pt x="497" y="62"/>
                    <a:pt x="498" y="69"/>
                    <a:pt x="498" y="77"/>
                  </a:cubicBezTo>
                  <a:lnTo>
                    <a:pt x="466" y="77"/>
                  </a:lnTo>
                  <a:close/>
                  <a:moveTo>
                    <a:pt x="505" y="52"/>
                  </a:moveTo>
                  <a:cubicBezTo>
                    <a:pt x="499" y="47"/>
                    <a:pt x="492" y="44"/>
                    <a:pt x="483" y="44"/>
                  </a:cubicBezTo>
                  <a:cubicBezTo>
                    <a:pt x="476" y="44"/>
                    <a:pt x="470" y="46"/>
                    <a:pt x="465" y="49"/>
                  </a:cubicBezTo>
                  <a:cubicBezTo>
                    <a:pt x="460" y="52"/>
                    <a:pt x="457" y="56"/>
                    <a:pt x="455" y="60"/>
                  </a:cubicBezTo>
                  <a:cubicBezTo>
                    <a:pt x="452" y="66"/>
                    <a:pt x="450" y="73"/>
                    <a:pt x="450" y="81"/>
                  </a:cubicBezTo>
                  <a:cubicBezTo>
                    <a:pt x="450" y="86"/>
                    <a:pt x="451" y="91"/>
                    <a:pt x="452" y="95"/>
                  </a:cubicBezTo>
                  <a:cubicBezTo>
                    <a:pt x="454" y="101"/>
                    <a:pt x="456" y="105"/>
                    <a:pt x="459" y="109"/>
                  </a:cubicBezTo>
                  <a:cubicBezTo>
                    <a:pt x="465" y="116"/>
                    <a:pt x="473" y="120"/>
                    <a:pt x="484" y="120"/>
                  </a:cubicBezTo>
                  <a:cubicBezTo>
                    <a:pt x="500" y="120"/>
                    <a:pt x="509" y="112"/>
                    <a:pt x="513" y="97"/>
                  </a:cubicBezTo>
                  <a:cubicBezTo>
                    <a:pt x="506" y="97"/>
                    <a:pt x="506" y="97"/>
                    <a:pt x="506" y="97"/>
                  </a:cubicBezTo>
                  <a:cubicBezTo>
                    <a:pt x="505" y="101"/>
                    <a:pt x="503" y="104"/>
                    <a:pt x="501" y="107"/>
                  </a:cubicBezTo>
                  <a:cubicBezTo>
                    <a:pt x="497" y="112"/>
                    <a:pt x="492" y="114"/>
                    <a:pt x="486" y="114"/>
                  </a:cubicBezTo>
                  <a:cubicBezTo>
                    <a:pt x="473" y="114"/>
                    <a:pt x="467" y="104"/>
                    <a:pt x="466" y="83"/>
                  </a:cubicBezTo>
                  <a:cubicBezTo>
                    <a:pt x="514" y="83"/>
                    <a:pt x="514" y="83"/>
                    <a:pt x="514" y="83"/>
                  </a:cubicBezTo>
                  <a:cubicBezTo>
                    <a:pt x="514" y="68"/>
                    <a:pt x="511" y="58"/>
                    <a:pt x="505" y="52"/>
                  </a:cubicBezTo>
                  <a:moveTo>
                    <a:pt x="388" y="108"/>
                  </a:moveTo>
                  <a:cubicBezTo>
                    <a:pt x="392" y="116"/>
                    <a:pt x="400" y="120"/>
                    <a:pt x="412" y="120"/>
                  </a:cubicBezTo>
                  <a:cubicBezTo>
                    <a:pt x="419" y="120"/>
                    <a:pt x="424" y="119"/>
                    <a:pt x="428" y="116"/>
                  </a:cubicBezTo>
                  <a:cubicBezTo>
                    <a:pt x="435" y="112"/>
                    <a:pt x="438" y="105"/>
                    <a:pt x="438" y="97"/>
                  </a:cubicBezTo>
                  <a:cubicBezTo>
                    <a:pt x="438" y="92"/>
                    <a:pt x="437" y="89"/>
                    <a:pt x="436" y="86"/>
                  </a:cubicBezTo>
                  <a:cubicBezTo>
                    <a:pt x="433" y="81"/>
                    <a:pt x="428" y="78"/>
                    <a:pt x="420" y="76"/>
                  </a:cubicBezTo>
                  <a:cubicBezTo>
                    <a:pt x="410" y="73"/>
                    <a:pt x="410" y="73"/>
                    <a:pt x="410" y="73"/>
                  </a:cubicBezTo>
                  <a:cubicBezTo>
                    <a:pt x="403" y="71"/>
                    <a:pt x="400" y="67"/>
                    <a:pt x="400" y="61"/>
                  </a:cubicBezTo>
                  <a:cubicBezTo>
                    <a:pt x="400" y="58"/>
                    <a:pt x="401" y="55"/>
                    <a:pt x="403" y="53"/>
                  </a:cubicBezTo>
                  <a:cubicBezTo>
                    <a:pt x="405" y="51"/>
                    <a:pt x="408" y="49"/>
                    <a:pt x="412" y="49"/>
                  </a:cubicBezTo>
                  <a:cubicBezTo>
                    <a:pt x="414" y="49"/>
                    <a:pt x="416" y="50"/>
                    <a:pt x="418" y="51"/>
                  </a:cubicBezTo>
                  <a:cubicBezTo>
                    <a:pt x="420" y="52"/>
                    <a:pt x="421" y="53"/>
                    <a:pt x="421" y="55"/>
                  </a:cubicBezTo>
                  <a:cubicBezTo>
                    <a:pt x="422" y="57"/>
                    <a:pt x="423" y="61"/>
                    <a:pt x="423" y="66"/>
                  </a:cubicBezTo>
                  <a:cubicBezTo>
                    <a:pt x="437" y="66"/>
                    <a:pt x="437" y="66"/>
                    <a:pt x="437" y="66"/>
                  </a:cubicBezTo>
                  <a:cubicBezTo>
                    <a:pt x="436" y="61"/>
                    <a:pt x="435" y="57"/>
                    <a:pt x="433" y="54"/>
                  </a:cubicBezTo>
                  <a:cubicBezTo>
                    <a:pt x="429" y="47"/>
                    <a:pt x="422" y="44"/>
                    <a:pt x="412" y="44"/>
                  </a:cubicBezTo>
                  <a:cubicBezTo>
                    <a:pt x="406" y="44"/>
                    <a:pt x="401" y="45"/>
                    <a:pt x="396" y="48"/>
                  </a:cubicBezTo>
                  <a:cubicBezTo>
                    <a:pt x="390" y="52"/>
                    <a:pt x="386" y="58"/>
                    <a:pt x="386" y="66"/>
                  </a:cubicBezTo>
                  <a:cubicBezTo>
                    <a:pt x="386" y="72"/>
                    <a:pt x="388" y="77"/>
                    <a:pt x="392" y="81"/>
                  </a:cubicBezTo>
                  <a:cubicBezTo>
                    <a:pt x="395" y="83"/>
                    <a:pt x="400" y="86"/>
                    <a:pt x="406" y="88"/>
                  </a:cubicBezTo>
                  <a:cubicBezTo>
                    <a:pt x="414" y="90"/>
                    <a:pt x="414" y="90"/>
                    <a:pt x="414" y="90"/>
                  </a:cubicBezTo>
                  <a:cubicBezTo>
                    <a:pt x="421" y="92"/>
                    <a:pt x="425" y="96"/>
                    <a:pt x="425" y="102"/>
                  </a:cubicBezTo>
                  <a:cubicBezTo>
                    <a:pt x="425" y="105"/>
                    <a:pt x="424" y="108"/>
                    <a:pt x="422" y="110"/>
                  </a:cubicBezTo>
                  <a:cubicBezTo>
                    <a:pt x="420" y="113"/>
                    <a:pt x="417" y="115"/>
                    <a:pt x="412" y="115"/>
                  </a:cubicBezTo>
                  <a:cubicBezTo>
                    <a:pt x="409" y="115"/>
                    <a:pt x="407" y="114"/>
                    <a:pt x="404" y="112"/>
                  </a:cubicBezTo>
                  <a:cubicBezTo>
                    <a:pt x="403" y="111"/>
                    <a:pt x="401" y="110"/>
                    <a:pt x="401" y="108"/>
                  </a:cubicBezTo>
                  <a:cubicBezTo>
                    <a:pt x="399" y="105"/>
                    <a:pt x="399" y="101"/>
                    <a:pt x="399" y="96"/>
                  </a:cubicBezTo>
                  <a:cubicBezTo>
                    <a:pt x="384" y="96"/>
                    <a:pt x="384" y="96"/>
                    <a:pt x="384" y="96"/>
                  </a:cubicBezTo>
                  <a:cubicBezTo>
                    <a:pt x="385" y="101"/>
                    <a:pt x="386" y="105"/>
                    <a:pt x="388" y="108"/>
                  </a:cubicBezTo>
                  <a:moveTo>
                    <a:pt x="352" y="46"/>
                  </a:moveTo>
                  <a:cubicBezTo>
                    <a:pt x="352" y="76"/>
                    <a:pt x="352" y="76"/>
                    <a:pt x="352" y="76"/>
                  </a:cubicBezTo>
                  <a:cubicBezTo>
                    <a:pt x="352" y="93"/>
                    <a:pt x="350" y="103"/>
                    <a:pt x="345" y="108"/>
                  </a:cubicBezTo>
                  <a:cubicBezTo>
                    <a:pt x="342" y="111"/>
                    <a:pt x="339" y="113"/>
                    <a:pt x="336" y="113"/>
                  </a:cubicBezTo>
                  <a:cubicBezTo>
                    <a:pt x="332" y="113"/>
                    <a:pt x="329" y="111"/>
                    <a:pt x="327" y="107"/>
                  </a:cubicBezTo>
                  <a:cubicBezTo>
                    <a:pt x="326" y="104"/>
                    <a:pt x="326" y="99"/>
                    <a:pt x="326" y="92"/>
                  </a:cubicBezTo>
                  <a:cubicBezTo>
                    <a:pt x="326" y="46"/>
                    <a:pt x="326" y="46"/>
                    <a:pt x="326" y="46"/>
                  </a:cubicBezTo>
                  <a:cubicBezTo>
                    <a:pt x="309" y="46"/>
                    <a:pt x="309" y="46"/>
                    <a:pt x="309" y="46"/>
                  </a:cubicBezTo>
                  <a:cubicBezTo>
                    <a:pt x="309" y="92"/>
                    <a:pt x="309" y="92"/>
                    <a:pt x="309" y="92"/>
                  </a:cubicBezTo>
                  <a:cubicBezTo>
                    <a:pt x="309" y="100"/>
                    <a:pt x="309" y="105"/>
                    <a:pt x="311" y="109"/>
                  </a:cubicBezTo>
                  <a:cubicBezTo>
                    <a:pt x="315" y="116"/>
                    <a:pt x="321" y="120"/>
                    <a:pt x="330" y="120"/>
                  </a:cubicBezTo>
                  <a:cubicBezTo>
                    <a:pt x="342" y="120"/>
                    <a:pt x="350" y="113"/>
                    <a:pt x="353" y="98"/>
                  </a:cubicBezTo>
                  <a:cubicBezTo>
                    <a:pt x="353" y="118"/>
                    <a:pt x="353" y="118"/>
                    <a:pt x="353" y="118"/>
                  </a:cubicBezTo>
                  <a:cubicBezTo>
                    <a:pt x="369" y="118"/>
                    <a:pt x="369" y="118"/>
                    <a:pt x="369" y="118"/>
                  </a:cubicBezTo>
                  <a:cubicBezTo>
                    <a:pt x="369" y="46"/>
                    <a:pt x="369" y="46"/>
                    <a:pt x="369" y="46"/>
                  </a:cubicBezTo>
                  <a:lnTo>
                    <a:pt x="352" y="46"/>
                  </a:lnTo>
                  <a:close/>
                  <a:moveTo>
                    <a:pt x="272" y="101"/>
                  </a:moveTo>
                  <a:cubicBezTo>
                    <a:pt x="269" y="109"/>
                    <a:pt x="265" y="113"/>
                    <a:pt x="258" y="113"/>
                  </a:cubicBezTo>
                  <a:cubicBezTo>
                    <a:pt x="251" y="113"/>
                    <a:pt x="248" y="108"/>
                    <a:pt x="248" y="98"/>
                  </a:cubicBezTo>
                  <a:cubicBezTo>
                    <a:pt x="248" y="90"/>
                    <a:pt x="251" y="85"/>
                    <a:pt x="256" y="82"/>
                  </a:cubicBezTo>
                  <a:cubicBezTo>
                    <a:pt x="259" y="80"/>
                    <a:pt x="265" y="79"/>
                    <a:pt x="274" y="79"/>
                  </a:cubicBezTo>
                  <a:cubicBezTo>
                    <a:pt x="274" y="90"/>
                    <a:pt x="273" y="97"/>
                    <a:pt x="272" y="101"/>
                  </a:cubicBezTo>
                  <a:moveTo>
                    <a:pt x="274" y="118"/>
                  </a:moveTo>
                  <a:cubicBezTo>
                    <a:pt x="290" y="118"/>
                    <a:pt x="290" y="118"/>
                    <a:pt x="290" y="118"/>
                  </a:cubicBezTo>
                  <a:cubicBezTo>
                    <a:pt x="290" y="72"/>
                    <a:pt x="290" y="72"/>
                    <a:pt x="290" y="72"/>
                  </a:cubicBezTo>
                  <a:cubicBezTo>
                    <a:pt x="290" y="67"/>
                    <a:pt x="290" y="63"/>
                    <a:pt x="289" y="60"/>
                  </a:cubicBezTo>
                  <a:cubicBezTo>
                    <a:pt x="288" y="57"/>
                    <a:pt x="287" y="55"/>
                    <a:pt x="285" y="52"/>
                  </a:cubicBezTo>
                  <a:cubicBezTo>
                    <a:pt x="280" y="47"/>
                    <a:pt x="273" y="44"/>
                    <a:pt x="263" y="44"/>
                  </a:cubicBezTo>
                  <a:cubicBezTo>
                    <a:pt x="255" y="44"/>
                    <a:pt x="248" y="45"/>
                    <a:pt x="243" y="48"/>
                  </a:cubicBezTo>
                  <a:cubicBezTo>
                    <a:pt x="241" y="50"/>
                    <a:pt x="239" y="52"/>
                    <a:pt x="237" y="55"/>
                  </a:cubicBezTo>
                  <a:cubicBezTo>
                    <a:pt x="235" y="58"/>
                    <a:pt x="234" y="62"/>
                    <a:pt x="234" y="66"/>
                  </a:cubicBezTo>
                  <a:cubicBezTo>
                    <a:pt x="249" y="66"/>
                    <a:pt x="249" y="66"/>
                    <a:pt x="249" y="66"/>
                  </a:cubicBezTo>
                  <a:cubicBezTo>
                    <a:pt x="249" y="64"/>
                    <a:pt x="249" y="64"/>
                    <a:pt x="249" y="64"/>
                  </a:cubicBezTo>
                  <a:cubicBezTo>
                    <a:pt x="249" y="54"/>
                    <a:pt x="253" y="49"/>
                    <a:pt x="262" y="49"/>
                  </a:cubicBezTo>
                  <a:cubicBezTo>
                    <a:pt x="267" y="49"/>
                    <a:pt x="270" y="51"/>
                    <a:pt x="272" y="54"/>
                  </a:cubicBezTo>
                  <a:cubicBezTo>
                    <a:pt x="273" y="57"/>
                    <a:pt x="274" y="62"/>
                    <a:pt x="274" y="67"/>
                  </a:cubicBezTo>
                  <a:cubicBezTo>
                    <a:pt x="274" y="75"/>
                    <a:pt x="274" y="75"/>
                    <a:pt x="274" y="75"/>
                  </a:cubicBezTo>
                  <a:cubicBezTo>
                    <a:pt x="258" y="75"/>
                    <a:pt x="247" y="77"/>
                    <a:pt x="242" y="80"/>
                  </a:cubicBezTo>
                  <a:cubicBezTo>
                    <a:pt x="234" y="84"/>
                    <a:pt x="231" y="90"/>
                    <a:pt x="231" y="99"/>
                  </a:cubicBezTo>
                  <a:cubicBezTo>
                    <a:pt x="231" y="104"/>
                    <a:pt x="232" y="109"/>
                    <a:pt x="235" y="113"/>
                  </a:cubicBezTo>
                  <a:cubicBezTo>
                    <a:pt x="239" y="118"/>
                    <a:pt x="244" y="120"/>
                    <a:pt x="252" y="120"/>
                  </a:cubicBezTo>
                  <a:cubicBezTo>
                    <a:pt x="259" y="120"/>
                    <a:pt x="264" y="118"/>
                    <a:pt x="268" y="113"/>
                  </a:cubicBezTo>
                  <a:cubicBezTo>
                    <a:pt x="270" y="111"/>
                    <a:pt x="272" y="107"/>
                    <a:pt x="274" y="103"/>
                  </a:cubicBezTo>
                  <a:lnTo>
                    <a:pt x="274" y="118"/>
                  </a:lnTo>
                  <a:close/>
                  <a:moveTo>
                    <a:pt x="210" y="106"/>
                  </a:moveTo>
                  <a:cubicBezTo>
                    <a:pt x="207" y="111"/>
                    <a:pt x="202" y="114"/>
                    <a:pt x="196" y="114"/>
                  </a:cubicBezTo>
                  <a:cubicBezTo>
                    <a:pt x="190" y="114"/>
                    <a:pt x="185" y="111"/>
                    <a:pt x="182" y="105"/>
                  </a:cubicBezTo>
                  <a:cubicBezTo>
                    <a:pt x="180" y="100"/>
                    <a:pt x="179" y="92"/>
                    <a:pt x="179" y="82"/>
                  </a:cubicBezTo>
                  <a:cubicBezTo>
                    <a:pt x="179" y="60"/>
                    <a:pt x="184" y="49"/>
                    <a:pt x="194" y="49"/>
                  </a:cubicBezTo>
                  <a:cubicBezTo>
                    <a:pt x="202" y="49"/>
                    <a:pt x="206" y="56"/>
                    <a:pt x="206" y="71"/>
                  </a:cubicBezTo>
                  <a:cubicBezTo>
                    <a:pt x="221" y="71"/>
                    <a:pt x="221" y="71"/>
                    <a:pt x="221" y="71"/>
                  </a:cubicBezTo>
                  <a:cubicBezTo>
                    <a:pt x="221" y="66"/>
                    <a:pt x="220" y="61"/>
                    <a:pt x="218" y="57"/>
                  </a:cubicBezTo>
                  <a:cubicBezTo>
                    <a:pt x="213" y="48"/>
                    <a:pt x="205" y="44"/>
                    <a:pt x="194" y="44"/>
                  </a:cubicBezTo>
                  <a:cubicBezTo>
                    <a:pt x="183" y="44"/>
                    <a:pt x="175" y="48"/>
                    <a:pt x="168" y="56"/>
                  </a:cubicBezTo>
                  <a:cubicBezTo>
                    <a:pt x="163" y="62"/>
                    <a:pt x="160" y="71"/>
                    <a:pt x="160" y="82"/>
                  </a:cubicBezTo>
                  <a:cubicBezTo>
                    <a:pt x="160" y="94"/>
                    <a:pt x="163" y="103"/>
                    <a:pt x="169" y="110"/>
                  </a:cubicBezTo>
                  <a:cubicBezTo>
                    <a:pt x="175" y="116"/>
                    <a:pt x="183" y="120"/>
                    <a:pt x="193" y="120"/>
                  </a:cubicBezTo>
                  <a:cubicBezTo>
                    <a:pt x="199" y="120"/>
                    <a:pt x="204" y="119"/>
                    <a:pt x="209" y="116"/>
                  </a:cubicBezTo>
                  <a:cubicBezTo>
                    <a:pt x="212" y="114"/>
                    <a:pt x="214" y="112"/>
                    <a:pt x="216" y="109"/>
                  </a:cubicBezTo>
                  <a:cubicBezTo>
                    <a:pt x="218" y="106"/>
                    <a:pt x="220" y="101"/>
                    <a:pt x="220" y="96"/>
                  </a:cubicBezTo>
                  <a:cubicBezTo>
                    <a:pt x="214" y="96"/>
                    <a:pt x="214" y="96"/>
                    <a:pt x="214" y="96"/>
                  </a:cubicBezTo>
                  <a:cubicBezTo>
                    <a:pt x="213" y="100"/>
                    <a:pt x="212" y="103"/>
                    <a:pt x="210" y="106"/>
                  </a:cubicBezTo>
                  <a:moveTo>
                    <a:pt x="101" y="77"/>
                  </a:moveTo>
                  <a:cubicBezTo>
                    <a:pt x="101" y="72"/>
                    <a:pt x="101" y="67"/>
                    <a:pt x="103" y="63"/>
                  </a:cubicBezTo>
                  <a:cubicBezTo>
                    <a:pt x="105" y="54"/>
                    <a:pt x="110" y="49"/>
                    <a:pt x="117" y="49"/>
                  </a:cubicBezTo>
                  <a:cubicBezTo>
                    <a:pt x="122" y="49"/>
                    <a:pt x="126" y="51"/>
                    <a:pt x="128" y="56"/>
                  </a:cubicBezTo>
                  <a:cubicBezTo>
                    <a:pt x="131" y="62"/>
                    <a:pt x="133" y="69"/>
                    <a:pt x="133" y="77"/>
                  </a:cubicBezTo>
                  <a:lnTo>
                    <a:pt x="101" y="77"/>
                  </a:lnTo>
                  <a:close/>
                  <a:moveTo>
                    <a:pt x="139" y="52"/>
                  </a:moveTo>
                  <a:cubicBezTo>
                    <a:pt x="133" y="47"/>
                    <a:pt x="126" y="44"/>
                    <a:pt x="117" y="44"/>
                  </a:cubicBezTo>
                  <a:cubicBezTo>
                    <a:pt x="110" y="44"/>
                    <a:pt x="104" y="46"/>
                    <a:pt x="99" y="49"/>
                  </a:cubicBezTo>
                  <a:cubicBezTo>
                    <a:pt x="95" y="52"/>
                    <a:pt x="92" y="56"/>
                    <a:pt x="89" y="60"/>
                  </a:cubicBezTo>
                  <a:cubicBezTo>
                    <a:pt x="86" y="66"/>
                    <a:pt x="85" y="73"/>
                    <a:pt x="85" y="81"/>
                  </a:cubicBezTo>
                  <a:cubicBezTo>
                    <a:pt x="85" y="86"/>
                    <a:pt x="85" y="91"/>
                    <a:pt x="86" y="95"/>
                  </a:cubicBezTo>
                  <a:cubicBezTo>
                    <a:pt x="88" y="101"/>
                    <a:pt x="90" y="105"/>
                    <a:pt x="93" y="109"/>
                  </a:cubicBezTo>
                  <a:cubicBezTo>
                    <a:pt x="99" y="116"/>
                    <a:pt x="107" y="120"/>
                    <a:pt x="118" y="120"/>
                  </a:cubicBezTo>
                  <a:cubicBezTo>
                    <a:pt x="134" y="120"/>
                    <a:pt x="144" y="112"/>
                    <a:pt x="147" y="97"/>
                  </a:cubicBezTo>
                  <a:cubicBezTo>
                    <a:pt x="140" y="97"/>
                    <a:pt x="140" y="97"/>
                    <a:pt x="140" y="97"/>
                  </a:cubicBezTo>
                  <a:cubicBezTo>
                    <a:pt x="139" y="101"/>
                    <a:pt x="138" y="104"/>
                    <a:pt x="135" y="107"/>
                  </a:cubicBezTo>
                  <a:cubicBezTo>
                    <a:pt x="131" y="112"/>
                    <a:pt x="126" y="114"/>
                    <a:pt x="120" y="114"/>
                  </a:cubicBezTo>
                  <a:cubicBezTo>
                    <a:pt x="107" y="114"/>
                    <a:pt x="101" y="104"/>
                    <a:pt x="101" y="83"/>
                  </a:cubicBezTo>
                  <a:cubicBezTo>
                    <a:pt x="149" y="83"/>
                    <a:pt x="149" y="83"/>
                    <a:pt x="149" y="83"/>
                  </a:cubicBezTo>
                  <a:cubicBezTo>
                    <a:pt x="148" y="68"/>
                    <a:pt x="145" y="58"/>
                    <a:pt x="139" y="52"/>
                  </a:cubicBezTo>
                  <a:moveTo>
                    <a:pt x="19" y="63"/>
                  </a:moveTo>
                  <a:cubicBezTo>
                    <a:pt x="31" y="63"/>
                    <a:pt x="31" y="63"/>
                    <a:pt x="31" y="63"/>
                  </a:cubicBezTo>
                  <a:cubicBezTo>
                    <a:pt x="37" y="63"/>
                    <a:pt x="41" y="65"/>
                    <a:pt x="44" y="67"/>
                  </a:cubicBezTo>
                  <a:cubicBezTo>
                    <a:pt x="50" y="71"/>
                    <a:pt x="52" y="78"/>
                    <a:pt x="52" y="88"/>
                  </a:cubicBezTo>
                  <a:cubicBezTo>
                    <a:pt x="52" y="98"/>
                    <a:pt x="50" y="105"/>
                    <a:pt x="44" y="109"/>
                  </a:cubicBezTo>
                  <a:cubicBezTo>
                    <a:pt x="41" y="111"/>
                    <a:pt x="36" y="112"/>
                    <a:pt x="30" y="112"/>
                  </a:cubicBezTo>
                  <a:cubicBezTo>
                    <a:pt x="19" y="112"/>
                    <a:pt x="19" y="112"/>
                    <a:pt x="19" y="112"/>
                  </a:cubicBezTo>
                  <a:lnTo>
                    <a:pt x="19" y="63"/>
                  </a:lnTo>
                  <a:close/>
                  <a:moveTo>
                    <a:pt x="19" y="12"/>
                  </a:moveTo>
                  <a:cubicBezTo>
                    <a:pt x="27" y="12"/>
                    <a:pt x="27" y="12"/>
                    <a:pt x="27" y="12"/>
                  </a:cubicBezTo>
                  <a:cubicBezTo>
                    <a:pt x="31" y="12"/>
                    <a:pt x="34" y="12"/>
                    <a:pt x="36" y="13"/>
                  </a:cubicBezTo>
                  <a:cubicBezTo>
                    <a:pt x="39" y="13"/>
                    <a:pt x="41" y="14"/>
                    <a:pt x="43" y="15"/>
                  </a:cubicBezTo>
                  <a:cubicBezTo>
                    <a:pt x="48" y="19"/>
                    <a:pt x="50" y="25"/>
                    <a:pt x="50" y="34"/>
                  </a:cubicBezTo>
                  <a:cubicBezTo>
                    <a:pt x="50" y="41"/>
                    <a:pt x="49" y="47"/>
                    <a:pt x="46" y="51"/>
                  </a:cubicBezTo>
                  <a:cubicBezTo>
                    <a:pt x="43" y="55"/>
                    <a:pt x="38" y="58"/>
                    <a:pt x="30" y="58"/>
                  </a:cubicBezTo>
                  <a:cubicBezTo>
                    <a:pt x="19" y="58"/>
                    <a:pt x="19" y="58"/>
                    <a:pt x="19" y="58"/>
                  </a:cubicBezTo>
                  <a:lnTo>
                    <a:pt x="19" y="12"/>
                  </a:lnTo>
                  <a:close/>
                  <a:moveTo>
                    <a:pt x="0" y="118"/>
                  </a:moveTo>
                  <a:cubicBezTo>
                    <a:pt x="31" y="118"/>
                    <a:pt x="31" y="118"/>
                    <a:pt x="31" y="118"/>
                  </a:cubicBezTo>
                  <a:cubicBezTo>
                    <a:pt x="39" y="118"/>
                    <a:pt x="44" y="118"/>
                    <a:pt x="48" y="117"/>
                  </a:cubicBezTo>
                  <a:cubicBezTo>
                    <a:pt x="56" y="116"/>
                    <a:pt x="62" y="112"/>
                    <a:pt x="66" y="107"/>
                  </a:cubicBezTo>
                  <a:cubicBezTo>
                    <a:pt x="70" y="102"/>
                    <a:pt x="72" y="96"/>
                    <a:pt x="72" y="88"/>
                  </a:cubicBezTo>
                  <a:cubicBezTo>
                    <a:pt x="72" y="78"/>
                    <a:pt x="69" y="71"/>
                    <a:pt x="62" y="66"/>
                  </a:cubicBezTo>
                  <a:cubicBezTo>
                    <a:pt x="58" y="63"/>
                    <a:pt x="52" y="61"/>
                    <a:pt x="44" y="61"/>
                  </a:cubicBezTo>
                  <a:cubicBezTo>
                    <a:pt x="44" y="60"/>
                    <a:pt x="44" y="60"/>
                    <a:pt x="44" y="60"/>
                  </a:cubicBezTo>
                  <a:cubicBezTo>
                    <a:pt x="61" y="58"/>
                    <a:pt x="70" y="49"/>
                    <a:pt x="70" y="34"/>
                  </a:cubicBezTo>
                  <a:cubicBezTo>
                    <a:pt x="70" y="28"/>
                    <a:pt x="68" y="23"/>
                    <a:pt x="66" y="19"/>
                  </a:cubicBezTo>
                  <a:cubicBezTo>
                    <a:pt x="62" y="14"/>
                    <a:pt x="57" y="10"/>
                    <a:pt x="51" y="8"/>
                  </a:cubicBezTo>
                  <a:cubicBezTo>
                    <a:pt x="47" y="7"/>
                    <a:pt x="41" y="6"/>
                    <a:pt x="33" y="6"/>
                  </a:cubicBezTo>
                  <a:cubicBezTo>
                    <a:pt x="0" y="6"/>
                    <a:pt x="0" y="6"/>
                    <a:pt x="0" y="6"/>
                  </a:cubicBezTo>
                  <a:lnTo>
                    <a:pt x="0" y="11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8336380F-2DA7-4978-932C-F42C987087A6}"/>
                </a:ext>
              </a:extLst>
            </p:cNvPr>
            <p:cNvSpPr>
              <a:spLocks noEditPoints="1"/>
            </p:cNvSpPr>
            <p:nvPr userDrawn="1"/>
          </p:nvSpPr>
          <p:spPr bwMode="auto">
            <a:xfrm>
              <a:off x="6669088" y="4232276"/>
              <a:ext cx="706438" cy="723900"/>
            </a:xfrm>
            <a:custGeom>
              <a:avLst/>
              <a:gdLst>
                <a:gd name="T0" fmla="*/ 234 w 324"/>
                <a:gd name="T1" fmla="*/ 223 h 331"/>
                <a:gd name="T2" fmla="*/ 207 w 324"/>
                <a:gd name="T3" fmla="*/ 270 h 331"/>
                <a:gd name="T4" fmla="*/ 166 w 324"/>
                <a:gd name="T5" fmla="*/ 300 h 331"/>
                <a:gd name="T6" fmla="*/ 115 w 324"/>
                <a:gd name="T7" fmla="*/ 311 h 331"/>
                <a:gd name="T8" fmla="*/ 110 w 324"/>
                <a:gd name="T9" fmla="*/ 311 h 331"/>
                <a:gd name="T10" fmla="*/ 69 w 324"/>
                <a:gd name="T11" fmla="*/ 307 h 331"/>
                <a:gd name="T12" fmla="*/ 69 w 324"/>
                <a:gd name="T13" fmla="*/ 24 h 331"/>
                <a:gd name="T14" fmla="*/ 110 w 324"/>
                <a:gd name="T15" fmla="*/ 21 h 331"/>
                <a:gd name="T16" fmla="*/ 114 w 324"/>
                <a:gd name="T17" fmla="*/ 21 h 331"/>
                <a:gd name="T18" fmla="*/ 167 w 324"/>
                <a:gd name="T19" fmla="*/ 31 h 331"/>
                <a:gd name="T20" fmla="*/ 208 w 324"/>
                <a:gd name="T21" fmla="*/ 62 h 331"/>
                <a:gd name="T22" fmla="*/ 234 w 324"/>
                <a:gd name="T23" fmla="*/ 109 h 331"/>
                <a:gd name="T24" fmla="*/ 243 w 324"/>
                <a:gd name="T25" fmla="*/ 160 h 331"/>
                <a:gd name="T26" fmla="*/ 234 w 324"/>
                <a:gd name="T27" fmla="*/ 223 h 331"/>
                <a:gd name="T28" fmla="*/ 310 w 324"/>
                <a:gd name="T29" fmla="*/ 98 h 331"/>
                <a:gd name="T30" fmla="*/ 268 w 324"/>
                <a:gd name="T31" fmla="*/ 45 h 331"/>
                <a:gd name="T32" fmla="*/ 199 w 324"/>
                <a:gd name="T33" fmla="*/ 12 h 331"/>
                <a:gd name="T34" fmla="*/ 103 w 324"/>
                <a:gd name="T35" fmla="*/ 0 h 331"/>
                <a:gd name="T36" fmla="*/ 0 w 324"/>
                <a:gd name="T37" fmla="*/ 0 h 331"/>
                <a:gd name="T38" fmla="*/ 0 w 324"/>
                <a:gd name="T39" fmla="*/ 67 h 331"/>
                <a:gd name="T40" fmla="*/ 0 w 324"/>
                <a:gd name="T41" fmla="*/ 331 h 331"/>
                <a:gd name="T42" fmla="*/ 117 w 324"/>
                <a:gd name="T43" fmla="*/ 331 h 331"/>
                <a:gd name="T44" fmla="*/ 206 w 324"/>
                <a:gd name="T45" fmla="*/ 319 h 331"/>
                <a:gd name="T46" fmla="*/ 271 w 324"/>
                <a:gd name="T47" fmla="*/ 283 h 331"/>
                <a:gd name="T48" fmla="*/ 310 w 324"/>
                <a:gd name="T49" fmla="*/ 228 h 331"/>
                <a:gd name="T50" fmla="*/ 324 w 324"/>
                <a:gd name="T51" fmla="*/ 158 h 331"/>
                <a:gd name="T52" fmla="*/ 310 w 324"/>
                <a:gd name="T53" fmla="*/ 9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331">
                  <a:moveTo>
                    <a:pt x="234" y="223"/>
                  </a:moveTo>
                  <a:cubicBezTo>
                    <a:pt x="227" y="242"/>
                    <a:pt x="218" y="257"/>
                    <a:pt x="207" y="270"/>
                  </a:cubicBezTo>
                  <a:cubicBezTo>
                    <a:pt x="196" y="283"/>
                    <a:pt x="182" y="293"/>
                    <a:pt x="166" y="300"/>
                  </a:cubicBezTo>
                  <a:cubicBezTo>
                    <a:pt x="151" y="307"/>
                    <a:pt x="134" y="311"/>
                    <a:pt x="115" y="311"/>
                  </a:cubicBezTo>
                  <a:cubicBezTo>
                    <a:pt x="110" y="311"/>
                    <a:pt x="110" y="311"/>
                    <a:pt x="110" y="311"/>
                  </a:cubicBezTo>
                  <a:cubicBezTo>
                    <a:pt x="98" y="311"/>
                    <a:pt x="73" y="308"/>
                    <a:pt x="69" y="307"/>
                  </a:cubicBezTo>
                  <a:cubicBezTo>
                    <a:pt x="69" y="24"/>
                    <a:pt x="69" y="24"/>
                    <a:pt x="69" y="24"/>
                  </a:cubicBezTo>
                  <a:cubicBezTo>
                    <a:pt x="73" y="24"/>
                    <a:pt x="104" y="21"/>
                    <a:pt x="110" y="21"/>
                  </a:cubicBezTo>
                  <a:cubicBezTo>
                    <a:pt x="114" y="21"/>
                    <a:pt x="114" y="21"/>
                    <a:pt x="114" y="21"/>
                  </a:cubicBezTo>
                  <a:cubicBezTo>
                    <a:pt x="133" y="21"/>
                    <a:pt x="151" y="24"/>
                    <a:pt x="167" y="31"/>
                  </a:cubicBezTo>
                  <a:cubicBezTo>
                    <a:pt x="182" y="38"/>
                    <a:pt x="196" y="49"/>
                    <a:pt x="208" y="62"/>
                  </a:cubicBezTo>
                  <a:cubicBezTo>
                    <a:pt x="219" y="75"/>
                    <a:pt x="228" y="91"/>
                    <a:pt x="234" y="109"/>
                  </a:cubicBezTo>
                  <a:cubicBezTo>
                    <a:pt x="240" y="128"/>
                    <a:pt x="243" y="138"/>
                    <a:pt x="243" y="160"/>
                  </a:cubicBezTo>
                  <a:cubicBezTo>
                    <a:pt x="243" y="183"/>
                    <a:pt x="240" y="204"/>
                    <a:pt x="234" y="223"/>
                  </a:cubicBezTo>
                  <a:moveTo>
                    <a:pt x="310" y="98"/>
                  </a:moveTo>
                  <a:cubicBezTo>
                    <a:pt x="301" y="77"/>
                    <a:pt x="287" y="60"/>
                    <a:pt x="268" y="45"/>
                  </a:cubicBezTo>
                  <a:cubicBezTo>
                    <a:pt x="250" y="31"/>
                    <a:pt x="226" y="19"/>
                    <a:pt x="199" y="12"/>
                  </a:cubicBezTo>
                  <a:cubicBezTo>
                    <a:pt x="171" y="4"/>
                    <a:pt x="139" y="0"/>
                    <a:pt x="103" y="0"/>
                  </a:cubicBezTo>
                  <a:cubicBezTo>
                    <a:pt x="0" y="0"/>
                    <a:pt x="0" y="0"/>
                    <a:pt x="0" y="0"/>
                  </a:cubicBezTo>
                  <a:cubicBezTo>
                    <a:pt x="0" y="67"/>
                    <a:pt x="0" y="67"/>
                    <a:pt x="0" y="67"/>
                  </a:cubicBezTo>
                  <a:cubicBezTo>
                    <a:pt x="0" y="331"/>
                    <a:pt x="0" y="331"/>
                    <a:pt x="0" y="331"/>
                  </a:cubicBezTo>
                  <a:cubicBezTo>
                    <a:pt x="117" y="331"/>
                    <a:pt x="117" y="331"/>
                    <a:pt x="117" y="331"/>
                  </a:cubicBezTo>
                  <a:cubicBezTo>
                    <a:pt x="150" y="331"/>
                    <a:pt x="180" y="327"/>
                    <a:pt x="206" y="319"/>
                  </a:cubicBezTo>
                  <a:cubicBezTo>
                    <a:pt x="232" y="310"/>
                    <a:pt x="253" y="298"/>
                    <a:pt x="271" y="283"/>
                  </a:cubicBezTo>
                  <a:cubicBezTo>
                    <a:pt x="288" y="268"/>
                    <a:pt x="301" y="250"/>
                    <a:pt x="310" y="228"/>
                  </a:cubicBezTo>
                  <a:cubicBezTo>
                    <a:pt x="319" y="207"/>
                    <a:pt x="324" y="184"/>
                    <a:pt x="324" y="158"/>
                  </a:cubicBezTo>
                  <a:cubicBezTo>
                    <a:pt x="324" y="132"/>
                    <a:pt x="319" y="119"/>
                    <a:pt x="310" y="98"/>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1F77257C-9BE0-4A90-AB67-822C540FA998}"/>
                </a:ext>
              </a:extLst>
            </p:cNvPr>
            <p:cNvSpPr>
              <a:spLocks/>
            </p:cNvSpPr>
            <p:nvPr userDrawn="1"/>
          </p:nvSpPr>
          <p:spPr bwMode="auto">
            <a:xfrm>
              <a:off x="5900738" y="4232276"/>
              <a:ext cx="609600" cy="728663"/>
            </a:xfrm>
            <a:custGeom>
              <a:avLst/>
              <a:gdLst>
                <a:gd name="T0" fmla="*/ 252 w 279"/>
                <a:gd name="T1" fmla="*/ 228 h 333"/>
                <a:gd name="T2" fmla="*/ 68 w 279"/>
                <a:gd name="T3" fmla="*/ 31 h 333"/>
                <a:gd name="T4" fmla="*/ 36 w 279"/>
                <a:gd name="T5" fmla="*/ 8 h 333"/>
                <a:gd name="T6" fmla="*/ 0 w 279"/>
                <a:gd name="T7" fmla="*/ 0 h 333"/>
                <a:gd name="T8" fmla="*/ 0 w 279"/>
                <a:gd name="T9" fmla="*/ 62 h 333"/>
                <a:gd name="T10" fmla="*/ 0 w 279"/>
                <a:gd name="T11" fmla="*/ 331 h 333"/>
                <a:gd name="T12" fmla="*/ 27 w 279"/>
                <a:gd name="T13" fmla="*/ 331 h 333"/>
                <a:gd name="T14" fmla="*/ 27 w 279"/>
                <a:gd name="T15" fmla="*/ 86 h 333"/>
                <a:gd name="T16" fmla="*/ 254 w 279"/>
                <a:gd name="T17" fmla="*/ 333 h 333"/>
                <a:gd name="T18" fmla="*/ 279 w 279"/>
                <a:gd name="T19" fmla="*/ 333 h 333"/>
                <a:gd name="T20" fmla="*/ 279 w 279"/>
                <a:gd name="T21" fmla="*/ 0 h 333"/>
                <a:gd name="T22" fmla="*/ 252 w 279"/>
                <a:gd name="T23" fmla="*/ 0 h 333"/>
                <a:gd name="T24" fmla="*/ 252 w 279"/>
                <a:gd name="T25" fmla="*/ 22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333">
                  <a:moveTo>
                    <a:pt x="252" y="228"/>
                  </a:moveTo>
                  <a:cubicBezTo>
                    <a:pt x="68" y="31"/>
                    <a:pt x="68" y="31"/>
                    <a:pt x="68" y="31"/>
                  </a:cubicBezTo>
                  <a:cubicBezTo>
                    <a:pt x="60" y="21"/>
                    <a:pt x="49" y="13"/>
                    <a:pt x="36" y="8"/>
                  </a:cubicBezTo>
                  <a:cubicBezTo>
                    <a:pt x="27" y="4"/>
                    <a:pt x="14" y="1"/>
                    <a:pt x="0" y="0"/>
                  </a:cubicBezTo>
                  <a:cubicBezTo>
                    <a:pt x="0" y="11"/>
                    <a:pt x="0" y="56"/>
                    <a:pt x="0" y="62"/>
                  </a:cubicBezTo>
                  <a:cubicBezTo>
                    <a:pt x="0" y="331"/>
                    <a:pt x="0" y="331"/>
                    <a:pt x="0" y="331"/>
                  </a:cubicBezTo>
                  <a:cubicBezTo>
                    <a:pt x="27" y="331"/>
                    <a:pt x="27" y="331"/>
                    <a:pt x="27" y="331"/>
                  </a:cubicBezTo>
                  <a:cubicBezTo>
                    <a:pt x="27" y="86"/>
                    <a:pt x="27" y="86"/>
                    <a:pt x="27" y="86"/>
                  </a:cubicBezTo>
                  <a:cubicBezTo>
                    <a:pt x="254" y="333"/>
                    <a:pt x="254" y="333"/>
                    <a:pt x="254" y="333"/>
                  </a:cubicBezTo>
                  <a:cubicBezTo>
                    <a:pt x="279" y="333"/>
                    <a:pt x="279" y="333"/>
                    <a:pt x="279" y="333"/>
                  </a:cubicBezTo>
                  <a:cubicBezTo>
                    <a:pt x="279" y="0"/>
                    <a:pt x="279" y="0"/>
                    <a:pt x="279" y="0"/>
                  </a:cubicBezTo>
                  <a:cubicBezTo>
                    <a:pt x="252" y="0"/>
                    <a:pt x="252" y="0"/>
                    <a:pt x="252" y="0"/>
                  </a:cubicBezTo>
                  <a:lnTo>
                    <a:pt x="252" y="22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a:extLst>
                <a:ext uri="{FF2B5EF4-FFF2-40B4-BE49-F238E27FC236}">
                  <a16:creationId xmlns:a16="http://schemas.microsoft.com/office/drawing/2014/main" id="{09EC7A28-6768-4565-AF09-8C3FD01E3091}"/>
                </a:ext>
              </a:extLst>
            </p:cNvPr>
            <p:cNvSpPr>
              <a:spLocks/>
            </p:cNvSpPr>
            <p:nvPr userDrawn="1"/>
          </p:nvSpPr>
          <p:spPr bwMode="auto">
            <a:xfrm>
              <a:off x="5591175" y="4232276"/>
              <a:ext cx="150813" cy="723900"/>
            </a:xfrm>
            <a:custGeom>
              <a:avLst/>
              <a:gdLst>
                <a:gd name="T0" fmla="*/ 0 w 69"/>
                <a:gd name="T1" fmla="*/ 264 h 331"/>
                <a:gd name="T2" fmla="*/ 2 w 69"/>
                <a:gd name="T3" fmla="*/ 297 h 331"/>
                <a:gd name="T4" fmla="*/ 10 w 69"/>
                <a:gd name="T5" fmla="*/ 317 h 331"/>
                <a:gd name="T6" fmla="*/ 25 w 69"/>
                <a:gd name="T7" fmla="*/ 328 h 331"/>
                <a:gd name="T8" fmla="*/ 48 w 69"/>
                <a:gd name="T9" fmla="*/ 331 h 331"/>
                <a:gd name="T10" fmla="*/ 69 w 69"/>
                <a:gd name="T11" fmla="*/ 331 h 331"/>
                <a:gd name="T12" fmla="*/ 69 w 69"/>
                <a:gd name="T13" fmla="*/ 264 h 331"/>
                <a:gd name="T14" fmla="*/ 69 w 69"/>
                <a:gd name="T15" fmla="*/ 0 h 331"/>
                <a:gd name="T16" fmla="*/ 0 w 69"/>
                <a:gd name="T17" fmla="*/ 0 h 331"/>
                <a:gd name="T18" fmla="*/ 0 w 69"/>
                <a:gd name="T19" fmla="*/ 26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31">
                  <a:moveTo>
                    <a:pt x="0" y="264"/>
                  </a:moveTo>
                  <a:cubicBezTo>
                    <a:pt x="0" y="277"/>
                    <a:pt x="0" y="288"/>
                    <a:pt x="2" y="297"/>
                  </a:cubicBezTo>
                  <a:cubicBezTo>
                    <a:pt x="3" y="305"/>
                    <a:pt x="6" y="312"/>
                    <a:pt x="10" y="317"/>
                  </a:cubicBezTo>
                  <a:cubicBezTo>
                    <a:pt x="13" y="323"/>
                    <a:pt x="18" y="326"/>
                    <a:pt x="25" y="328"/>
                  </a:cubicBezTo>
                  <a:cubicBezTo>
                    <a:pt x="31" y="330"/>
                    <a:pt x="39" y="331"/>
                    <a:pt x="48" y="331"/>
                  </a:cubicBezTo>
                  <a:cubicBezTo>
                    <a:pt x="69" y="331"/>
                    <a:pt x="69" y="331"/>
                    <a:pt x="69" y="331"/>
                  </a:cubicBezTo>
                  <a:cubicBezTo>
                    <a:pt x="69" y="331"/>
                    <a:pt x="69" y="279"/>
                    <a:pt x="69" y="264"/>
                  </a:cubicBezTo>
                  <a:cubicBezTo>
                    <a:pt x="69" y="0"/>
                    <a:pt x="69" y="0"/>
                    <a:pt x="69" y="0"/>
                  </a:cubicBezTo>
                  <a:cubicBezTo>
                    <a:pt x="0" y="0"/>
                    <a:pt x="0" y="0"/>
                    <a:pt x="0" y="0"/>
                  </a:cubicBezTo>
                  <a:lnTo>
                    <a:pt x="0" y="264"/>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a:extLst>
                <a:ext uri="{FF2B5EF4-FFF2-40B4-BE49-F238E27FC236}">
                  <a16:creationId xmlns:a16="http://schemas.microsoft.com/office/drawing/2014/main" id="{919BA259-3259-4A99-A2EE-298827CDD87E}"/>
                </a:ext>
              </a:extLst>
            </p:cNvPr>
            <p:cNvSpPr>
              <a:spLocks/>
            </p:cNvSpPr>
            <p:nvPr userDrawn="1"/>
          </p:nvSpPr>
          <p:spPr bwMode="auto">
            <a:xfrm>
              <a:off x="5021263" y="4232276"/>
              <a:ext cx="465138" cy="723900"/>
            </a:xfrm>
            <a:custGeom>
              <a:avLst/>
              <a:gdLst>
                <a:gd name="T0" fmla="*/ 0 w 293"/>
                <a:gd name="T1" fmla="*/ 0 h 456"/>
                <a:gd name="T2" fmla="*/ 0 w 293"/>
                <a:gd name="T3" fmla="*/ 456 h 456"/>
                <a:gd name="T4" fmla="*/ 97 w 293"/>
                <a:gd name="T5" fmla="*/ 456 h 456"/>
                <a:gd name="T6" fmla="*/ 97 w 293"/>
                <a:gd name="T7" fmla="*/ 231 h 456"/>
                <a:gd name="T8" fmla="*/ 259 w 293"/>
                <a:gd name="T9" fmla="*/ 231 h 456"/>
                <a:gd name="T10" fmla="*/ 259 w 293"/>
                <a:gd name="T11" fmla="*/ 200 h 456"/>
                <a:gd name="T12" fmla="*/ 97 w 293"/>
                <a:gd name="T13" fmla="*/ 200 h 456"/>
                <a:gd name="T14" fmla="*/ 97 w 293"/>
                <a:gd name="T15" fmla="*/ 31 h 456"/>
                <a:gd name="T16" fmla="*/ 293 w 293"/>
                <a:gd name="T17" fmla="*/ 31 h 456"/>
                <a:gd name="T18" fmla="*/ 293 w 293"/>
                <a:gd name="T19" fmla="*/ 0 h 456"/>
                <a:gd name="T20" fmla="*/ 0 w 293"/>
                <a:gd name="T21"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 h="456">
                  <a:moveTo>
                    <a:pt x="0" y="0"/>
                  </a:moveTo>
                  <a:lnTo>
                    <a:pt x="0" y="456"/>
                  </a:lnTo>
                  <a:lnTo>
                    <a:pt x="97" y="456"/>
                  </a:lnTo>
                  <a:lnTo>
                    <a:pt x="97" y="231"/>
                  </a:lnTo>
                  <a:lnTo>
                    <a:pt x="259" y="231"/>
                  </a:lnTo>
                  <a:lnTo>
                    <a:pt x="259" y="200"/>
                  </a:lnTo>
                  <a:lnTo>
                    <a:pt x="97" y="200"/>
                  </a:lnTo>
                  <a:lnTo>
                    <a:pt x="97" y="31"/>
                  </a:lnTo>
                  <a:lnTo>
                    <a:pt x="293" y="31"/>
                  </a:lnTo>
                  <a:lnTo>
                    <a:pt x="293" y="0"/>
                  </a:lnTo>
                  <a:lnTo>
                    <a:pt x="0" y="0"/>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a:extLst>
                <a:ext uri="{FF2B5EF4-FFF2-40B4-BE49-F238E27FC236}">
                  <a16:creationId xmlns:a16="http://schemas.microsoft.com/office/drawing/2014/main" id="{CCBECFDD-8325-4F73-9888-08AEE1088CA3}"/>
                </a:ext>
              </a:extLst>
            </p:cNvPr>
            <p:cNvSpPr>
              <a:spLocks noEditPoints="1"/>
            </p:cNvSpPr>
            <p:nvPr userDrawn="1"/>
          </p:nvSpPr>
          <p:spPr bwMode="auto">
            <a:xfrm>
              <a:off x="8216900" y="4232276"/>
              <a:ext cx="515938" cy="723900"/>
            </a:xfrm>
            <a:custGeom>
              <a:avLst/>
              <a:gdLst>
                <a:gd name="T0" fmla="*/ 11 w 237"/>
                <a:gd name="T1" fmla="*/ 331 h 331"/>
                <a:gd name="T2" fmla="*/ 11 w 237"/>
                <a:gd name="T3" fmla="*/ 331 h 331"/>
                <a:gd name="T4" fmla="*/ 36 w 237"/>
                <a:gd name="T5" fmla="*/ 283 h 331"/>
                <a:gd name="T6" fmla="*/ 54 w 237"/>
                <a:gd name="T7" fmla="*/ 264 h 331"/>
                <a:gd name="T8" fmla="*/ 51 w 237"/>
                <a:gd name="T9" fmla="*/ 254 h 331"/>
                <a:gd name="T10" fmla="*/ 56 w 237"/>
                <a:gd name="T11" fmla="*/ 244 h 331"/>
                <a:gd name="T12" fmla="*/ 49 w 237"/>
                <a:gd name="T13" fmla="*/ 222 h 331"/>
                <a:gd name="T14" fmla="*/ 84 w 237"/>
                <a:gd name="T15" fmla="*/ 194 h 331"/>
                <a:gd name="T16" fmla="*/ 31 w 237"/>
                <a:gd name="T17" fmla="*/ 94 h 331"/>
                <a:gd name="T18" fmla="*/ 31 w 237"/>
                <a:gd name="T19" fmla="*/ 88 h 331"/>
                <a:gd name="T20" fmla="*/ 0 w 237"/>
                <a:gd name="T21" fmla="*/ 0 h 331"/>
                <a:gd name="T22" fmla="*/ 0 w 237"/>
                <a:gd name="T23" fmla="*/ 0 h 331"/>
                <a:gd name="T24" fmla="*/ 138 w 237"/>
                <a:gd name="T25" fmla="*/ 0 h 331"/>
                <a:gd name="T26" fmla="*/ 192 w 237"/>
                <a:gd name="T27" fmla="*/ 110 h 331"/>
                <a:gd name="T28" fmla="*/ 237 w 237"/>
                <a:gd name="T29" fmla="*/ 192 h 331"/>
                <a:gd name="T30" fmla="*/ 215 w 237"/>
                <a:gd name="T31" fmla="*/ 214 h 331"/>
                <a:gd name="T32" fmla="*/ 211 w 237"/>
                <a:gd name="T33" fmla="*/ 232 h 331"/>
                <a:gd name="T34" fmla="*/ 217 w 237"/>
                <a:gd name="T35" fmla="*/ 246 h 331"/>
                <a:gd name="T36" fmla="*/ 202 w 237"/>
                <a:gd name="T37" fmla="*/ 259 h 331"/>
                <a:gd name="T38" fmla="*/ 213 w 237"/>
                <a:gd name="T39" fmla="*/ 271 h 331"/>
                <a:gd name="T40" fmla="*/ 199 w 237"/>
                <a:gd name="T41" fmla="*/ 292 h 331"/>
                <a:gd name="T42" fmla="*/ 146 w 237"/>
                <a:gd name="T43" fmla="*/ 331 h 331"/>
                <a:gd name="T44" fmla="*/ 11 w 237"/>
                <a:gd name="T45" fmla="*/ 331 h 331"/>
                <a:gd name="T46" fmla="*/ 164 w 237"/>
                <a:gd name="T47" fmla="*/ 81 h 331"/>
                <a:gd name="T48" fmla="*/ 166 w 237"/>
                <a:gd name="T49" fmla="*/ 74 h 331"/>
                <a:gd name="T50" fmla="*/ 115 w 237"/>
                <a:gd name="T51" fmla="*/ 70 h 331"/>
                <a:gd name="T52" fmla="*/ 88 w 237"/>
                <a:gd name="T53" fmla="*/ 76 h 331"/>
                <a:gd name="T54" fmla="*/ 82 w 237"/>
                <a:gd name="T55" fmla="*/ 78 h 331"/>
                <a:gd name="T56" fmla="*/ 82 w 237"/>
                <a:gd name="T57" fmla="*/ 86 h 331"/>
                <a:gd name="T58" fmla="*/ 88 w 237"/>
                <a:gd name="T59" fmla="*/ 90 h 331"/>
                <a:gd name="T60" fmla="*/ 88 w 237"/>
                <a:gd name="T61" fmla="*/ 90 h 331"/>
                <a:gd name="T62" fmla="*/ 88 w 237"/>
                <a:gd name="T63" fmla="*/ 90 h 331"/>
                <a:gd name="T64" fmla="*/ 88 w 237"/>
                <a:gd name="T65" fmla="*/ 90 h 331"/>
                <a:gd name="T66" fmla="*/ 94 w 237"/>
                <a:gd name="T67" fmla="*/ 90 h 331"/>
                <a:gd name="T68" fmla="*/ 105 w 237"/>
                <a:gd name="T69" fmla="*/ 88 h 331"/>
                <a:gd name="T70" fmla="*/ 135 w 237"/>
                <a:gd name="T71" fmla="*/ 82 h 331"/>
                <a:gd name="T72" fmla="*/ 148 w 237"/>
                <a:gd name="T73" fmla="*/ 81 h 331"/>
                <a:gd name="T74" fmla="*/ 164 w 237"/>
                <a:gd name="T75" fmla="*/ 81 h 331"/>
                <a:gd name="T76" fmla="*/ 131 w 237"/>
                <a:gd name="T77" fmla="*/ 121 h 331"/>
                <a:gd name="T78" fmla="*/ 134 w 237"/>
                <a:gd name="T79" fmla="*/ 134 h 331"/>
                <a:gd name="T80" fmla="*/ 124 w 237"/>
                <a:gd name="T81" fmla="*/ 133 h 331"/>
                <a:gd name="T82" fmla="*/ 121 w 237"/>
                <a:gd name="T83" fmla="*/ 136 h 331"/>
                <a:gd name="T84" fmla="*/ 145 w 237"/>
                <a:gd name="T85" fmla="*/ 142 h 331"/>
                <a:gd name="T86" fmla="*/ 158 w 237"/>
                <a:gd name="T87" fmla="*/ 137 h 331"/>
                <a:gd name="T88" fmla="*/ 156 w 237"/>
                <a:gd name="T89" fmla="*/ 134 h 331"/>
                <a:gd name="T90" fmla="*/ 160 w 237"/>
                <a:gd name="T91" fmla="*/ 122 h 331"/>
                <a:gd name="T92" fmla="*/ 157 w 237"/>
                <a:gd name="T93" fmla="*/ 108 h 331"/>
                <a:gd name="T94" fmla="*/ 162 w 237"/>
                <a:gd name="T95" fmla="*/ 104 h 331"/>
                <a:gd name="T96" fmla="*/ 153 w 237"/>
                <a:gd name="T97" fmla="*/ 97 h 331"/>
                <a:gd name="T98" fmla="*/ 109 w 237"/>
                <a:gd name="T99" fmla="*/ 116 h 331"/>
                <a:gd name="T100" fmla="*/ 111 w 237"/>
                <a:gd name="T101" fmla="*/ 120 h 331"/>
                <a:gd name="T102" fmla="*/ 133 w 237"/>
                <a:gd name="T103" fmla="*/ 113 h 331"/>
                <a:gd name="T104" fmla="*/ 131 w 237"/>
                <a:gd name="T105" fmla="*/ 121 h 331"/>
                <a:gd name="T106" fmla="*/ 151 w 237"/>
                <a:gd name="T107" fmla="*/ 120 h 331"/>
                <a:gd name="T108" fmla="*/ 146 w 237"/>
                <a:gd name="T109" fmla="*/ 113 h 331"/>
                <a:gd name="T110" fmla="*/ 143 w 237"/>
                <a:gd name="T111" fmla="*/ 121 h 331"/>
                <a:gd name="T112" fmla="*/ 148 w 237"/>
                <a:gd name="T113" fmla="*/ 129 h 331"/>
                <a:gd name="T114" fmla="*/ 151 w 237"/>
                <a:gd name="T115" fmla="*/ 12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31">
                  <a:moveTo>
                    <a:pt x="11" y="331"/>
                  </a:moveTo>
                  <a:cubicBezTo>
                    <a:pt x="10" y="331"/>
                    <a:pt x="11" y="331"/>
                    <a:pt x="11" y="331"/>
                  </a:cubicBezTo>
                  <a:cubicBezTo>
                    <a:pt x="22" y="326"/>
                    <a:pt x="34" y="291"/>
                    <a:pt x="36" y="283"/>
                  </a:cubicBezTo>
                  <a:cubicBezTo>
                    <a:pt x="38" y="279"/>
                    <a:pt x="54" y="268"/>
                    <a:pt x="54" y="264"/>
                  </a:cubicBezTo>
                  <a:cubicBezTo>
                    <a:pt x="54" y="260"/>
                    <a:pt x="51" y="254"/>
                    <a:pt x="51" y="254"/>
                  </a:cubicBezTo>
                  <a:cubicBezTo>
                    <a:pt x="51" y="254"/>
                    <a:pt x="56" y="249"/>
                    <a:pt x="56" y="244"/>
                  </a:cubicBezTo>
                  <a:cubicBezTo>
                    <a:pt x="56" y="239"/>
                    <a:pt x="49" y="222"/>
                    <a:pt x="49" y="222"/>
                  </a:cubicBezTo>
                  <a:cubicBezTo>
                    <a:pt x="68" y="212"/>
                    <a:pt x="84" y="212"/>
                    <a:pt x="84" y="194"/>
                  </a:cubicBezTo>
                  <a:cubicBezTo>
                    <a:pt x="84" y="162"/>
                    <a:pt x="32" y="135"/>
                    <a:pt x="31" y="94"/>
                  </a:cubicBezTo>
                  <a:cubicBezTo>
                    <a:pt x="31" y="93"/>
                    <a:pt x="31" y="89"/>
                    <a:pt x="31" y="88"/>
                  </a:cubicBezTo>
                  <a:cubicBezTo>
                    <a:pt x="31" y="22"/>
                    <a:pt x="5" y="3"/>
                    <a:pt x="0" y="0"/>
                  </a:cubicBezTo>
                  <a:cubicBezTo>
                    <a:pt x="0" y="0"/>
                    <a:pt x="0" y="0"/>
                    <a:pt x="0" y="0"/>
                  </a:cubicBezTo>
                  <a:cubicBezTo>
                    <a:pt x="138" y="0"/>
                    <a:pt x="138" y="0"/>
                    <a:pt x="138" y="0"/>
                  </a:cubicBezTo>
                  <a:cubicBezTo>
                    <a:pt x="138" y="0"/>
                    <a:pt x="192" y="38"/>
                    <a:pt x="192" y="110"/>
                  </a:cubicBezTo>
                  <a:cubicBezTo>
                    <a:pt x="192" y="139"/>
                    <a:pt x="237" y="169"/>
                    <a:pt x="237" y="192"/>
                  </a:cubicBezTo>
                  <a:cubicBezTo>
                    <a:pt x="237" y="206"/>
                    <a:pt x="218" y="211"/>
                    <a:pt x="215" y="214"/>
                  </a:cubicBezTo>
                  <a:cubicBezTo>
                    <a:pt x="213" y="216"/>
                    <a:pt x="211" y="224"/>
                    <a:pt x="211" y="232"/>
                  </a:cubicBezTo>
                  <a:cubicBezTo>
                    <a:pt x="211" y="241"/>
                    <a:pt x="217" y="240"/>
                    <a:pt x="217" y="246"/>
                  </a:cubicBezTo>
                  <a:cubicBezTo>
                    <a:pt x="217" y="254"/>
                    <a:pt x="202" y="259"/>
                    <a:pt x="202" y="259"/>
                  </a:cubicBezTo>
                  <a:cubicBezTo>
                    <a:pt x="202" y="259"/>
                    <a:pt x="213" y="267"/>
                    <a:pt x="213" y="271"/>
                  </a:cubicBezTo>
                  <a:cubicBezTo>
                    <a:pt x="213" y="277"/>
                    <a:pt x="199" y="283"/>
                    <a:pt x="199" y="292"/>
                  </a:cubicBezTo>
                  <a:cubicBezTo>
                    <a:pt x="199" y="313"/>
                    <a:pt x="179" y="331"/>
                    <a:pt x="146" y="331"/>
                  </a:cubicBezTo>
                  <a:cubicBezTo>
                    <a:pt x="116" y="331"/>
                    <a:pt x="25" y="331"/>
                    <a:pt x="11" y="331"/>
                  </a:cubicBezTo>
                  <a:moveTo>
                    <a:pt x="164" y="81"/>
                  </a:moveTo>
                  <a:cubicBezTo>
                    <a:pt x="170" y="80"/>
                    <a:pt x="168" y="76"/>
                    <a:pt x="166" y="74"/>
                  </a:cubicBezTo>
                  <a:cubicBezTo>
                    <a:pt x="154" y="64"/>
                    <a:pt x="131" y="67"/>
                    <a:pt x="115" y="70"/>
                  </a:cubicBezTo>
                  <a:cubicBezTo>
                    <a:pt x="106" y="72"/>
                    <a:pt x="97" y="74"/>
                    <a:pt x="88" y="76"/>
                  </a:cubicBezTo>
                  <a:cubicBezTo>
                    <a:pt x="86" y="77"/>
                    <a:pt x="83" y="77"/>
                    <a:pt x="82" y="78"/>
                  </a:cubicBezTo>
                  <a:cubicBezTo>
                    <a:pt x="79" y="80"/>
                    <a:pt x="81" y="84"/>
                    <a:pt x="82" y="86"/>
                  </a:cubicBezTo>
                  <a:cubicBezTo>
                    <a:pt x="83" y="87"/>
                    <a:pt x="85" y="89"/>
                    <a:pt x="88" y="90"/>
                  </a:cubicBezTo>
                  <a:cubicBezTo>
                    <a:pt x="88" y="90"/>
                    <a:pt x="88" y="90"/>
                    <a:pt x="88" y="90"/>
                  </a:cubicBezTo>
                  <a:cubicBezTo>
                    <a:pt x="88" y="90"/>
                    <a:pt x="88" y="90"/>
                    <a:pt x="88" y="90"/>
                  </a:cubicBezTo>
                  <a:cubicBezTo>
                    <a:pt x="88" y="90"/>
                    <a:pt x="88" y="90"/>
                    <a:pt x="88" y="90"/>
                  </a:cubicBezTo>
                  <a:cubicBezTo>
                    <a:pt x="90" y="91"/>
                    <a:pt x="92" y="91"/>
                    <a:pt x="94" y="90"/>
                  </a:cubicBezTo>
                  <a:cubicBezTo>
                    <a:pt x="98" y="89"/>
                    <a:pt x="102" y="89"/>
                    <a:pt x="105" y="88"/>
                  </a:cubicBezTo>
                  <a:cubicBezTo>
                    <a:pt x="115" y="85"/>
                    <a:pt x="125" y="83"/>
                    <a:pt x="135" y="82"/>
                  </a:cubicBezTo>
                  <a:cubicBezTo>
                    <a:pt x="139" y="81"/>
                    <a:pt x="144" y="81"/>
                    <a:pt x="148" y="81"/>
                  </a:cubicBezTo>
                  <a:cubicBezTo>
                    <a:pt x="153" y="80"/>
                    <a:pt x="159" y="81"/>
                    <a:pt x="164" y="81"/>
                  </a:cubicBezTo>
                  <a:moveTo>
                    <a:pt x="131" y="121"/>
                  </a:moveTo>
                  <a:cubicBezTo>
                    <a:pt x="131" y="132"/>
                    <a:pt x="134" y="134"/>
                    <a:pt x="134" y="134"/>
                  </a:cubicBezTo>
                  <a:cubicBezTo>
                    <a:pt x="134" y="134"/>
                    <a:pt x="126" y="133"/>
                    <a:pt x="124" y="133"/>
                  </a:cubicBezTo>
                  <a:cubicBezTo>
                    <a:pt x="123" y="133"/>
                    <a:pt x="121" y="133"/>
                    <a:pt x="121" y="136"/>
                  </a:cubicBezTo>
                  <a:cubicBezTo>
                    <a:pt x="121" y="141"/>
                    <a:pt x="136" y="142"/>
                    <a:pt x="145" y="142"/>
                  </a:cubicBezTo>
                  <a:cubicBezTo>
                    <a:pt x="154" y="142"/>
                    <a:pt x="158" y="140"/>
                    <a:pt x="158" y="137"/>
                  </a:cubicBezTo>
                  <a:cubicBezTo>
                    <a:pt x="158" y="135"/>
                    <a:pt x="156" y="134"/>
                    <a:pt x="156" y="134"/>
                  </a:cubicBezTo>
                  <a:cubicBezTo>
                    <a:pt x="156" y="134"/>
                    <a:pt x="160" y="129"/>
                    <a:pt x="160" y="122"/>
                  </a:cubicBezTo>
                  <a:cubicBezTo>
                    <a:pt x="160" y="115"/>
                    <a:pt x="157" y="108"/>
                    <a:pt x="157" y="108"/>
                  </a:cubicBezTo>
                  <a:cubicBezTo>
                    <a:pt x="157" y="108"/>
                    <a:pt x="162" y="107"/>
                    <a:pt x="162" y="104"/>
                  </a:cubicBezTo>
                  <a:cubicBezTo>
                    <a:pt x="162" y="101"/>
                    <a:pt x="161" y="97"/>
                    <a:pt x="153" y="97"/>
                  </a:cubicBezTo>
                  <a:cubicBezTo>
                    <a:pt x="142" y="97"/>
                    <a:pt x="109" y="104"/>
                    <a:pt x="109" y="116"/>
                  </a:cubicBezTo>
                  <a:cubicBezTo>
                    <a:pt x="109" y="117"/>
                    <a:pt x="109" y="120"/>
                    <a:pt x="111" y="120"/>
                  </a:cubicBezTo>
                  <a:cubicBezTo>
                    <a:pt x="115" y="120"/>
                    <a:pt x="133" y="113"/>
                    <a:pt x="133" y="113"/>
                  </a:cubicBezTo>
                  <a:cubicBezTo>
                    <a:pt x="133" y="113"/>
                    <a:pt x="131" y="117"/>
                    <a:pt x="131" y="121"/>
                  </a:cubicBezTo>
                  <a:moveTo>
                    <a:pt x="151" y="120"/>
                  </a:moveTo>
                  <a:cubicBezTo>
                    <a:pt x="151" y="116"/>
                    <a:pt x="148" y="112"/>
                    <a:pt x="146" y="113"/>
                  </a:cubicBezTo>
                  <a:cubicBezTo>
                    <a:pt x="143" y="113"/>
                    <a:pt x="142" y="117"/>
                    <a:pt x="143" y="121"/>
                  </a:cubicBezTo>
                  <a:cubicBezTo>
                    <a:pt x="143" y="126"/>
                    <a:pt x="146" y="129"/>
                    <a:pt x="148" y="129"/>
                  </a:cubicBezTo>
                  <a:cubicBezTo>
                    <a:pt x="151" y="128"/>
                    <a:pt x="152" y="124"/>
                    <a:pt x="151" y="120"/>
                  </a:cubicBezTo>
                </a:path>
              </a:pathLst>
            </a:custGeom>
            <a:solidFill>
              <a:srgbClr val="779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a:extLst>
                <a:ext uri="{FF2B5EF4-FFF2-40B4-BE49-F238E27FC236}">
                  <a16:creationId xmlns:a16="http://schemas.microsoft.com/office/drawing/2014/main" id="{0DAE21F5-AC1A-4A55-8199-1D494D297C8C}"/>
                </a:ext>
              </a:extLst>
            </p:cNvPr>
            <p:cNvSpPr>
              <a:spLocks noEditPoints="1"/>
            </p:cNvSpPr>
            <p:nvPr userDrawn="1"/>
          </p:nvSpPr>
          <p:spPr bwMode="auto">
            <a:xfrm>
              <a:off x="7770813" y="4232276"/>
              <a:ext cx="598488" cy="723900"/>
            </a:xfrm>
            <a:custGeom>
              <a:avLst/>
              <a:gdLst>
                <a:gd name="T0" fmla="*/ 274 w 274"/>
                <a:gd name="T1" fmla="*/ 193 h 331"/>
                <a:gd name="T2" fmla="*/ 244 w 274"/>
                <a:gd name="T3" fmla="*/ 212 h 331"/>
                <a:gd name="T4" fmla="*/ 243 w 274"/>
                <a:gd name="T5" fmla="*/ 221 h 331"/>
                <a:gd name="T6" fmla="*/ 249 w 274"/>
                <a:gd name="T7" fmla="*/ 244 h 331"/>
                <a:gd name="T8" fmla="*/ 240 w 274"/>
                <a:gd name="T9" fmla="*/ 253 h 331"/>
                <a:gd name="T10" fmla="*/ 245 w 274"/>
                <a:gd name="T11" fmla="*/ 262 h 331"/>
                <a:gd name="T12" fmla="*/ 228 w 274"/>
                <a:gd name="T13" fmla="*/ 276 h 331"/>
                <a:gd name="T14" fmla="*/ 188 w 274"/>
                <a:gd name="T15" fmla="*/ 331 h 331"/>
                <a:gd name="T16" fmla="*/ 51 w 274"/>
                <a:gd name="T17" fmla="*/ 331 h 331"/>
                <a:gd name="T18" fmla="*/ 51 w 274"/>
                <a:gd name="T19" fmla="*/ 331 h 331"/>
                <a:gd name="T20" fmla="*/ 70 w 274"/>
                <a:gd name="T21" fmla="*/ 284 h 331"/>
                <a:gd name="T22" fmla="*/ 84 w 274"/>
                <a:gd name="T23" fmla="*/ 255 h 331"/>
                <a:gd name="T24" fmla="*/ 81 w 274"/>
                <a:gd name="T25" fmla="*/ 248 h 331"/>
                <a:gd name="T26" fmla="*/ 91 w 274"/>
                <a:gd name="T27" fmla="*/ 239 h 331"/>
                <a:gd name="T28" fmla="*/ 83 w 274"/>
                <a:gd name="T29" fmla="*/ 216 h 331"/>
                <a:gd name="T30" fmla="*/ 110 w 274"/>
                <a:gd name="T31" fmla="*/ 190 h 331"/>
                <a:gd name="T32" fmla="*/ 54 w 274"/>
                <a:gd name="T33" fmla="*/ 87 h 331"/>
                <a:gd name="T34" fmla="*/ 54 w 274"/>
                <a:gd name="T35" fmla="*/ 77 h 331"/>
                <a:gd name="T36" fmla="*/ 1 w 274"/>
                <a:gd name="T37" fmla="*/ 1 h 331"/>
                <a:gd name="T38" fmla="*/ 1 w 274"/>
                <a:gd name="T39" fmla="*/ 0 h 331"/>
                <a:gd name="T40" fmla="*/ 173 w 274"/>
                <a:gd name="T41" fmla="*/ 0 h 331"/>
                <a:gd name="T42" fmla="*/ 221 w 274"/>
                <a:gd name="T43" fmla="*/ 100 h 331"/>
                <a:gd name="T44" fmla="*/ 274 w 274"/>
                <a:gd name="T45" fmla="*/ 193 h 331"/>
                <a:gd name="T46" fmla="*/ 173 w 274"/>
                <a:gd name="T47" fmla="*/ 80 h 331"/>
                <a:gd name="T48" fmla="*/ 199 w 274"/>
                <a:gd name="T49" fmla="*/ 78 h 331"/>
                <a:gd name="T50" fmla="*/ 167 w 274"/>
                <a:gd name="T51" fmla="*/ 67 h 331"/>
                <a:gd name="T52" fmla="*/ 115 w 274"/>
                <a:gd name="T53" fmla="*/ 93 h 331"/>
                <a:gd name="T54" fmla="*/ 119 w 274"/>
                <a:gd name="T55" fmla="*/ 95 h 331"/>
                <a:gd name="T56" fmla="*/ 173 w 274"/>
                <a:gd name="T57" fmla="*/ 80 h 331"/>
                <a:gd name="T58" fmla="*/ 192 w 274"/>
                <a:gd name="T59" fmla="*/ 124 h 331"/>
                <a:gd name="T60" fmla="*/ 188 w 274"/>
                <a:gd name="T61" fmla="*/ 110 h 331"/>
                <a:gd name="T62" fmla="*/ 192 w 274"/>
                <a:gd name="T63" fmla="*/ 105 h 331"/>
                <a:gd name="T64" fmla="*/ 185 w 274"/>
                <a:gd name="T65" fmla="*/ 98 h 331"/>
                <a:gd name="T66" fmla="*/ 136 w 274"/>
                <a:gd name="T67" fmla="*/ 118 h 331"/>
                <a:gd name="T68" fmla="*/ 139 w 274"/>
                <a:gd name="T69" fmla="*/ 123 h 331"/>
                <a:gd name="T70" fmla="*/ 163 w 274"/>
                <a:gd name="T71" fmla="*/ 115 h 331"/>
                <a:gd name="T72" fmla="*/ 160 w 274"/>
                <a:gd name="T73" fmla="*/ 122 h 331"/>
                <a:gd name="T74" fmla="*/ 164 w 274"/>
                <a:gd name="T75" fmla="*/ 138 h 331"/>
                <a:gd name="T76" fmla="*/ 151 w 274"/>
                <a:gd name="T77" fmla="*/ 140 h 331"/>
                <a:gd name="T78" fmla="*/ 173 w 274"/>
                <a:gd name="T79" fmla="*/ 145 h 331"/>
                <a:gd name="T80" fmla="*/ 188 w 274"/>
                <a:gd name="T81" fmla="*/ 140 h 331"/>
                <a:gd name="T82" fmla="*/ 186 w 274"/>
                <a:gd name="T83" fmla="*/ 139 h 331"/>
                <a:gd name="T84" fmla="*/ 192 w 274"/>
                <a:gd name="T85" fmla="*/ 124 h 331"/>
                <a:gd name="T86" fmla="*/ 179 w 274"/>
                <a:gd name="T87" fmla="*/ 112 h 331"/>
                <a:gd name="T88" fmla="*/ 175 w 274"/>
                <a:gd name="T89" fmla="*/ 121 h 331"/>
                <a:gd name="T90" fmla="*/ 180 w 274"/>
                <a:gd name="T91" fmla="*/ 129 h 331"/>
                <a:gd name="T92" fmla="*/ 184 w 274"/>
                <a:gd name="T93" fmla="*/ 120 h 331"/>
                <a:gd name="T94" fmla="*/ 179 w 274"/>
                <a:gd name="T95" fmla="*/ 11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4" h="331">
                  <a:moveTo>
                    <a:pt x="274" y="193"/>
                  </a:moveTo>
                  <a:cubicBezTo>
                    <a:pt x="274" y="201"/>
                    <a:pt x="267" y="203"/>
                    <a:pt x="244" y="212"/>
                  </a:cubicBezTo>
                  <a:cubicBezTo>
                    <a:pt x="244" y="212"/>
                    <a:pt x="243" y="215"/>
                    <a:pt x="243" y="221"/>
                  </a:cubicBezTo>
                  <a:cubicBezTo>
                    <a:pt x="243" y="231"/>
                    <a:pt x="249" y="239"/>
                    <a:pt x="249" y="244"/>
                  </a:cubicBezTo>
                  <a:cubicBezTo>
                    <a:pt x="249" y="249"/>
                    <a:pt x="240" y="253"/>
                    <a:pt x="240" y="253"/>
                  </a:cubicBezTo>
                  <a:cubicBezTo>
                    <a:pt x="240" y="253"/>
                    <a:pt x="245" y="258"/>
                    <a:pt x="245" y="262"/>
                  </a:cubicBezTo>
                  <a:cubicBezTo>
                    <a:pt x="245" y="265"/>
                    <a:pt x="228" y="276"/>
                    <a:pt x="228" y="276"/>
                  </a:cubicBezTo>
                  <a:cubicBezTo>
                    <a:pt x="228" y="276"/>
                    <a:pt x="214" y="331"/>
                    <a:pt x="188" y="331"/>
                  </a:cubicBezTo>
                  <a:cubicBezTo>
                    <a:pt x="51" y="331"/>
                    <a:pt x="51" y="331"/>
                    <a:pt x="51" y="331"/>
                  </a:cubicBezTo>
                  <a:cubicBezTo>
                    <a:pt x="50" y="331"/>
                    <a:pt x="50" y="331"/>
                    <a:pt x="51" y="331"/>
                  </a:cubicBezTo>
                  <a:cubicBezTo>
                    <a:pt x="61" y="327"/>
                    <a:pt x="70" y="299"/>
                    <a:pt x="70" y="284"/>
                  </a:cubicBezTo>
                  <a:cubicBezTo>
                    <a:pt x="70" y="268"/>
                    <a:pt x="84" y="268"/>
                    <a:pt x="84" y="255"/>
                  </a:cubicBezTo>
                  <a:cubicBezTo>
                    <a:pt x="84" y="249"/>
                    <a:pt x="81" y="248"/>
                    <a:pt x="81" y="248"/>
                  </a:cubicBezTo>
                  <a:cubicBezTo>
                    <a:pt x="81" y="248"/>
                    <a:pt x="91" y="246"/>
                    <a:pt x="91" y="239"/>
                  </a:cubicBezTo>
                  <a:cubicBezTo>
                    <a:pt x="91" y="235"/>
                    <a:pt x="83" y="216"/>
                    <a:pt x="83" y="216"/>
                  </a:cubicBezTo>
                  <a:cubicBezTo>
                    <a:pt x="89" y="214"/>
                    <a:pt x="110" y="205"/>
                    <a:pt x="110" y="190"/>
                  </a:cubicBezTo>
                  <a:cubicBezTo>
                    <a:pt x="110" y="162"/>
                    <a:pt x="54" y="116"/>
                    <a:pt x="54" y="87"/>
                  </a:cubicBezTo>
                  <a:cubicBezTo>
                    <a:pt x="54" y="87"/>
                    <a:pt x="54" y="78"/>
                    <a:pt x="54" y="77"/>
                  </a:cubicBezTo>
                  <a:cubicBezTo>
                    <a:pt x="54" y="28"/>
                    <a:pt x="8" y="4"/>
                    <a:pt x="1" y="1"/>
                  </a:cubicBezTo>
                  <a:cubicBezTo>
                    <a:pt x="0" y="0"/>
                    <a:pt x="0" y="0"/>
                    <a:pt x="1" y="0"/>
                  </a:cubicBezTo>
                  <a:cubicBezTo>
                    <a:pt x="173" y="0"/>
                    <a:pt x="173" y="0"/>
                    <a:pt x="173" y="0"/>
                  </a:cubicBezTo>
                  <a:cubicBezTo>
                    <a:pt x="191" y="0"/>
                    <a:pt x="221" y="13"/>
                    <a:pt x="221" y="100"/>
                  </a:cubicBezTo>
                  <a:cubicBezTo>
                    <a:pt x="221" y="127"/>
                    <a:pt x="274" y="167"/>
                    <a:pt x="274" y="193"/>
                  </a:cubicBezTo>
                  <a:moveTo>
                    <a:pt x="173" y="80"/>
                  </a:moveTo>
                  <a:cubicBezTo>
                    <a:pt x="186" y="80"/>
                    <a:pt x="199" y="85"/>
                    <a:pt x="199" y="78"/>
                  </a:cubicBezTo>
                  <a:cubicBezTo>
                    <a:pt x="199" y="72"/>
                    <a:pt x="180" y="67"/>
                    <a:pt x="167" y="67"/>
                  </a:cubicBezTo>
                  <a:cubicBezTo>
                    <a:pt x="134" y="67"/>
                    <a:pt x="115" y="88"/>
                    <a:pt x="115" y="93"/>
                  </a:cubicBezTo>
                  <a:cubicBezTo>
                    <a:pt x="115" y="95"/>
                    <a:pt x="119" y="95"/>
                    <a:pt x="119" y="95"/>
                  </a:cubicBezTo>
                  <a:cubicBezTo>
                    <a:pt x="131" y="95"/>
                    <a:pt x="140" y="80"/>
                    <a:pt x="173" y="80"/>
                  </a:cubicBezTo>
                  <a:moveTo>
                    <a:pt x="192" y="124"/>
                  </a:moveTo>
                  <a:cubicBezTo>
                    <a:pt x="192" y="118"/>
                    <a:pt x="188" y="110"/>
                    <a:pt x="188" y="110"/>
                  </a:cubicBezTo>
                  <a:cubicBezTo>
                    <a:pt x="188" y="110"/>
                    <a:pt x="192" y="109"/>
                    <a:pt x="192" y="105"/>
                  </a:cubicBezTo>
                  <a:cubicBezTo>
                    <a:pt x="192" y="102"/>
                    <a:pt x="191" y="98"/>
                    <a:pt x="185" y="98"/>
                  </a:cubicBezTo>
                  <a:cubicBezTo>
                    <a:pt x="170" y="98"/>
                    <a:pt x="136" y="106"/>
                    <a:pt x="136" y="118"/>
                  </a:cubicBezTo>
                  <a:cubicBezTo>
                    <a:pt x="136" y="119"/>
                    <a:pt x="136" y="123"/>
                    <a:pt x="139" y="123"/>
                  </a:cubicBezTo>
                  <a:cubicBezTo>
                    <a:pt x="143" y="123"/>
                    <a:pt x="163" y="115"/>
                    <a:pt x="163" y="115"/>
                  </a:cubicBezTo>
                  <a:cubicBezTo>
                    <a:pt x="160" y="117"/>
                    <a:pt x="160" y="122"/>
                    <a:pt x="160" y="122"/>
                  </a:cubicBezTo>
                  <a:cubicBezTo>
                    <a:pt x="160" y="131"/>
                    <a:pt x="164" y="138"/>
                    <a:pt x="164" y="138"/>
                  </a:cubicBezTo>
                  <a:cubicBezTo>
                    <a:pt x="155" y="138"/>
                    <a:pt x="151" y="138"/>
                    <a:pt x="151" y="140"/>
                  </a:cubicBezTo>
                  <a:cubicBezTo>
                    <a:pt x="151" y="142"/>
                    <a:pt x="159" y="145"/>
                    <a:pt x="173" y="145"/>
                  </a:cubicBezTo>
                  <a:cubicBezTo>
                    <a:pt x="188" y="145"/>
                    <a:pt x="188" y="141"/>
                    <a:pt x="188" y="140"/>
                  </a:cubicBezTo>
                  <a:cubicBezTo>
                    <a:pt x="188" y="139"/>
                    <a:pt x="186" y="139"/>
                    <a:pt x="186" y="139"/>
                  </a:cubicBezTo>
                  <a:cubicBezTo>
                    <a:pt x="186" y="139"/>
                    <a:pt x="192" y="133"/>
                    <a:pt x="192" y="124"/>
                  </a:cubicBezTo>
                  <a:moveTo>
                    <a:pt x="179" y="112"/>
                  </a:moveTo>
                  <a:cubicBezTo>
                    <a:pt x="176" y="113"/>
                    <a:pt x="175" y="117"/>
                    <a:pt x="175" y="121"/>
                  </a:cubicBezTo>
                  <a:cubicBezTo>
                    <a:pt x="176" y="126"/>
                    <a:pt x="178" y="129"/>
                    <a:pt x="180" y="129"/>
                  </a:cubicBezTo>
                  <a:cubicBezTo>
                    <a:pt x="183" y="129"/>
                    <a:pt x="184" y="125"/>
                    <a:pt x="184" y="120"/>
                  </a:cubicBezTo>
                  <a:cubicBezTo>
                    <a:pt x="183" y="116"/>
                    <a:pt x="181" y="112"/>
                    <a:pt x="179" y="112"/>
                  </a:cubicBezTo>
                </a:path>
              </a:pathLst>
            </a:custGeom>
            <a:solidFill>
              <a:srgbClr val="00B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a:extLst>
                <a:ext uri="{FF2B5EF4-FFF2-40B4-BE49-F238E27FC236}">
                  <a16:creationId xmlns:a16="http://schemas.microsoft.com/office/drawing/2014/main" id="{945E3E87-2E82-40AC-8FAB-256C0961C35F}"/>
                </a:ext>
              </a:extLst>
            </p:cNvPr>
            <p:cNvSpPr>
              <a:spLocks noEditPoints="1"/>
            </p:cNvSpPr>
            <p:nvPr userDrawn="1"/>
          </p:nvSpPr>
          <p:spPr bwMode="auto">
            <a:xfrm>
              <a:off x="7442200" y="4232276"/>
              <a:ext cx="538163" cy="723900"/>
            </a:xfrm>
            <a:custGeom>
              <a:avLst/>
              <a:gdLst>
                <a:gd name="T0" fmla="*/ 174 w 247"/>
                <a:gd name="T1" fmla="*/ 331 h 331"/>
                <a:gd name="T2" fmla="*/ 18 w 247"/>
                <a:gd name="T3" fmla="*/ 331 h 331"/>
                <a:gd name="T4" fmla="*/ 0 w 247"/>
                <a:gd name="T5" fmla="*/ 0 h 331"/>
                <a:gd name="T6" fmla="*/ 116 w 247"/>
                <a:gd name="T7" fmla="*/ 0 h 331"/>
                <a:gd name="T8" fmla="*/ 191 w 247"/>
                <a:gd name="T9" fmla="*/ 75 h 331"/>
                <a:gd name="T10" fmla="*/ 193 w 247"/>
                <a:gd name="T11" fmla="*/ 102 h 331"/>
                <a:gd name="T12" fmla="*/ 247 w 247"/>
                <a:gd name="T13" fmla="*/ 189 h 331"/>
                <a:gd name="T14" fmla="*/ 219 w 247"/>
                <a:gd name="T15" fmla="*/ 208 h 331"/>
                <a:gd name="T16" fmla="*/ 219 w 247"/>
                <a:gd name="T17" fmla="*/ 213 h 331"/>
                <a:gd name="T18" fmla="*/ 223 w 247"/>
                <a:gd name="T19" fmla="*/ 235 h 331"/>
                <a:gd name="T20" fmla="*/ 216 w 247"/>
                <a:gd name="T21" fmla="*/ 241 h 331"/>
                <a:gd name="T22" fmla="*/ 208 w 247"/>
                <a:gd name="T23" fmla="*/ 243 h 331"/>
                <a:gd name="T24" fmla="*/ 221 w 247"/>
                <a:gd name="T25" fmla="*/ 252 h 331"/>
                <a:gd name="T26" fmla="*/ 209 w 247"/>
                <a:gd name="T27" fmla="*/ 281 h 331"/>
                <a:gd name="T28" fmla="*/ 209 w 247"/>
                <a:gd name="T29" fmla="*/ 285 h 331"/>
                <a:gd name="T30" fmla="*/ 174 w 247"/>
                <a:gd name="T31" fmla="*/ 331 h 331"/>
                <a:gd name="T32" fmla="*/ 167 w 247"/>
                <a:gd name="T33" fmla="*/ 85 h 331"/>
                <a:gd name="T34" fmla="*/ 176 w 247"/>
                <a:gd name="T35" fmla="*/ 73 h 331"/>
                <a:gd name="T36" fmla="*/ 171 w 247"/>
                <a:gd name="T37" fmla="*/ 71 h 331"/>
                <a:gd name="T38" fmla="*/ 130 w 247"/>
                <a:gd name="T39" fmla="*/ 69 h 331"/>
                <a:gd name="T40" fmla="*/ 89 w 247"/>
                <a:gd name="T41" fmla="*/ 84 h 331"/>
                <a:gd name="T42" fmla="*/ 93 w 247"/>
                <a:gd name="T43" fmla="*/ 87 h 331"/>
                <a:gd name="T44" fmla="*/ 126 w 247"/>
                <a:gd name="T45" fmla="*/ 83 h 331"/>
                <a:gd name="T46" fmla="*/ 167 w 247"/>
                <a:gd name="T47" fmla="*/ 85 h 331"/>
                <a:gd name="T48" fmla="*/ 161 w 247"/>
                <a:gd name="T49" fmla="*/ 145 h 331"/>
                <a:gd name="T50" fmla="*/ 159 w 247"/>
                <a:gd name="T51" fmla="*/ 143 h 331"/>
                <a:gd name="T52" fmla="*/ 162 w 247"/>
                <a:gd name="T53" fmla="*/ 130 h 331"/>
                <a:gd name="T54" fmla="*/ 158 w 247"/>
                <a:gd name="T55" fmla="*/ 117 h 331"/>
                <a:gd name="T56" fmla="*/ 162 w 247"/>
                <a:gd name="T57" fmla="*/ 112 h 331"/>
                <a:gd name="T58" fmla="*/ 151 w 247"/>
                <a:gd name="T59" fmla="*/ 106 h 331"/>
                <a:gd name="T60" fmla="*/ 105 w 247"/>
                <a:gd name="T61" fmla="*/ 127 h 331"/>
                <a:gd name="T62" fmla="*/ 111 w 247"/>
                <a:gd name="T63" fmla="*/ 131 h 331"/>
                <a:gd name="T64" fmla="*/ 134 w 247"/>
                <a:gd name="T65" fmla="*/ 124 h 331"/>
                <a:gd name="T66" fmla="*/ 135 w 247"/>
                <a:gd name="T67" fmla="*/ 127 h 331"/>
                <a:gd name="T68" fmla="*/ 138 w 247"/>
                <a:gd name="T69" fmla="*/ 142 h 331"/>
                <a:gd name="T70" fmla="*/ 126 w 247"/>
                <a:gd name="T71" fmla="*/ 144 h 331"/>
                <a:gd name="T72" fmla="*/ 147 w 247"/>
                <a:gd name="T73" fmla="*/ 150 h 331"/>
                <a:gd name="T74" fmla="*/ 161 w 247"/>
                <a:gd name="T75" fmla="*/ 145 h 331"/>
                <a:gd name="T76" fmla="*/ 149 w 247"/>
                <a:gd name="T77" fmla="*/ 121 h 331"/>
                <a:gd name="T78" fmla="*/ 146 w 247"/>
                <a:gd name="T79" fmla="*/ 130 h 331"/>
                <a:gd name="T80" fmla="*/ 152 w 247"/>
                <a:gd name="T81" fmla="*/ 137 h 331"/>
                <a:gd name="T82" fmla="*/ 155 w 247"/>
                <a:gd name="T83" fmla="*/ 128 h 331"/>
                <a:gd name="T84" fmla="*/ 149 w 247"/>
                <a:gd name="T85" fmla="*/ 12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331">
                  <a:moveTo>
                    <a:pt x="174" y="331"/>
                  </a:moveTo>
                  <a:cubicBezTo>
                    <a:pt x="140" y="331"/>
                    <a:pt x="18" y="331"/>
                    <a:pt x="18" y="331"/>
                  </a:cubicBezTo>
                  <a:cubicBezTo>
                    <a:pt x="81" y="166"/>
                    <a:pt x="0" y="139"/>
                    <a:pt x="0" y="0"/>
                  </a:cubicBezTo>
                  <a:cubicBezTo>
                    <a:pt x="116" y="0"/>
                    <a:pt x="116" y="0"/>
                    <a:pt x="116" y="0"/>
                  </a:cubicBezTo>
                  <a:cubicBezTo>
                    <a:pt x="150" y="0"/>
                    <a:pt x="191" y="45"/>
                    <a:pt x="191" y="75"/>
                  </a:cubicBezTo>
                  <a:cubicBezTo>
                    <a:pt x="191" y="75"/>
                    <a:pt x="191" y="87"/>
                    <a:pt x="193" y="102"/>
                  </a:cubicBezTo>
                  <a:cubicBezTo>
                    <a:pt x="195" y="117"/>
                    <a:pt x="247" y="170"/>
                    <a:pt x="247" y="189"/>
                  </a:cubicBezTo>
                  <a:cubicBezTo>
                    <a:pt x="247" y="198"/>
                    <a:pt x="219" y="208"/>
                    <a:pt x="219" y="208"/>
                  </a:cubicBezTo>
                  <a:cubicBezTo>
                    <a:pt x="219" y="208"/>
                    <a:pt x="219" y="210"/>
                    <a:pt x="219" y="213"/>
                  </a:cubicBezTo>
                  <a:cubicBezTo>
                    <a:pt x="219" y="220"/>
                    <a:pt x="223" y="230"/>
                    <a:pt x="223" y="235"/>
                  </a:cubicBezTo>
                  <a:cubicBezTo>
                    <a:pt x="223" y="235"/>
                    <a:pt x="222" y="240"/>
                    <a:pt x="216" y="241"/>
                  </a:cubicBezTo>
                  <a:cubicBezTo>
                    <a:pt x="216" y="241"/>
                    <a:pt x="209" y="242"/>
                    <a:pt x="208" y="243"/>
                  </a:cubicBezTo>
                  <a:cubicBezTo>
                    <a:pt x="208" y="244"/>
                    <a:pt x="221" y="243"/>
                    <a:pt x="221" y="252"/>
                  </a:cubicBezTo>
                  <a:cubicBezTo>
                    <a:pt x="221" y="262"/>
                    <a:pt x="209" y="260"/>
                    <a:pt x="209" y="281"/>
                  </a:cubicBezTo>
                  <a:cubicBezTo>
                    <a:pt x="209" y="281"/>
                    <a:pt x="209" y="283"/>
                    <a:pt x="209" y="285"/>
                  </a:cubicBezTo>
                  <a:cubicBezTo>
                    <a:pt x="209" y="312"/>
                    <a:pt x="189" y="331"/>
                    <a:pt x="174" y="331"/>
                  </a:cubicBezTo>
                  <a:moveTo>
                    <a:pt x="167" y="85"/>
                  </a:moveTo>
                  <a:cubicBezTo>
                    <a:pt x="173" y="85"/>
                    <a:pt x="176" y="79"/>
                    <a:pt x="176" y="73"/>
                  </a:cubicBezTo>
                  <a:cubicBezTo>
                    <a:pt x="176" y="72"/>
                    <a:pt x="175" y="71"/>
                    <a:pt x="171" y="71"/>
                  </a:cubicBezTo>
                  <a:cubicBezTo>
                    <a:pt x="163" y="71"/>
                    <a:pt x="149" y="69"/>
                    <a:pt x="130" y="69"/>
                  </a:cubicBezTo>
                  <a:cubicBezTo>
                    <a:pt x="96" y="69"/>
                    <a:pt x="89" y="81"/>
                    <a:pt x="89" y="84"/>
                  </a:cubicBezTo>
                  <a:cubicBezTo>
                    <a:pt x="89" y="87"/>
                    <a:pt x="93" y="87"/>
                    <a:pt x="93" y="87"/>
                  </a:cubicBezTo>
                  <a:cubicBezTo>
                    <a:pt x="99" y="87"/>
                    <a:pt x="108" y="83"/>
                    <a:pt x="126" y="83"/>
                  </a:cubicBezTo>
                  <a:cubicBezTo>
                    <a:pt x="144" y="83"/>
                    <a:pt x="167" y="85"/>
                    <a:pt x="167" y="85"/>
                  </a:cubicBezTo>
                  <a:moveTo>
                    <a:pt x="161" y="145"/>
                  </a:moveTo>
                  <a:cubicBezTo>
                    <a:pt x="161" y="143"/>
                    <a:pt x="159" y="143"/>
                    <a:pt x="159" y="143"/>
                  </a:cubicBezTo>
                  <a:cubicBezTo>
                    <a:pt x="159" y="143"/>
                    <a:pt x="162" y="137"/>
                    <a:pt x="162" y="130"/>
                  </a:cubicBezTo>
                  <a:cubicBezTo>
                    <a:pt x="162" y="124"/>
                    <a:pt x="158" y="118"/>
                    <a:pt x="158" y="117"/>
                  </a:cubicBezTo>
                  <a:cubicBezTo>
                    <a:pt x="158" y="116"/>
                    <a:pt x="162" y="115"/>
                    <a:pt x="162" y="112"/>
                  </a:cubicBezTo>
                  <a:cubicBezTo>
                    <a:pt x="162" y="110"/>
                    <a:pt x="158" y="106"/>
                    <a:pt x="151" y="106"/>
                  </a:cubicBezTo>
                  <a:cubicBezTo>
                    <a:pt x="126" y="106"/>
                    <a:pt x="105" y="122"/>
                    <a:pt x="105" y="127"/>
                  </a:cubicBezTo>
                  <a:cubicBezTo>
                    <a:pt x="105" y="129"/>
                    <a:pt x="106" y="131"/>
                    <a:pt x="111" y="131"/>
                  </a:cubicBezTo>
                  <a:cubicBezTo>
                    <a:pt x="121" y="131"/>
                    <a:pt x="133" y="124"/>
                    <a:pt x="134" y="124"/>
                  </a:cubicBezTo>
                  <a:cubicBezTo>
                    <a:pt x="134" y="124"/>
                    <a:pt x="135" y="124"/>
                    <a:pt x="135" y="127"/>
                  </a:cubicBezTo>
                  <a:cubicBezTo>
                    <a:pt x="135" y="134"/>
                    <a:pt x="138" y="142"/>
                    <a:pt x="138" y="142"/>
                  </a:cubicBezTo>
                  <a:cubicBezTo>
                    <a:pt x="138" y="142"/>
                    <a:pt x="126" y="140"/>
                    <a:pt x="126" y="144"/>
                  </a:cubicBezTo>
                  <a:cubicBezTo>
                    <a:pt x="126" y="148"/>
                    <a:pt x="136" y="150"/>
                    <a:pt x="147" y="150"/>
                  </a:cubicBezTo>
                  <a:cubicBezTo>
                    <a:pt x="159" y="150"/>
                    <a:pt x="161" y="146"/>
                    <a:pt x="161" y="145"/>
                  </a:cubicBezTo>
                  <a:moveTo>
                    <a:pt x="149" y="121"/>
                  </a:moveTo>
                  <a:cubicBezTo>
                    <a:pt x="147" y="121"/>
                    <a:pt x="145" y="125"/>
                    <a:pt x="146" y="130"/>
                  </a:cubicBezTo>
                  <a:cubicBezTo>
                    <a:pt x="147" y="134"/>
                    <a:pt x="150" y="137"/>
                    <a:pt x="152" y="137"/>
                  </a:cubicBezTo>
                  <a:cubicBezTo>
                    <a:pt x="154" y="136"/>
                    <a:pt x="156" y="132"/>
                    <a:pt x="155" y="128"/>
                  </a:cubicBezTo>
                  <a:cubicBezTo>
                    <a:pt x="154" y="124"/>
                    <a:pt x="151" y="120"/>
                    <a:pt x="149" y="121"/>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7" name="Picture 26">
            <a:extLst>
              <a:ext uri="{FF2B5EF4-FFF2-40B4-BE49-F238E27FC236}">
                <a16:creationId xmlns:a16="http://schemas.microsoft.com/office/drawing/2014/main" id="{7D1CA331-7C7F-43A8-A9B2-99BA0443C69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516624" y="2914043"/>
            <a:ext cx="2149898" cy="1029913"/>
          </a:xfrm>
          <a:prstGeom prst="rect">
            <a:avLst/>
          </a:prstGeom>
        </p:spPr>
      </p:pic>
    </p:spTree>
    <p:extLst>
      <p:ext uri="{BB962C8B-B14F-4D97-AF65-F5344CB8AC3E}">
        <p14:creationId xmlns:p14="http://schemas.microsoft.com/office/powerpoint/2010/main" val="3245879758"/>
      </p:ext>
    </p:extLst>
  </p:cSld>
  <p:clrMapOvr>
    <a:masterClrMapping/>
  </p:clrMapOvr>
  <p:transition spd="slow">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Title &amp;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4B48A-84AB-4FA6-A1A2-D3FADBD73764}"/>
              </a:ext>
            </a:extLst>
          </p:cNvPr>
          <p:cNvSpPr>
            <a:spLocks noGrp="1"/>
          </p:cNvSpPr>
          <p:nvPr>
            <p:ph type="title"/>
          </p:nvPr>
        </p:nvSpPr>
        <p:spPr>
          <a:xfrm>
            <a:off x="839788" y="854832"/>
            <a:ext cx="3932237" cy="973968"/>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278BF7-2347-4A49-ADED-0DAAD8CD298C}"/>
              </a:ext>
            </a:extLst>
          </p:cNvPr>
          <p:cNvSpPr>
            <a:spLocks noGrp="1"/>
          </p:cNvSpPr>
          <p:nvPr>
            <p:ph type="pic" idx="1"/>
          </p:nvPr>
        </p:nvSpPr>
        <p:spPr>
          <a:xfrm>
            <a:off x="5183188" y="854833"/>
            <a:ext cx="6172200" cy="50062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2372EA-8DDF-407D-BE40-F74A0EEC1944}"/>
              </a:ext>
            </a:extLst>
          </p:cNvPr>
          <p:cNvSpPr>
            <a:spLocks noGrp="1"/>
          </p:cNvSpPr>
          <p:nvPr>
            <p:ph type="body" sz="half" idx="2"/>
          </p:nvPr>
        </p:nvSpPr>
        <p:spPr>
          <a:xfrm>
            <a:off x="839788" y="2057400"/>
            <a:ext cx="3932237" cy="3811588"/>
          </a:xfr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Rectangle 5">
            <a:extLst>
              <a:ext uri="{FF2B5EF4-FFF2-40B4-BE49-F238E27FC236}">
                <a16:creationId xmlns:a16="http://schemas.microsoft.com/office/drawing/2014/main" id="{D1B56E4C-9B98-46B0-8DA2-9044A892C3E8}"/>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2717185"/>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5">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2010C88-3665-405F-BC33-1EEDCE372AFD}"/>
              </a:ext>
            </a:extLst>
          </p:cNvPr>
          <p:cNvSpPr/>
          <p:nvPr userDrawn="1"/>
        </p:nvSpPr>
        <p:spPr>
          <a:xfrm>
            <a:off x="6390719" y="2839309"/>
            <a:ext cx="4922657" cy="3414603"/>
          </a:xfrm>
          <a:prstGeom prst="rect">
            <a:avLst/>
          </a:prstGeom>
          <a:solidFill>
            <a:schemeClr val="bg1"/>
          </a:solidFill>
          <a:ln w="762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44B48A-84AB-4FA6-A1A2-D3FADBD73764}"/>
              </a:ext>
            </a:extLst>
          </p:cNvPr>
          <p:cNvSpPr>
            <a:spLocks noGrp="1"/>
          </p:cNvSpPr>
          <p:nvPr>
            <p:ph type="title" hasCustomPrompt="1"/>
          </p:nvPr>
        </p:nvSpPr>
        <p:spPr>
          <a:xfrm>
            <a:off x="839788" y="854832"/>
            <a:ext cx="10512424" cy="665624"/>
          </a:xfrm>
        </p:spPr>
        <p:txBody>
          <a:bodyPr anchor="b">
            <a:noAutofit/>
          </a:bodyPr>
          <a:lstStyle>
            <a:lvl1pPr algn="ctr">
              <a:defRPr sz="4400"/>
            </a:lvl1pPr>
          </a:lstStyle>
          <a:p>
            <a:r>
              <a:rPr lang="en-US"/>
              <a:t>Click to edit Master text styles</a:t>
            </a:r>
          </a:p>
        </p:txBody>
      </p:sp>
      <p:sp>
        <p:nvSpPr>
          <p:cNvPr id="22" name="Freeform: Shape 21">
            <a:extLst>
              <a:ext uri="{FF2B5EF4-FFF2-40B4-BE49-F238E27FC236}">
                <a16:creationId xmlns:a16="http://schemas.microsoft.com/office/drawing/2014/main" id="{095C5950-D966-4631-B36F-0521E9858E92}"/>
              </a:ext>
            </a:extLst>
          </p:cNvPr>
          <p:cNvSpPr/>
          <p:nvPr userDrawn="1"/>
        </p:nvSpPr>
        <p:spPr>
          <a:xfrm>
            <a:off x="839788" y="1935127"/>
            <a:ext cx="4997302" cy="871869"/>
          </a:xfrm>
          <a:custGeom>
            <a:avLst/>
            <a:gdLst>
              <a:gd name="connsiteX0" fmla="*/ 767332 w 4997302"/>
              <a:gd name="connsiteY0" fmla="*/ 0 h 871869"/>
              <a:gd name="connsiteX1" fmla="*/ 4229970 w 4997302"/>
              <a:gd name="connsiteY1" fmla="*/ 0 h 871869"/>
              <a:gd name="connsiteX2" fmla="*/ 4997302 w 4997302"/>
              <a:gd name="connsiteY2" fmla="*/ 767332 h 871869"/>
              <a:gd name="connsiteX3" fmla="*/ 4997302 w 4997302"/>
              <a:gd name="connsiteY3" fmla="*/ 871869 h 871869"/>
              <a:gd name="connsiteX4" fmla="*/ 0 w 4997302"/>
              <a:gd name="connsiteY4" fmla="*/ 871869 h 871869"/>
              <a:gd name="connsiteX5" fmla="*/ 0 w 4997302"/>
              <a:gd name="connsiteY5" fmla="*/ 767332 h 871869"/>
              <a:gd name="connsiteX6" fmla="*/ 767332 w 4997302"/>
              <a:gd name="connsiteY6" fmla="*/ 0 h 87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7302" h="871869">
                <a:moveTo>
                  <a:pt x="767332" y="0"/>
                </a:moveTo>
                <a:lnTo>
                  <a:pt x="4229970" y="0"/>
                </a:lnTo>
                <a:cubicBezTo>
                  <a:pt x="4653756" y="0"/>
                  <a:pt x="4997302" y="343546"/>
                  <a:pt x="4997302" y="767332"/>
                </a:cubicBezTo>
                <a:lnTo>
                  <a:pt x="4997302" y="871869"/>
                </a:lnTo>
                <a:lnTo>
                  <a:pt x="0" y="871869"/>
                </a:lnTo>
                <a:lnTo>
                  <a:pt x="0" y="767332"/>
                </a:lnTo>
                <a:cubicBezTo>
                  <a:pt x="0" y="343546"/>
                  <a:pt x="343546" y="0"/>
                  <a:pt x="767332" y="0"/>
                </a:cubicBezTo>
                <a:close/>
              </a:path>
            </a:pathLst>
          </a:cu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66306E5-A920-4B2C-8B0C-1A2CA6A831ED}"/>
              </a:ext>
            </a:extLst>
          </p:cNvPr>
          <p:cNvSpPr/>
          <p:nvPr userDrawn="1"/>
        </p:nvSpPr>
        <p:spPr>
          <a:xfrm>
            <a:off x="874293" y="2839309"/>
            <a:ext cx="4922656" cy="3414603"/>
          </a:xfrm>
          <a:prstGeom prst="rect">
            <a:avLst/>
          </a:prstGeom>
          <a:solidFill>
            <a:schemeClr val="bg1"/>
          </a:solidFill>
          <a:ln w="76200">
            <a:solidFill>
              <a:srgbClr val="8DC8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8B2372EA-8DDF-407D-BE40-F74A0EEC1944}"/>
              </a:ext>
            </a:extLst>
          </p:cNvPr>
          <p:cNvSpPr>
            <a:spLocks noGrp="1"/>
          </p:cNvSpPr>
          <p:nvPr userDrawn="1">
            <p:ph type="body" sz="half" idx="2"/>
          </p:nvPr>
        </p:nvSpPr>
        <p:spPr>
          <a:xfrm>
            <a:off x="1063254" y="3048475"/>
            <a:ext cx="4572001" cy="2920189"/>
          </a:xfr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7" name="Freeform: Shape 26">
            <a:extLst>
              <a:ext uri="{FF2B5EF4-FFF2-40B4-BE49-F238E27FC236}">
                <a16:creationId xmlns:a16="http://schemas.microsoft.com/office/drawing/2014/main" id="{CE13B60D-EEFC-4242-94E2-FC63C818C844}"/>
              </a:ext>
            </a:extLst>
          </p:cNvPr>
          <p:cNvSpPr/>
          <p:nvPr userDrawn="1"/>
        </p:nvSpPr>
        <p:spPr>
          <a:xfrm>
            <a:off x="6354910" y="1935127"/>
            <a:ext cx="4997302" cy="871869"/>
          </a:xfrm>
          <a:custGeom>
            <a:avLst/>
            <a:gdLst>
              <a:gd name="connsiteX0" fmla="*/ 767332 w 4997302"/>
              <a:gd name="connsiteY0" fmla="*/ 0 h 871869"/>
              <a:gd name="connsiteX1" fmla="*/ 4229970 w 4997302"/>
              <a:gd name="connsiteY1" fmla="*/ 0 h 871869"/>
              <a:gd name="connsiteX2" fmla="*/ 4997302 w 4997302"/>
              <a:gd name="connsiteY2" fmla="*/ 767332 h 871869"/>
              <a:gd name="connsiteX3" fmla="*/ 4997302 w 4997302"/>
              <a:gd name="connsiteY3" fmla="*/ 871869 h 871869"/>
              <a:gd name="connsiteX4" fmla="*/ 0 w 4997302"/>
              <a:gd name="connsiteY4" fmla="*/ 871869 h 871869"/>
              <a:gd name="connsiteX5" fmla="*/ 0 w 4997302"/>
              <a:gd name="connsiteY5" fmla="*/ 767332 h 871869"/>
              <a:gd name="connsiteX6" fmla="*/ 767332 w 4997302"/>
              <a:gd name="connsiteY6" fmla="*/ 0 h 87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7302" h="871869">
                <a:moveTo>
                  <a:pt x="767332" y="0"/>
                </a:moveTo>
                <a:lnTo>
                  <a:pt x="4229970" y="0"/>
                </a:lnTo>
                <a:cubicBezTo>
                  <a:pt x="4653756" y="0"/>
                  <a:pt x="4997302" y="343546"/>
                  <a:pt x="4997302" y="767332"/>
                </a:cubicBezTo>
                <a:lnTo>
                  <a:pt x="4997302" y="871869"/>
                </a:lnTo>
                <a:lnTo>
                  <a:pt x="0" y="871869"/>
                </a:lnTo>
                <a:lnTo>
                  <a:pt x="0" y="767332"/>
                </a:lnTo>
                <a:cubicBezTo>
                  <a:pt x="0" y="343546"/>
                  <a:pt x="343546" y="0"/>
                  <a:pt x="767332"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3">
            <a:extLst>
              <a:ext uri="{FF2B5EF4-FFF2-40B4-BE49-F238E27FC236}">
                <a16:creationId xmlns:a16="http://schemas.microsoft.com/office/drawing/2014/main" id="{E74DE2DA-327F-4A6F-9912-CE16420C0AC4}"/>
              </a:ext>
            </a:extLst>
          </p:cNvPr>
          <p:cNvSpPr>
            <a:spLocks noGrp="1"/>
          </p:cNvSpPr>
          <p:nvPr userDrawn="1">
            <p:ph type="body" sz="half" idx="10"/>
          </p:nvPr>
        </p:nvSpPr>
        <p:spPr>
          <a:xfrm>
            <a:off x="6578376" y="3048475"/>
            <a:ext cx="4572001" cy="2920189"/>
          </a:xfr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3" name="Text Placeholder 32">
            <a:extLst>
              <a:ext uri="{FF2B5EF4-FFF2-40B4-BE49-F238E27FC236}">
                <a16:creationId xmlns:a16="http://schemas.microsoft.com/office/drawing/2014/main" id="{9DEE66F7-40F9-44E8-86D0-CACD46EE9B5F}"/>
              </a:ext>
            </a:extLst>
          </p:cNvPr>
          <p:cNvSpPr>
            <a:spLocks noGrp="1"/>
          </p:cNvSpPr>
          <p:nvPr userDrawn="1">
            <p:ph type="body" sz="quarter" idx="11" hasCustomPrompt="1"/>
          </p:nvPr>
        </p:nvSpPr>
        <p:spPr>
          <a:xfrm>
            <a:off x="839788" y="1987881"/>
            <a:ext cx="4997302" cy="776583"/>
          </a:xfrm>
        </p:spPr>
        <p:txBody>
          <a:bodyPr>
            <a:normAutofit/>
          </a:bodyPr>
          <a:lstStyle>
            <a:lvl1pPr marL="0" indent="0" algn="ctr">
              <a:lnSpc>
                <a:spcPct val="100000"/>
              </a:lnSpc>
              <a:buFontTx/>
              <a:buNone/>
              <a:defRPr sz="2400"/>
            </a:lvl1pPr>
          </a:lstStyle>
          <a:p>
            <a:pPr lvl="0"/>
            <a:r>
              <a:rPr lang="en-US"/>
              <a:t>Click to edit </a:t>
            </a:r>
            <a:br>
              <a:rPr lang="en-US"/>
            </a:br>
            <a:r>
              <a:rPr lang="en-US"/>
              <a:t>Master text styles</a:t>
            </a:r>
          </a:p>
        </p:txBody>
      </p:sp>
      <p:sp>
        <p:nvSpPr>
          <p:cNvPr id="34" name="Text Placeholder 32">
            <a:extLst>
              <a:ext uri="{FF2B5EF4-FFF2-40B4-BE49-F238E27FC236}">
                <a16:creationId xmlns:a16="http://schemas.microsoft.com/office/drawing/2014/main" id="{C37D94A9-415C-4744-BB2E-BB53EBEE562B}"/>
              </a:ext>
            </a:extLst>
          </p:cNvPr>
          <p:cNvSpPr>
            <a:spLocks noGrp="1"/>
          </p:cNvSpPr>
          <p:nvPr userDrawn="1">
            <p:ph type="body" sz="quarter" idx="12" hasCustomPrompt="1"/>
          </p:nvPr>
        </p:nvSpPr>
        <p:spPr>
          <a:xfrm>
            <a:off x="6365725" y="1987881"/>
            <a:ext cx="4997302" cy="776583"/>
          </a:xfrm>
        </p:spPr>
        <p:txBody>
          <a:bodyPr>
            <a:normAutofit/>
          </a:bodyPr>
          <a:lstStyle>
            <a:lvl1pPr marL="0" indent="0" algn="ctr">
              <a:lnSpc>
                <a:spcPct val="100000"/>
              </a:lnSpc>
              <a:buFontTx/>
              <a:buNone/>
              <a:defRPr sz="2400"/>
            </a:lvl1pPr>
          </a:lstStyle>
          <a:p>
            <a:pPr lvl="0"/>
            <a:r>
              <a:rPr lang="en-US"/>
              <a:t>Click to edit </a:t>
            </a:r>
            <a:br>
              <a:rPr lang="en-US"/>
            </a:br>
            <a:r>
              <a:rPr lang="en-US"/>
              <a:t>Master text styles</a:t>
            </a:r>
          </a:p>
        </p:txBody>
      </p:sp>
      <p:sp>
        <p:nvSpPr>
          <p:cNvPr id="13" name="Rectangle 12">
            <a:extLst>
              <a:ext uri="{FF2B5EF4-FFF2-40B4-BE49-F238E27FC236}">
                <a16:creationId xmlns:a16="http://schemas.microsoft.com/office/drawing/2014/main" id="{9EB54D89-8090-49F4-9EC0-B3FF75E367D3}"/>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2811548"/>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Title &amp; Conten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4DA92-8A3B-4CAE-B621-D8292104891E}"/>
              </a:ext>
            </a:extLst>
          </p:cNvPr>
          <p:cNvSpPr>
            <a:spLocks noGrp="1"/>
          </p:cNvSpPr>
          <p:nvPr>
            <p:ph type="title"/>
          </p:nvPr>
        </p:nvSpPr>
        <p:spPr>
          <a:xfrm>
            <a:off x="839788" y="862770"/>
            <a:ext cx="3932237" cy="955397"/>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2F7ACB-67E3-46EC-B5A7-C8631978B17B}"/>
              </a:ext>
            </a:extLst>
          </p:cNvPr>
          <p:cNvSpPr>
            <a:spLocks noGrp="1"/>
          </p:cNvSpPr>
          <p:nvPr>
            <p:ph idx="1"/>
          </p:nvPr>
        </p:nvSpPr>
        <p:spPr>
          <a:xfrm>
            <a:off x="5183188" y="862771"/>
            <a:ext cx="6172200" cy="4998280"/>
          </a:xfrm>
        </p:spPr>
        <p:txBody>
          <a:bodyPr/>
          <a:lstStyle>
            <a:lvl1pPr>
              <a:lnSpc>
                <a:spcPct val="150000"/>
              </a:lnSpc>
              <a:defRPr sz="2800"/>
            </a:lvl1pPr>
            <a:lvl2pPr>
              <a:lnSpc>
                <a:spcPct val="150000"/>
              </a:lnSpc>
              <a:defRPr sz="2400"/>
            </a:lvl2pPr>
            <a:lvl3pPr>
              <a:lnSpc>
                <a:spcPct val="150000"/>
              </a:lnSpc>
              <a:defRPr sz="2000"/>
            </a:lvl3pPr>
            <a:lvl4pPr>
              <a:lnSpc>
                <a:spcPct val="150000"/>
              </a:lnSpc>
              <a:defRPr sz="1600"/>
            </a:lvl4pPr>
            <a:lvl5pPr>
              <a:lnSpc>
                <a:spcPct val="150000"/>
              </a:lnSpc>
              <a:defRPr sz="12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F2C623-F4DA-4901-9E04-CC2C638350C5}"/>
              </a:ext>
            </a:extLst>
          </p:cNvPr>
          <p:cNvSpPr>
            <a:spLocks noGrp="1"/>
          </p:cNvSpPr>
          <p:nvPr>
            <p:ph type="body" sz="half" idx="2"/>
          </p:nvPr>
        </p:nvSpPr>
        <p:spPr>
          <a:xfrm>
            <a:off x="839788" y="2057400"/>
            <a:ext cx="3932237" cy="3811588"/>
          </a:xfr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Rectangle 5">
            <a:extLst>
              <a:ext uri="{FF2B5EF4-FFF2-40B4-BE49-F238E27FC236}">
                <a16:creationId xmlns:a16="http://schemas.microsoft.com/office/drawing/2014/main" id="{F6C277C0-DB7F-4712-B9A2-8D0AAAC60E1E}"/>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6926792"/>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278BF7-2347-4A49-ADED-0DAAD8CD298C}"/>
              </a:ext>
            </a:extLst>
          </p:cNvPr>
          <p:cNvSpPr>
            <a:spLocks noGrp="1"/>
          </p:cNvSpPr>
          <p:nvPr>
            <p:ph type="pic" idx="1"/>
          </p:nvPr>
        </p:nvSpPr>
        <p:spPr>
          <a:xfrm>
            <a:off x="0" y="264696"/>
            <a:ext cx="12192000" cy="659330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Rectangle 3">
            <a:extLst>
              <a:ext uri="{FF2B5EF4-FFF2-40B4-BE49-F238E27FC236}">
                <a16:creationId xmlns:a16="http://schemas.microsoft.com/office/drawing/2014/main" id="{B0CFDAB2-FBCA-45C3-A3A3-B235A4FE090A}"/>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7785487"/>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26BB6B4D-2088-4827-8FD4-3AF659488398}"/>
              </a:ext>
            </a:extLst>
          </p:cNvPr>
          <p:cNvSpPr>
            <a:spLocks noGrp="1"/>
          </p:cNvSpPr>
          <p:nvPr>
            <p:ph type="media"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395222315"/>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726350"/>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73AD5A-AE09-4034-8130-FA8E6D6979AA}"/>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DC93105-F387-471A-B8C7-7C7B3C1E9B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10003" y="3210675"/>
            <a:ext cx="1294205" cy="476293"/>
          </a:xfrm>
          <a:prstGeom prst="rect">
            <a:avLst/>
          </a:prstGeom>
        </p:spPr>
      </p:pic>
      <p:grpSp>
        <p:nvGrpSpPr>
          <p:cNvPr id="5" name="Group 4">
            <a:extLst>
              <a:ext uri="{FF2B5EF4-FFF2-40B4-BE49-F238E27FC236}">
                <a16:creationId xmlns:a16="http://schemas.microsoft.com/office/drawing/2014/main" id="{44B11FF7-7958-4726-8534-C4113F193251}"/>
              </a:ext>
            </a:extLst>
          </p:cNvPr>
          <p:cNvGrpSpPr/>
          <p:nvPr userDrawn="1"/>
        </p:nvGrpSpPr>
        <p:grpSpPr>
          <a:xfrm>
            <a:off x="5534062" y="3236743"/>
            <a:ext cx="1341659" cy="460801"/>
            <a:chOff x="5021263" y="4232276"/>
            <a:chExt cx="3711575" cy="1274762"/>
          </a:xfrm>
        </p:grpSpPr>
        <p:sp>
          <p:nvSpPr>
            <p:cNvPr id="7" name="Freeform 9">
              <a:extLst>
                <a:ext uri="{FF2B5EF4-FFF2-40B4-BE49-F238E27FC236}">
                  <a16:creationId xmlns:a16="http://schemas.microsoft.com/office/drawing/2014/main" id="{6D2B0DB9-D5D8-4734-A7BB-E085C6809150}"/>
                </a:ext>
              </a:extLst>
            </p:cNvPr>
            <p:cNvSpPr>
              <a:spLocks noEditPoints="1"/>
            </p:cNvSpPr>
            <p:nvPr userDrawn="1"/>
          </p:nvSpPr>
          <p:spPr bwMode="auto">
            <a:xfrm>
              <a:off x="5021263" y="5141913"/>
              <a:ext cx="3667125" cy="365125"/>
            </a:xfrm>
            <a:custGeom>
              <a:avLst/>
              <a:gdLst>
                <a:gd name="T0" fmla="*/ 1645 w 1680"/>
                <a:gd name="T1" fmla="*/ 53 h 167"/>
                <a:gd name="T2" fmla="*/ 1628 w 1680"/>
                <a:gd name="T3" fmla="*/ 66 h 167"/>
                <a:gd name="T4" fmla="*/ 1641 w 1680"/>
                <a:gd name="T5" fmla="*/ 96 h 167"/>
                <a:gd name="T6" fmla="*/ 1618 w 1680"/>
                <a:gd name="T7" fmla="*/ 44 h 167"/>
                <a:gd name="T8" fmla="*/ 1541 w 1680"/>
                <a:gd name="T9" fmla="*/ 56 h 167"/>
                <a:gd name="T10" fmla="*/ 1506 w 1680"/>
                <a:gd name="T11" fmla="*/ 109 h 167"/>
                <a:gd name="T12" fmla="*/ 1448 w 1680"/>
                <a:gd name="T13" fmla="*/ 52 h 167"/>
                <a:gd name="T14" fmla="*/ 1475 w 1680"/>
                <a:gd name="T15" fmla="*/ 98 h 167"/>
                <a:gd name="T16" fmla="*/ 1448 w 1680"/>
                <a:gd name="T17" fmla="*/ 52 h 167"/>
                <a:gd name="T18" fmla="*/ 1429 w 1680"/>
                <a:gd name="T19" fmla="*/ 109 h 167"/>
                <a:gd name="T20" fmla="*/ 1400 w 1680"/>
                <a:gd name="T21" fmla="*/ 46 h 167"/>
                <a:gd name="T22" fmla="*/ 1390 w 1680"/>
                <a:gd name="T23" fmla="*/ 118 h 167"/>
                <a:gd name="T24" fmla="*/ 1350 w 1680"/>
                <a:gd name="T25" fmla="*/ 64 h 167"/>
                <a:gd name="T26" fmla="*/ 1369 w 1680"/>
                <a:gd name="T27" fmla="*/ 113 h 167"/>
                <a:gd name="T28" fmla="*/ 1254 w 1680"/>
                <a:gd name="T29" fmla="*/ 56 h 167"/>
                <a:gd name="T30" fmla="*/ 1300 w 1680"/>
                <a:gd name="T31" fmla="*/ 118 h 167"/>
                <a:gd name="T32" fmla="*/ 1235 w 1680"/>
                <a:gd name="T33" fmla="*/ 52 h 167"/>
                <a:gd name="T34" fmla="*/ 1152 w 1680"/>
                <a:gd name="T35" fmla="*/ 86 h 167"/>
                <a:gd name="T36" fmla="*/ 1153 w 1680"/>
                <a:gd name="T37" fmla="*/ 66 h 167"/>
                <a:gd name="T38" fmla="*/ 1139 w 1680"/>
                <a:gd name="T39" fmla="*/ 110 h 167"/>
                <a:gd name="T40" fmla="*/ 1068 w 1680"/>
                <a:gd name="T41" fmla="*/ 19 h 167"/>
                <a:gd name="T42" fmla="*/ 1085 w 1680"/>
                <a:gd name="T43" fmla="*/ 46 h 167"/>
                <a:gd name="T44" fmla="*/ 1022 w 1680"/>
                <a:gd name="T45" fmla="*/ 73 h 167"/>
                <a:gd name="T46" fmla="*/ 1024 w 1680"/>
                <a:gd name="T47" fmla="*/ 44 h 167"/>
                <a:gd name="T48" fmla="*/ 1017 w 1680"/>
                <a:gd name="T49" fmla="*/ 112 h 167"/>
                <a:gd name="T50" fmla="*/ 944 w 1680"/>
                <a:gd name="T51" fmla="*/ 113 h 167"/>
                <a:gd name="T52" fmla="*/ 933 w 1680"/>
                <a:gd name="T53" fmla="*/ 115 h 167"/>
                <a:gd name="T54" fmla="*/ 842 w 1680"/>
                <a:gd name="T55" fmla="*/ 118 h 167"/>
                <a:gd name="T56" fmla="*/ 902 w 1680"/>
                <a:gd name="T57" fmla="*/ 71 h 167"/>
                <a:gd name="T58" fmla="*/ 823 w 1680"/>
                <a:gd name="T59" fmla="*/ 142 h 167"/>
                <a:gd name="T60" fmla="*/ 807 w 1680"/>
                <a:gd name="T61" fmla="*/ 71 h 167"/>
                <a:gd name="T62" fmla="*/ 772 w 1680"/>
                <a:gd name="T63" fmla="*/ 53 h 167"/>
                <a:gd name="T64" fmla="*/ 770 w 1680"/>
                <a:gd name="T65" fmla="*/ 162 h 167"/>
                <a:gd name="T66" fmla="*/ 784 w 1680"/>
                <a:gd name="T67" fmla="*/ 98 h 167"/>
                <a:gd name="T68" fmla="*/ 717 w 1680"/>
                <a:gd name="T69" fmla="*/ 113 h 167"/>
                <a:gd name="T70" fmla="*/ 744 w 1680"/>
                <a:gd name="T71" fmla="*/ 52 h 167"/>
                <a:gd name="T72" fmla="*/ 733 w 1680"/>
                <a:gd name="T73" fmla="*/ 67 h 167"/>
                <a:gd name="T74" fmla="*/ 656 w 1680"/>
                <a:gd name="T75" fmla="*/ 5 h 167"/>
                <a:gd name="T76" fmla="*/ 656 w 1680"/>
                <a:gd name="T77" fmla="*/ 118 h 167"/>
                <a:gd name="T78" fmla="*/ 611 w 1680"/>
                <a:gd name="T79" fmla="*/ 107 h 167"/>
                <a:gd name="T80" fmla="*/ 634 w 1680"/>
                <a:gd name="T81" fmla="*/ 0 h 167"/>
                <a:gd name="T82" fmla="*/ 596 w 1680"/>
                <a:gd name="T83" fmla="*/ 120 h 167"/>
                <a:gd name="T84" fmla="*/ 494 w 1680"/>
                <a:gd name="T85" fmla="*/ 56 h 167"/>
                <a:gd name="T86" fmla="*/ 459 w 1680"/>
                <a:gd name="T87" fmla="*/ 109 h 167"/>
                <a:gd name="T88" fmla="*/ 388 w 1680"/>
                <a:gd name="T89" fmla="*/ 108 h 167"/>
                <a:gd name="T90" fmla="*/ 412 w 1680"/>
                <a:gd name="T91" fmla="*/ 49 h 167"/>
                <a:gd name="T92" fmla="*/ 392 w 1680"/>
                <a:gd name="T93" fmla="*/ 81 h 167"/>
                <a:gd name="T94" fmla="*/ 384 w 1680"/>
                <a:gd name="T95" fmla="*/ 96 h 167"/>
                <a:gd name="T96" fmla="*/ 309 w 1680"/>
                <a:gd name="T97" fmla="*/ 46 h 167"/>
                <a:gd name="T98" fmla="*/ 272 w 1680"/>
                <a:gd name="T99" fmla="*/ 101 h 167"/>
                <a:gd name="T100" fmla="*/ 289 w 1680"/>
                <a:gd name="T101" fmla="*/ 60 h 167"/>
                <a:gd name="T102" fmla="*/ 272 w 1680"/>
                <a:gd name="T103" fmla="*/ 54 h 167"/>
                <a:gd name="T104" fmla="*/ 274 w 1680"/>
                <a:gd name="T105" fmla="*/ 118 h 167"/>
                <a:gd name="T106" fmla="*/ 194 w 1680"/>
                <a:gd name="T107" fmla="*/ 44 h 167"/>
                <a:gd name="T108" fmla="*/ 210 w 1680"/>
                <a:gd name="T109" fmla="*/ 106 h 167"/>
                <a:gd name="T110" fmla="*/ 99 w 1680"/>
                <a:gd name="T111" fmla="*/ 49 h 167"/>
                <a:gd name="T112" fmla="*/ 120 w 1680"/>
                <a:gd name="T113" fmla="*/ 114 h 167"/>
                <a:gd name="T114" fmla="*/ 30 w 1680"/>
                <a:gd name="T115" fmla="*/ 112 h 167"/>
                <a:gd name="T116" fmla="*/ 30 w 1680"/>
                <a:gd name="T117" fmla="*/ 58 h 167"/>
                <a:gd name="T118" fmla="*/ 44 w 1680"/>
                <a:gd name="T119" fmla="*/ 6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0" h="167">
                  <a:moveTo>
                    <a:pt x="1630" y="108"/>
                  </a:moveTo>
                  <a:cubicBezTo>
                    <a:pt x="1634" y="116"/>
                    <a:pt x="1642" y="120"/>
                    <a:pt x="1654" y="120"/>
                  </a:cubicBezTo>
                  <a:cubicBezTo>
                    <a:pt x="1661" y="120"/>
                    <a:pt x="1666" y="119"/>
                    <a:pt x="1670" y="116"/>
                  </a:cubicBezTo>
                  <a:cubicBezTo>
                    <a:pt x="1677" y="112"/>
                    <a:pt x="1680" y="105"/>
                    <a:pt x="1680" y="97"/>
                  </a:cubicBezTo>
                  <a:cubicBezTo>
                    <a:pt x="1680" y="92"/>
                    <a:pt x="1679" y="89"/>
                    <a:pt x="1678" y="86"/>
                  </a:cubicBezTo>
                  <a:cubicBezTo>
                    <a:pt x="1675" y="81"/>
                    <a:pt x="1670" y="78"/>
                    <a:pt x="1662" y="76"/>
                  </a:cubicBezTo>
                  <a:cubicBezTo>
                    <a:pt x="1652" y="73"/>
                    <a:pt x="1652" y="73"/>
                    <a:pt x="1652" y="73"/>
                  </a:cubicBezTo>
                  <a:cubicBezTo>
                    <a:pt x="1645" y="71"/>
                    <a:pt x="1642" y="67"/>
                    <a:pt x="1642" y="61"/>
                  </a:cubicBezTo>
                  <a:cubicBezTo>
                    <a:pt x="1642" y="58"/>
                    <a:pt x="1643" y="55"/>
                    <a:pt x="1645" y="53"/>
                  </a:cubicBezTo>
                  <a:cubicBezTo>
                    <a:pt x="1647" y="51"/>
                    <a:pt x="1650" y="49"/>
                    <a:pt x="1654" y="49"/>
                  </a:cubicBezTo>
                  <a:cubicBezTo>
                    <a:pt x="1656" y="49"/>
                    <a:pt x="1658" y="50"/>
                    <a:pt x="1660" y="51"/>
                  </a:cubicBezTo>
                  <a:cubicBezTo>
                    <a:pt x="1662" y="52"/>
                    <a:pt x="1663" y="53"/>
                    <a:pt x="1663" y="55"/>
                  </a:cubicBezTo>
                  <a:cubicBezTo>
                    <a:pt x="1664" y="57"/>
                    <a:pt x="1665" y="61"/>
                    <a:pt x="1665" y="66"/>
                  </a:cubicBezTo>
                  <a:cubicBezTo>
                    <a:pt x="1679" y="66"/>
                    <a:pt x="1679" y="66"/>
                    <a:pt x="1679" y="66"/>
                  </a:cubicBezTo>
                  <a:cubicBezTo>
                    <a:pt x="1678" y="61"/>
                    <a:pt x="1677" y="57"/>
                    <a:pt x="1675" y="54"/>
                  </a:cubicBezTo>
                  <a:cubicBezTo>
                    <a:pt x="1671" y="47"/>
                    <a:pt x="1664" y="44"/>
                    <a:pt x="1654" y="44"/>
                  </a:cubicBezTo>
                  <a:cubicBezTo>
                    <a:pt x="1648" y="44"/>
                    <a:pt x="1642" y="45"/>
                    <a:pt x="1638" y="48"/>
                  </a:cubicBezTo>
                  <a:cubicBezTo>
                    <a:pt x="1632" y="52"/>
                    <a:pt x="1628" y="58"/>
                    <a:pt x="1628" y="66"/>
                  </a:cubicBezTo>
                  <a:cubicBezTo>
                    <a:pt x="1628" y="72"/>
                    <a:pt x="1630" y="77"/>
                    <a:pt x="1634" y="81"/>
                  </a:cubicBezTo>
                  <a:cubicBezTo>
                    <a:pt x="1637" y="83"/>
                    <a:pt x="1642" y="86"/>
                    <a:pt x="1648" y="88"/>
                  </a:cubicBezTo>
                  <a:cubicBezTo>
                    <a:pt x="1656" y="90"/>
                    <a:pt x="1656" y="90"/>
                    <a:pt x="1656" y="90"/>
                  </a:cubicBezTo>
                  <a:cubicBezTo>
                    <a:pt x="1663" y="92"/>
                    <a:pt x="1667" y="96"/>
                    <a:pt x="1667" y="102"/>
                  </a:cubicBezTo>
                  <a:cubicBezTo>
                    <a:pt x="1667" y="105"/>
                    <a:pt x="1666" y="108"/>
                    <a:pt x="1664" y="110"/>
                  </a:cubicBezTo>
                  <a:cubicBezTo>
                    <a:pt x="1662" y="113"/>
                    <a:pt x="1659" y="115"/>
                    <a:pt x="1654" y="115"/>
                  </a:cubicBezTo>
                  <a:cubicBezTo>
                    <a:pt x="1651" y="115"/>
                    <a:pt x="1649" y="114"/>
                    <a:pt x="1646" y="112"/>
                  </a:cubicBezTo>
                  <a:cubicBezTo>
                    <a:pt x="1645" y="111"/>
                    <a:pt x="1643" y="110"/>
                    <a:pt x="1643" y="108"/>
                  </a:cubicBezTo>
                  <a:cubicBezTo>
                    <a:pt x="1641" y="105"/>
                    <a:pt x="1641" y="101"/>
                    <a:pt x="1641" y="96"/>
                  </a:cubicBezTo>
                  <a:cubicBezTo>
                    <a:pt x="1626" y="96"/>
                    <a:pt x="1626" y="96"/>
                    <a:pt x="1626" y="96"/>
                  </a:cubicBezTo>
                  <a:cubicBezTo>
                    <a:pt x="1627" y="101"/>
                    <a:pt x="1628" y="105"/>
                    <a:pt x="1630" y="108"/>
                  </a:cubicBezTo>
                  <a:moveTo>
                    <a:pt x="1578" y="118"/>
                  </a:moveTo>
                  <a:cubicBezTo>
                    <a:pt x="1595" y="118"/>
                    <a:pt x="1595" y="118"/>
                    <a:pt x="1595" y="118"/>
                  </a:cubicBezTo>
                  <a:cubicBezTo>
                    <a:pt x="1595" y="79"/>
                    <a:pt x="1595" y="79"/>
                    <a:pt x="1595" y="79"/>
                  </a:cubicBezTo>
                  <a:cubicBezTo>
                    <a:pt x="1595" y="73"/>
                    <a:pt x="1597" y="68"/>
                    <a:pt x="1599" y="64"/>
                  </a:cubicBezTo>
                  <a:cubicBezTo>
                    <a:pt x="1601" y="61"/>
                    <a:pt x="1604" y="60"/>
                    <a:pt x="1608" y="60"/>
                  </a:cubicBezTo>
                  <a:cubicBezTo>
                    <a:pt x="1610" y="60"/>
                    <a:pt x="1614" y="61"/>
                    <a:pt x="1618" y="62"/>
                  </a:cubicBezTo>
                  <a:cubicBezTo>
                    <a:pt x="1618" y="44"/>
                    <a:pt x="1618" y="44"/>
                    <a:pt x="1618" y="44"/>
                  </a:cubicBezTo>
                  <a:cubicBezTo>
                    <a:pt x="1611" y="45"/>
                    <a:pt x="1607" y="47"/>
                    <a:pt x="1603" y="50"/>
                  </a:cubicBezTo>
                  <a:cubicBezTo>
                    <a:pt x="1600" y="53"/>
                    <a:pt x="1597" y="59"/>
                    <a:pt x="1594" y="67"/>
                  </a:cubicBezTo>
                  <a:cubicBezTo>
                    <a:pt x="1594" y="46"/>
                    <a:pt x="1594" y="46"/>
                    <a:pt x="1594" y="46"/>
                  </a:cubicBezTo>
                  <a:cubicBezTo>
                    <a:pt x="1578" y="46"/>
                    <a:pt x="1578" y="46"/>
                    <a:pt x="1578" y="46"/>
                  </a:cubicBezTo>
                  <a:lnTo>
                    <a:pt x="1578" y="118"/>
                  </a:lnTo>
                  <a:close/>
                  <a:moveTo>
                    <a:pt x="1514" y="77"/>
                  </a:moveTo>
                  <a:cubicBezTo>
                    <a:pt x="1514" y="72"/>
                    <a:pt x="1514" y="67"/>
                    <a:pt x="1516" y="63"/>
                  </a:cubicBezTo>
                  <a:cubicBezTo>
                    <a:pt x="1518" y="54"/>
                    <a:pt x="1523" y="49"/>
                    <a:pt x="1530" y="49"/>
                  </a:cubicBezTo>
                  <a:cubicBezTo>
                    <a:pt x="1535" y="49"/>
                    <a:pt x="1539" y="51"/>
                    <a:pt x="1541" y="56"/>
                  </a:cubicBezTo>
                  <a:cubicBezTo>
                    <a:pt x="1544" y="62"/>
                    <a:pt x="1546" y="69"/>
                    <a:pt x="1546" y="77"/>
                  </a:cubicBezTo>
                  <a:lnTo>
                    <a:pt x="1514" y="77"/>
                  </a:lnTo>
                  <a:close/>
                  <a:moveTo>
                    <a:pt x="1552" y="52"/>
                  </a:moveTo>
                  <a:cubicBezTo>
                    <a:pt x="1546" y="47"/>
                    <a:pt x="1539" y="44"/>
                    <a:pt x="1530" y="44"/>
                  </a:cubicBezTo>
                  <a:cubicBezTo>
                    <a:pt x="1523" y="44"/>
                    <a:pt x="1517" y="46"/>
                    <a:pt x="1512" y="49"/>
                  </a:cubicBezTo>
                  <a:cubicBezTo>
                    <a:pt x="1508" y="52"/>
                    <a:pt x="1505" y="56"/>
                    <a:pt x="1502" y="60"/>
                  </a:cubicBezTo>
                  <a:cubicBezTo>
                    <a:pt x="1499" y="66"/>
                    <a:pt x="1498" y="73"/>
                    <a:pt x="1498" y="81"/>
                  </a:cubicBezTo>
                  <a:cubicBezTo>
                    <a:pt x="1498" y="86"/>
                    <a:pt x="1498" y="91"/>
                    <a:pt x="1499" y="95"/>
                  </a:cubicBezTo>
                  <a:cubicBezTo>
                    <a:pt x="1501" y="101"/>
                    <a:pt x="1503" y="105"/>
                    <a:pt x="1506" y="109"/>
                  </a:cubicBezTo>
                  <a:cubicBezTo>
                    <a:pt x="1512" y="116"/>
                    <a:pt x="1520" y="120"/>
                    <a:pt x="1531" y="120"/>
                  </a:cubicBezTo>
                  <a:cubicBezTo>
                    <a:pt x="1547" y="120"/>
                    <a:pt x="1557" y="112"/>
                    <a:pt x="1560" y="97"/>
                  </a:cubicBezTo>
                  <a:cubicBezTo>
                    <a:pt x="1553" y="97"/>
                    <a:pt x="1553" y="97"/>
                    <a:pt x="1553" y="97"/>
                  </a:cubicBezTo>
                  <a:cubicBezTo>
                    <a:pt x="1552" y="101"/>
                    <a:pt x="1551" y="104"/>
                    <a:pt x="1548" y="107"/>
                  </a:cubicBezTo>
                  <a:cubicBezTo>
                    <a:pt x="1544" y="112"/>
                    <a:pt x="1539" y="114"/>
                    <a:pt x="1533" y="114"/>
                  </a:cubicBezTo>
                  <a:cubicBezTo>
                    <a:pt x="1520" y="114"/>
                    <a:pt x="1514" y="104"/>
                    <a:pt x="1514" y="83"/>
                  </a:cubicBezTo>
                  <a:cubicBezTo>
                    <a:pt x="1562" y="83"/>
                    <a:pt x="1562" y="83"/>
                    <a:pt x="1562" y="83"/>
                  </a:cubicBezTo>
                  <a:cubicBezTo>
                    <a:pt x="1561" y="68"/>
                    <a:pt x="1558" y="58"/>
                    <a:pt x="1552" y="52"/>
                  </a:cubicBezTo>
                  <a:moveTo>
                    <a:pt x="1448" y="52"/>
                  </a:moveTo>
                  <a:cubicBezTo>
                    <a:pt x="1458" y="52"/>
                    <a:pt x="1458" y="52"/>
                    <a:pt x="1458" y="52"/>
                  </a:cubicBezTo>
                  <a:cubicBezTo>
                    <a:pt x="1458" y="96"/>
                    <a:pt x="1458" y="96"/>
                    <a:pt x="1458" y="96"/>
                  </a:cubicBezTo>
                  <a:cubicBezTo>
                    <a:pt x="1458" y="103"/>
                    <a:pt x="1459" y="108"/>
                    <a:pt x="1460" y="111"/>
                  </a:cubicBezTo>
                  <a:cubicBezTo>
                    <a:pt x="1463" y="117"/>
                    <a:pt x="1468" y="120"/>
                    <a:pt x="1476" y="120"/>
                  </a:cubicBezTo>
                  <a:cubicBezTo>
                    <a:pt x="1480" y="120"/>
                    <a:pt x="1486" y="119"/>
                    <a:pt x="1493" y="117"/>
                  </a:cubicBezTo>
                  <a:cubicBezTo>
                    <a:pt x="1493" y="111"/>
                    <a:pt x="1493" y="111"/>
                    <a:pt x="1493" y="111"/>
                  </a:cubicBezTo>
                  <a:cubicBezTo>
                    <a:pt x="1488" y="112"/>
                    <a:pt x="1484" y="113"/>
                    <a:pt x="1483" y="113"/>
                  </a:cubicBezTo>
                  <a:cubicBezTo>
                    <a:pt x="1480" y="113"/>
                    <a:pt x="1477" y="112"/>
                    <a:pt x="1476" y="109"/>
                  </a:cubicBezTo>
                  <a:cubicBezTo>
                    <a:pt x="1475" y="107"/>
                    <a:pt x="1475" y="103"/>
                    <a:pt x="1475" y="98"/>
                  </a:cubicBezTo>
                  <a:cubicBezTo>
                    <a:pt x="1475" y="52"/>
                    <a:pt x="1475" y="52"/>
                    <a:pt x="1475" y="52"/>
                  </a:cubicBezTo>
                  <a:cubicBezTo>
                    <a:pt x="1493" y="52"/>
                    <a:pt x="1493" y="52"/>
                    <a:pt x="1493" y="52"/>
                  </a:cubicBezTo>
                  <a:cubicBezTo>
                    <a:pt x="1493" y="46"/>
                    <a:pt x="1493" y="46"/>
                    <a:pt x="1493" y="46"/>
                  </a:cubicBezTo>
                  <a:cubicBezTo>
                    <a:pt x="1475" y="46"/>
                    <a:pt x="1475" y="46"/>
                    <a:pt x="1475" y="46"/>
                  </a:cubicBezTo>
                  <a:cubicBezTo>
                    <a:pt x="1475" y="21"/>
                    <a:pt x="1475" y="21"/>
                    <a:pt x="1475" y="21"/>
                  </a:cubicBezTo>
                  <a:cubicBezTo>
                    <a:pt x="1458" y="25"/>
                    <a:pt x="1458" y="25"/>
                    <a:pt x="1458" y="25"/>
                  </a:cubicBezTo>
                  <a:cubicBezTo>
                    <a:pt x="1458" y="46"/>
                    <a:pt x="1458" y="46"/>
                    <a:pt x="1458" y="46"/>
                  </a:cubicBezTo>
                  <a:cubicBezTo>
                    <a:pt x="1448" y="46"/>
                    <a:pt x="1448" y="46"/>
                    <a:pt x="1448" y="46"/>
                  </a:cubicBezTo>
                  <a:lnTo>
                    <a:pt x="1448" y="52"/>
                  </a:lnTo>
                  <a:close/>
                  <a:moveTo>
                    <a:pt x="1400" y="52"/>
                  </a:moveTo>
                  <a:cubicBezTo>
                    <a:pt x="1410" y="52"/>
                    <a:pt x="1410" y="52"/>
                    <a:pt x="1410" y="52"/>
                  </a:cubicBezTo>
                  <a:cubicBezTo>
                    <a:pt x="1410" y="96"/>
                    <a:pt x="1410" y="96"/>
                    <a:pt x="1410" y="96"/>
                  </a:cubicBezTo>
                  <a:cubicBezTo>
                    <a:pt x="1410" y="103"/>
                    <a:pt x="1411" y="108"/>
                    <a:pt x="1413" y="111"/>
                  </a:cubicBezTo>
                  <a:cubicBezTo>
                    <a:pt x="1416" y="117"/>
                    <a:pt x="1421" y="120"/>
                    <a:pt x="1428" y="120"/>
                  </a:cubicBezTo>
                  <a:cubicBezTo>
                    <a:pt x="1433" y="120"/>
                    <a:pt x="1439" y="119"/>
                    <a:pt x="1445" y="117"/>
                  </a:cubicBezTo>
                  <a:cubicBezTo>
                    <a:pt x="1445" y="111"/>
                    <a:pt x="1445" y="111"/>
                    <a:pt x="1445" y="111"/>
                  </a:cubicBezTo>
                  <a:cubicBezTo>
                    <a:pt x="1441" y="112"/>
                    <a:pt x="1437" y="113"/>
                    <a:pt x="1435" y="113"/>
                  </a:cubicBezTo>
                  <a:cubicBezTo>
                    <a:pt x="1432" y="113"/>
                    <a:pt x="1430" y="112"/>
                    <a:pt x="1429" y="109"/>
                  </a:cubicBezTo>
                  <a:cubicBezTo>
                    <a:pt x="1428" y="107"/>
                    <a:pt x="1427" y="103"/>
                    <a:pt x="1427" y="98"/>
                  </a:cubicBezTo>
                  <a:cubicBezTo>
                    <a:pt x="1427" y="52"/>
                    <a:pt x="1427" y="52"/>
                    <a:pt x="1427" y="52"/>
                  </a:cubicBezTo>
                  <a:cubicBezTo>
                    <a:pt x="1446" y="52"/>
                    <a:pt x="1446" y="52"/>
                    <a:pt x="1446" y="52"/>
                  </a:cubicBezTo>
                  <a:cubicBezTo>
                    <a:pt x="1446" y="46"/>
                    <a:pt x="1446" y="46"/>
                    <a:pt x="1446" y="46"/>
                  </a:cubicBezTo>
                  <a:cubicBezTo>
                    <a:pt x="1427" y="46"/>
                    <a:pt x="1427" y="46"/>
                    <a:pt x="1427" y="46"/>
                  </a:cubicBezTo>
                  <a:cubicBezTo>
                    <a:pt x="1427" y="21"/>
                    <a:pt x="1427" y="21"/>
                    <a:pt x="1427" y="21"/>
                  </a:cubicBezTo>
                  <a:cubicBezTo>
                    <a:pt x="1410" y="25"/>
                    <a:pt x="1410" y="25"/>
                    <a:pt x="1410" y="25"/>
                  </a:cubicBezTo>
                  <a:cubicBezTo>
                    <a:pt x="1410" y="46"/>
                    <a:pt x="1410" y="46"/>
                    <a:pt x="1410" y="46"/>
                  </a:cubicBezTo>
                  <a:cubicBezTo>
                    <a:pt x="1400" y="46"/>
                    <a:pt x="1400" y="46"/>
                    <a:pt x="1400" y="46"/>
                  </a:cubicBezTo>
                  <a:lnTo>
                    <a:pt x="1400" y="52"/>
                  </a:lnTo>
                  <a:close/>
                  <a:moveTo>
                    <a:pt x="1373" y="101"/>
                  </a:moveTo>
                  <a:cubicBezTo>
                    <a:pt x="1370" y="109"/>
                    <a:pt x="1365" y="113"/>
                    <a:pt x="1359" y="113"/>
                  </a:cubicBezTo>
                  <a:cubicBezTo>
                    <a:pt x="1352" y="113"/>
                    <a:pt x="1348" y="108"/>
                    <a:pt x="1348" y="98"/>
                  </a:cubicBezTo>
                  <a:cubicBezTo>
                    <a:pt x="1348" y="90"/>
                    <a:pt x="1351" y="85"/>
                    <a:pt x="1356" y="82"/>
                  </a:cubicBezTo>
                  <a:cubicBezTo>
                    <a:pt x="1360" y="80"/>
                    <a:pt x="1366" y="79"/>
                    <a:pt x="1375" y="79"/>
                  </a:cubicBezTo>
                  <a:cubicBezTo>
                    <a:pt x="1375" y="90"/>
                    <a:pt x="1374" y="97"/>
                    <a:pt x="1373" y="101"/>
                  </a:cubicBezTo>
                  <a:moveTo>
                    <a:pt x="1374" y="118"/>
                  </a:moveTo>
                  <a:cubicBezTo>
                    <a:pt x="1390" y="118"/>
                    <a:pt x="1390" y="118"/>
                    <a:pt x="1390" y="118"/>
                  </a:cubicBezTo>
                  <a:cubicBezTo>
                    <a:pt x="1390" y="72"/>
                    <a:pt x="1390" y="72"/>
                    <a:pt x="1390" y="72"/>
                  </a:cubicBezTo>
                  <a:cubicBezTo>
                    <a:pt x="1390" y="67"/>
                    <a:pt x="1390" y="63"/>
                    <a:pt x="1390" y="60"/>
                  </a:cubicBezTo>
                  <a:cubicBezTo>
                    <a:pt x="1389" y="57"/>
                    <a:pt x="1387" y="55"/>
                    <a:pt x="1386" y="52"/>
                  </a:cubicBezTo>
                  <a:cubicBezTo>
                    <a:pt x="1381" y="47"/>
                    <a:pt x="1374" y="44"/>
                    <a:pt x="1363" y="44"/>
                  </a:cubicBezTo>
                  <a:cubicBezTo>
                    <a:pt x="1355" y="44"/>
                    <a:pt x="1349" y="45"/>
                    <a:pt x="1344" y="48"/>
                  </a:cubicBezTo>
                  <a:cubicBezTo>
                    <a:pt x="1341" y="50"/>
                    <a:pt x="1339" y="52"/>
                    <a:pt x="1337" y="55"/>
                  </a:cubicBezTo>
                  <a:cubicBezTo>
                    <a:pt x="1336" y="58"/>
                    <a:pt x="1335" y="62"/>
                    <a:pt x="1335" y="66"/>
                  </a:cubicBezTo>
                  <a:cubicBezTo>
                    <a:pt x="1350" y="66"/>
                    <a:pt x="1350" y="66"/>
                    <a:pt x="1350" y="66"/>
                  </a:cubicBezTo>
                  <a:cubicBezTo>
                    <a:pt x="1350" y="64"/>
                    <a:pt x="1350" y="64"/>
                    <a:pt x="1350" y="64"/>
                  </a:cubicBezTo>
                  <a:cubicBezTo>
                    <a:pt x="1350" y="54"/>
                    <a:pt x="1354" y="49"/>
                    <a:pt x="1362" y="49"/>
                  </a:cubicBezTo>
                  <a:cubicBezTo>
                    <a:pt x="1367" y="49"/>
                    <a:pt x="1371" y="51"/>
                    <a:pt x="1372" y="54"/>
                  </a:cubicBezTo>
                  <a:cubicBezTo>
                    <a:pt x="1374" y="57"/>
                    <a:pt x="1375" y="62"/>
                    <a:pt x="1375" y="67"/>
                  </a:cubicBezTo>
                  <a:cubicBezTo>
                    <a:pt x="1375" y="75"/>
                    <a:pt x="1375" y="75"/>
                    <a:pt x="1375" y="75"/>
                  </a:cubicBezTo>
                  <a:cubicBezTo>
                    <a:pt x="1358" y="75"/>
                    <a:pt x="1348" y="77"/>
                    <a:pt x="1342" y="80"/>
                  </a:cubicBezTo>
                  <a:cubicBezTo>
                    <a:pt x="1335" y="84"/>
                    <a:pt x="1331" y="90"/>
                    <a:pt x="1331" y="99"/>
                  </a:cubicBezTo>
                  <a:cubicBezTo>
                    <a:pt x="1331" y="104"/>
                    <a:pt x="1333" y="109"/>
                    <a:pt x="1335" y="113"/>
                  </a:cubicBezTo>
                  <a:cubicBezTo>
                    <a:pt x="1339" y="118"/>
                    <a:pt x="1345" y="120"/>
                    <a:pt x="1353" y="120"/>
                  </a:cubicBezTo>
                  <a:cubicBezTo>
                    <a:pt x="1359" y="120"/>
                    <a:pt x="1365" y="118"/>
                    <a:pt x="1369" y="113"/>
                  </a:cubicBezTo>
                  <a:cubicBezTo>
                    <a:pt x="1371" y="111"/>
                    <a:pt x="1373" y="107"/>
                    <a:pt x="1374" y="103"/>
                  </a:cubicBezTo>
                  <a:lnTo>
                    <a:pt x="1374" y="118"/>
                  </a:lnTo>
                  <a:close/>
                  <a:moveTo>
                    <a:pt x="1213" y="118"/>
                  </a:moveTo>
                  <a:cubicBezTo>
                    <a:pt x="1230" y="118"/>
                    <a:pt x="1230" y="118"/>
                    <a:pt x="1230" y="118"/>
                  </a:cubicBezTo>
                  <a:cubicBezTo>
                    <a:pt x="1230" y="85"/>
                    <a:pt x="1230" y="85"/>
                    <a:pt x="1230" y="85"/>
                  </a:cubicBezTo>
                  <a:cubicBezTo>
                    <a:pt x="1230" y="78"/>
                    <a:pt x="1230" y="73"/>
                    <a:pt x="1231" y="69"/>
                  </a:cubicBezTo>
                  <a:cubicBezTo>
                    <a:pt x="1232" y="63"/>
                    <a:pt x="1234" y="58"/>
                    <a:pt x="1237" y="55"/>
                  </a:cubicBezTo>
                  <a:cubicBezTo>
                    <a:pt x="1240" y="52"/>
                    <a:pt x="1243" y="51"/>
                    <a:pt x="1246" y="51"/>
                  </a:cubicBezTo>
                  <a:cubicBezTo>
                    <a:pt x="1250" y="51"/>
                    <a:pt x="1253" y="52"/>
                    <a:pt x="1254" y="56"/>
                  </a:cubicBezTo>
                  <a:cubicBezTo>
                    <a:pt x="1256" y="59"/>
                    <a:pt x="1256" y="65"/>
                    <a:pt x="1256" y="73"/>
                  </a:cubicBezTo>
                  <a:cubicBezTo>
                    <a:pt x="1256" y="118"/>
                    <a:pt x="1256" y="118"/>
                    <a:pt x="1256" y="118"/>
                  </a:cubicBezTo>
                  <a:cubicBezTo>
                    <a:pt x="1273" y="118"/>
                    <a:pt x="1273" y="118"/>
                    <a:pt x="1273" y="118"/>
                  </a:cubicBezTo>
                  <a:cubicBezTo>
                    <a:pt x="1273" y="86"/>
                    <a:pt x="1273" y="86"/>
                    <a:pt x="1273" y="86"/>
                  </a:cubicBezTo>
                  <a:cubicBezTo>
                    <a:pt x="1273" y="71"/>
                    <a:pt x="1276" y="60"/>
                    <a:pt x="1280" y="55"/>
                  </a:cubicBezTo>
                  <a:cubicBezTo>
                    <a:pt x="1283" y="52"/>
                    <a:pt x="1286" y="51"/>
                    <a:pt x="1289" y="51"/>
                  </a:cubicBezTo>
                  <a:cubicBezTo>
                    <a:pt x="1293" y="51"/>
                    <a:pt x="1296" y="52"/>
                    <a:pt x="1298" y="56"/>
                  </a:cubicBezTo>
                  <a:cubicBezTo>
                    <a:pt x="1299" y="59"/>
                    <a:pt x="1300" y="64"/>
                    <a:pt x="1300" y="71"/>
                  </a:cubicBezTo>
                  <a:cubicBezTo>
                    <a:pt x="1300" y="118"/>
                    <a:pt x="1300" y="118"/>
                    <a:pt x="1300" y="118"/>
                  </a:cubicBezTo>
                  <a:cubicBezTo>
                    <a:pt x="1316" y="118"/>
                    <a:pt x="1316" y="118"/>
                    <a:pt x="1316" y="118"/>
                  </a:cubicBezTo>
                  <a:cubicBezTo>
                    <a:pt x="1316" y="69"/>
                    <a:pt x="1316" y="69"/>
                    <a:pt x="1316" y="69"/>
                  </a:cubicBezTo>
                  <a:cubicBezTo>
                    <a:pt x="1316" y="63"/>
                    <a:pt x="1316" y="58"/>
                    <a:pt x="1314" y="55"/>
                  </a:cubicBezTo>
                  <a:cubicBezTo>
                    <a:pt x="1310" y="48"/>
                    <a:pt x="1304" y="44"/>
                    <a:pt x="1295" y="44"/>
                  </a:cubicBezTo>
                  <a:cubicBezTo>
                    <a:pt x="1288" y="44"/>
                    <a:pt x="1283" y="46"/>
                    <a:pt x="1278" y="51"/>
                  </a:cubicBezTo>
                  <a:cubicBezTo>
                    <a:pt x="1276" y="54"/>
                    <a:pt x="1274" y="57"/>
                    <a:pt x="1273" y="62"/>
                  </a:cubicBezTo>
                  <a:cubicBezTo>
                    <a:pt x="1272" y="58"/>
                    <a:pt x="1270" y="54"/>
                    <a:pt x="1269" y="51"/>
                  </a:cubicBezTo>
                  <a:cubicBezTo>
                    <a:pt x="1265" y="46"/>
                    <a:pt x="1260" y="44"/>
                    <a:pt x="1252" y="44"/>
                  </a:cubicBezTo>
                  <a:cubicBezTo>
                    <a:pt x="1245" y="44"/>
                    <a:pt x="1239" y="47"/>
                    <a:pt x="1235" y="52"/>
                  </a:cubicBezTo>
                  <a:cubicBezTo>
                    <a:pt x="1232" y="55"/>
                    <a:pt x="1230" y="59"/>
                    <a:pt x="1229" y="64"/>
                  </a:cubicBezTo>
                  <a:cubicBezTo>
                    <a:pt x="1229" y="46"/>
                    <a:pt x="1229" y="46"/>
                    <a:pt x="1229" y="46"/>
                  </a:cubicBezTo>
                  <a:cubicBezTo>
                    <a:pt x="1213" y="46"/>
                    <a:pt x="1213" y="46"/>
                    <a:pt x="1213" y="46"/>
                  </a:cubicBezTo>
                  <a:lnTo>
                    <a:pt x="1213" y="118"/>
                  </a:lnTo>
                  <a:close/>
                  <a:moveTo>
                    <a:pt x="1104" y="108"/>
                  </a:moveTo>
                  <a:cubicBezTo>
                    <a:pt x="1108" y="116"/>
                    <a:pt x="1116" y="120"/>
                    <a:pt x="1128" y="120"/>
                  </a:cubicBezTo>
                  <a:cubicBezTo>
                    <a:pt x="1135" y="120"/>
                    <a:pt x="1140" y="119"/>
                    <a:pt x="1145" y="116"/>
                  </a:cubicBezTo>
                  <a:cubicBezTo>
                    <a:pt x="1151" y="112"/>
                    <a:pt x="1155" y="105"/>
                    <a:pt x="1155" y="97"/>
                  </a:cubicBezTo>
                  <a:cubicBezTo>
                    <a:pt x="1155" y="92"/>
                    <a:pt x="1154" y="89"/>
                    <a:pt x="1152" y="86"/>
                  </a:cubicBezTo>
                  <a:cubicBezTo>
                    <a:pt x="1149" y="81"/>
                    <a:pt x="1144" y="78"/>
                    <a:pt x="1137" y="76"/>
                  </a:cubicBezTo>
                  <a:cubicBezTo>
                    <a:pt x="1126" y="73"/>
                    <a:pt x="1126" y="73"/>
                    <a:pt x="1126" y="73"/>
                  </a:cubicBezTo>
                  <a:cubicBezTo>
                    <a:pt x="1120" y="71"/>
                    <a:pt x="1116" y="67"/>
                    <a:pt x="1116" y="61"/>
                  </a:cubicBezTo>
                  <a:cubicBezTo>
                    <a:pt x="1116" y="58"/>
                    <a:pt x="1117" y="55"/>
                    <a:pt x="1119" y="53"/>
                  </a:cubicBezTo>
                  <a:cubicBezTo>
                    <a:pt x="1121" y="51"/>
                    <a:pt x="1124" y="49"/>
                    <a:pt x="1128" y="49"/>
                  </a:cubicBezTo>
                  <a:cubicBezTo>
                    <a:pt x="1130" y="49"/>
                    <a:pt x="1132" y="50"/>
                    <a:pt x="1134" y="51"/>
                  </a:cubicBezTo>
                  <a:cubicBezTo>
                    <a:pt x="1136" y="52"/>
                    <a:pt x="1137" y="53"/>
                    <a:pt x="1138" y="55"/>
                  </a:cubicBezTo>
                  <a:cubicBezTo>
                    <a:pt x="1139" y="57"/>
                    <a:pt x="1139" y="61"/>
                    <a:pt x="1139" y="66"/>
                  </a:cubicBezTo>
                  <a:cubicBezTo>
                    <a:pt x="1153" y="66"/>
                    <a:pt x="1153" y="66"/>
                    <a:pt x="1153" y="66"/>
                  </a:cubicBezTo>
                  <a:cubicBezTo>
                    <a:pt x="1153" y="61"/>
                    <a:pt x="1151" y="57"/>
                    <a:pt x="1149" y="54"/>
                  </a:cubicBezTo>
                  <a:cubicBezTo>
                    <a:pt x="1145" y="47"/>
                    <a:pt x="1138" y="44"/>
                    <a:pt x="1128" y="44"/>
                  </a:cubicBezTo>
                  <a:cubicBezTo>
                    <a:pt x="1122" y="44"/>
                    <a:pt x="1117" y="45"/>
                    <a:pt x="1112" y="48"/>
                  </a:cubicBezTo>
                  <a:cubicBezTo>
                    <a:pt x="1106" y="52"/>
                    <a:pt x="1103" y="58"/>
                    <a:pt x="1103" y="66"/>
                  </a:cubicBezTo>
                  <a:cubicBezTo>
                    <a:pt x="1103" y="72"/>
                    <a:pt x="1105" y="77"/>
                    <a:pt x="1109" y="81"/>
                  </a:cubicBezTo>
                  <a:cubicBezTo>
                    <a:pt x="1111" y="83"/>
                    <a:pt x="1116" y="86"/>
                    <a:pt x="1122" y="88"/>
                  </a:cubicBezTo>
                  <a:cubicBezTo>
                    <a:pt x="1131" y="90"/>
                    <a:pt x="1131" y="90"/>
                    <a:pt x="1131" y="90"/>
                  </a:cubicBezTo>
                  <a:cubicBezTo>
                    <a:pt x="1138" y="92"/>
                    <a:pt x="1141" y="96"/>
                    <a:pt x="1141" y="102"/>
                  </a:cubicBezTo>
                  <a:cubicBezTo>
                    <a:pt x="1141" y="105"/>
                    <a:pt x="1140" y="108"/>
                    <a:pt x="1139" y="110"/>
                  </a:cubicBezTo>
                  <a:cubicBezTo>
                    <a:pt x="1136" y="113"/>
                    <a:pt x="1133" y="115"/>
                    <a:pt x="1128" y="115"/>
                  </a:cubicBezTo>
                  <a:cubicBezTo>
                    <a:pt x="1125" y="115"/>
                    <a:pt x="1123" y="114"/>
                    <a:pt x="1121" y="112"/>
                  </a:cubicBezTo>
                  <a:cubicBezTo>
                    <a:pt x="1119" y="111"/>
                    <a:pt x="1118" y="110"/>
                    <a:pt x="1117" y="108"/>
                  </a:cubicBezTo>
                  <a:cubicBezTo>
                    <a:pt x="1115" y="105"/>
                    <a:pt x="1115" y="101"/>
                    <a:pt x="1115" y="96"/>
                  </a:cubicBezTo>
                  <a:cubicBezTo>
                    <a:pt x="1101" y="96"/>
                    <a:pt x="1101" y="96"/>
                    <a:pt x="1101" y="96"/>
                  </a:cubicBezTo>
                  <a:cubicBezTo>
                    <a:pt x="1101" y="101"/>
                    <a:pt x="1102" y="105"/>
                    <a:pt x="1104" y="108"/>
                  </a:cubicBezTo>
                  <a:moveTo>
                    <a:pt x="1068" y="5"/>
                  </a:moveTo>
                  <a:cubicBezTo>
                    <a:pt x="1066" y="7"/>
                    <a:pt x="1065" y="10"/>
                    <a:pt x="1065" y="13"/>
                  </a:cubicBezTo>
                  <a:cubicBezTo>
                    <a:pt x="1065" y="15"/>
                    <a:pt x="1066" y="18"/>
                    <a:pt x="1068" y="19"/>
                  </a:cubicBezTo>
                  <a:cubicBezTo>
                    <a:pt x="1070" y="22"/>
                    <a:pt x="1072" y="23"/>
                    <a:pt x="1076" y="23"/>
                  </a:cubicBezTo>
                  <a:cubicBezTo>
                    <a:pt x="1080" y="23"/>
                    <a:pt x="1083" y="22"/>
                    <a:pt x="1084" y="20"/>
                  </a:cubicBezTo>
                  <a:cubicBezTo>
                    <a:pt x="1086" y="18"/>
                    <a:pt x="1087" y="16"/>
                    <a:pt x="1087" y="13"/>
                  </a:cubicBezTo>
                  <a:cubicBezTo>
                    <a:pt x="1087" y="10"/>
                    <a:pt x="1087" y="8"/>
                    <a:pt x="1085" y="6"/>
                  </a:cubicBezTo>
                  <a:cubicBezTo>
                    <a:pt x="1083" y="4"/>
                    <a:pt x="1080" y="3"/>
                    <a:pt x="1076" y="3"/>
                  </a:cubicBezTo>
                  <a:cubicBezTo>
                    <a:pt x="1073" y="3"/>
                    <a:pt x="1070" y="4"/>
                    <a:pt x="1068" y="5"/>
                  </a:cubicBezTo>
                  <a:moveTo>
                    <a:pt x="1068" y="118"/>
                  </a:moveTo>
                  <a:cubicBezTo>
                    <a:pt x="1085" y="118"/>
                    <a:pt x="1085" y="118"/>
                    <a:pt x="1085" y="118"/>
                  </a:cubicBezTo>
                  <a:cubicBezTo>
                    <a:pt x="1085" y="46"/>
                    <a:pt x="1085" y="46"/>
                    <a:pt x="1085" y="46"/>
                  </a:cubicBezTo>
                  <a:cubicBezTo>
                    <a:pt x="1068" y="46"/>
                    <a:pt x="1068" y="46"/>
                    <a:pt x="1068" y="46"/>
                  </a:cubicBezTo>
                  <a:lnTo>
                    <a:pt x="1068" y="118"/>
                  </a:lnTo>
                  <a:close/>
                  <a:moveTo>
                    <a:pt x="1000" y="108"/>
                  </a:moveTo>
                  <a:cubicBezTo>
                    <a:pt x="1005" y="116"/>
                    <a:pt x="1013" y="120"/>
                    <a:pt x="1024" y="120"/>
                  </a:cubicBezTo>
                  <a:cubicBezTo>
                    <a:pt x="1031" y="120"/>
                    <a:pt x="1037" y="119"/>
                    <a:pt x="1041" y="116"/>
                  </a:cubicBezTo>
                  <a:cubicBezTo>
                    <a:pt x="1048" y="112"/>
                    <a:pt x="1051" y="105"/>
                    <a:pt x="1051" y="97"/>
                  </a:cubicBezTo>
                  <a:cubicBezTo>
                    <a:pt x="1051" y="92"/>
                    <a:pt x="1050" y="89"/>
                    <a:pt x="1048" y="86"/>
                  </a:cubicBezTo>
                  <a:cubicBezTo>
                    <a:pt x="1045" y="81"/>
                    <a:pt x="1040" y="78"/>
                    <a:pt x="1033" y="76"/>
                  </a:cubicBezTo>
                  <a:cubicBezTo>
                    <a:pt x="1022" y="73"/>
                    <a:pt x="1022" y="73"/>
                    <a:pt x="1022" y="73"/>
                  </a:cubicBezTo>
                  <a:cubicBezTo>
                    <a:pt x="1016" y="71"/>
                    <a:pt x="1013" y="67"/>
                    <a:pt x="1013" y="61"/>
                  </a:cubicBezTo>
                  <a:cubicBezTo>
                    <a:pt x="1013" y="58"/>
                    <a:pt x="1013" y="55"/>
                    <a:pt x="1015" y="53"/>
                  </a:cubicBezTo>
                  <a:cubicBezTo>
                    <a:pt x="1017" y="51"/>
                    <a:pt x="1020" y="49"/>
                    <a:pt x="1024" y="49"/>
                  </a:cubicBezTo>
                  <a:cubicBezTo>
                    <a:pt x="1026" y="49"/>
                    <a:pt x="1029" y="50"/>
                    <a:pt x="1031" y="51"/>
                  </a:cubicBezTo>
                  <a:cubicBezTo>
                    <a:pt x="1032" y="52"/>
                    <a:pt x="1033" y="53"/>
                    <a:pt x="1034" y="55"/>
                  </a:cubicBezTo>
                  <a:cubicBezTo>
                    <a:pt x="1035" y="57"/>
                    <a:pt x="1035" y="61"/>
                    <a:pt x="1035" y="66"/>
                  </a:cubicBezTo>
                  <a:cubicBezTo>
                    <a:pt x="1049" y="66"/>
                    <a:pt x="1049" y="66"/>
                    <a:pt x="1049" y="66"/>
                  </a:cubicBezTo>
                  <a:cubicBezTo>
                    <a:pt x="1049" y="61"/>
                    <a:pt x="1048" y="57"/>
                    <a:pt x="1046" y="54"/>
                  </a:cubicBezTo>
                  <a:cubicBezTo>
                    <a:pt x="1042" y="47"/>
                    <a:pt x="1034" y="44"/>
                    <a:pt x="1024" y="44"/>
                  </a:cubicBezTo>
                  <a:cubicBezTo>
                    <a:pt x="1018" y="44"/>
                    <a:pt x="1013" y="45"/>
                    <a:pt x="1009" y="48"/>
                  </a:cubicBezTo>
                  <a:cubicBezTo>
                    <a:pt x="1002" y="52"/>
                    <a:pt x="999" y="58"/>
                    <a:pt x="999" y="66"/>
                  </a:cubicBezTo>
                  <a:cubicBezTo>
                    <a:pt x="999" y="72"/>
                    <a:pt x="1001" y="77"/>
                    <a:pt x="1005" y="81"/>
                  </a:cubicBezTo>
                  <a:cubicBezTo>
                    <a:pt x="1008" y="83"/>
                    <a:pt x="1012" y="86"/>
                    <a:pt x="1019" y="88"/>
                  </a:cubicBezTo>
                  <a:cubicBezTo>
                    <a:pt x="1027" y="90"/>
                    <a:pt x="1027" y="90"/>
                    <a:pt x="1027" y="90"/>
                  </a:cubicBezTo>
                  <a:cubicBezTo>
                    <a:pt x="1034" y="92"/>
                    <a:pt x="1037" y="96"/>
                    <a:pt x="1037" y="102"/>
                  </a:cubicBezTo>
                  <a:cubicBezTo>
                    <a:pt x="1037" y="105"/>
                    <a:pt x="1036" y="108"/>
                    <a:pt x="1035" y="110"/>
                  </a:cubicBezTo>
                  <a:cubicBezTo>
                    <a:pt x="1033" y="113"/>
                    <a:pt x="1029" y="115"/>
                    <a:pt x="1025" y="115"/>
                  </a:cubicBezTo>
                  <a:cubicBezTo>
                    <a:pt x="1022" y="115"/>
                    <a:pt x="1019" y="114"/>
                    <a:pt x="1017" y="112"/>
                  </a:cubicBezTo>
                  <a:cubicBezTo>
                    <a:pt x="1015" y="111"/>
                    <a:pt x="1014" y="110"/>
                    <a:pt x="1013" y="108"/>
                  </a:cubicBezTo>
                  <a:cubicBezTo>
                    <a:pt x="1012" y="105"/>
                    <a:pt x="1011" y="101"/>
                    <a:pt x="1011" y="96"/>
                  </a:cubicBezTo>
                  <a:cubicBezTo>
                    <a:pt x="997" y="96"/>
                    <a:pt x="997" y="96"/>
                    <a:pt x="997" y="96"/>
                  </a:cubicBezTo>
                  <a:cubicBezTo>
                    <a:pt x="997" y="101"/>
                    <a:pt x="998" y="105"/>
                    <a:pt x="1000" y="108"/>
                  </a:cubicBezTo>
                  <a:moveTo>
                    <a:pt x="964" y="57"/>
                  </a:moveTo>
                  <a:cubicBezTo>
                    <a:pt x="967" y="63"/>
                    <a:pt x="968" y="71"/>
                    <a:pt x="968" y="83"/>
                  </a:cubicBezTo>
                  <a:cubicBezTo>
                    <a:pt x="968" y="98"/>
                    <a:pt x="965" y="108"/>
                    <a:pt x="960" y="112"/>
                  </a:cubicBezTo>
                  <a:cubicBezTo>
                    <a:pt x="957" y="114"/>
                    <a:pt x="955" y="115"/>
                    <a:pt x="952" y="115"/>
                  </a:cubicBezTo>
                  <a:cubicBezTo>
                    <a:pt x="949" y="115"/>
                    <a:pt x="947" y="114"/>
                    <a:pt x="944" y="113"/>
                  </a:cubicBezTo>
                  <a:cubicBezTo>
                    <a:pt x="942" y="111"/>
                    <a:pt x="941" y="109"/>
                    <a:pt x="940" y="107"/>
                  </a:cubicBezTo>
                  <a:cubicBezTo>
                    <a:pt x="937" y="100"/>
                    <a:pt x="936" y="92"/>
                    <a:pt x="936" y="83"/>
                  </a:cubicBezTo>
                  <a:cubicBezTo>
                    <a:pt x="936" y="72"/>
                    <a:pt x="937" y="63"/>
                    <a:pt x="940" y="57"/>
                  </a:cubicBezTo>
                  <a:cubicBezTo>
                    <a:pt x="942" y="51"/>
                    <a:pt x="946" y="49"/>
                    <a:pt x="952" y="49"/>
                  </a:cubicBezTo>
                  <a:cubicBezTo>
                    <a:pt x="958" y="49"/>
                    <a:pt x="962" y="51"/>
                    <a:pt x="964" y="57"/>
                  </a:cubicBezTo>
                  <a:moveTo>
                    <a:pt x="928" y="53"/>
                  </a:moveTo>
                  <a:cubicBezTo>
                    <a:pt x="921" y="59"/>
                    <a:pt x="918" y="69"/>
                    <a:pt x="918" y="82"/>
                  </a:cubicBezTo>
                  <a:cubicBezTo>
                    <a:pt x="918" y="90"/>
                    <a:pt x="919" y="97"/>
                    <a:pt x="923" y="104"/>
                  </a:cubicBezTo>
                  <a:cubicBezTo>
                    <a:pt x="925" y="109"/>
                    <a:pt x="928" y="112"/>
                    <a:pt x="933" y="115"/>
                  </a:cubicBezTo>
                  <a:cubicBezTo>
                    <a:pt x="938" y="119"/>
                    <a:pt x="945" y="120"/>
                    <a:pt x="952" y="120"/>
                  </a:cubicBezTo>
                  <a:cubicBezTo>
                    <a:pt x="959" y="120"/>
                    <a:pt x="965" y="119"/>
                    <a:pt x="971" y="115"/>
                  </a:cubicBezTo>
                  <a:cubicBezTo>
                    <a:pt x="976" y="112"/>
                    <a:pt x="979" y="109"/>
                    <a:pt x="981" y="104"/>
                  </a:cubicBezTo>
                  <a:cubicBezTo>
                    <a:pt x="984" y="97"/>
                    <a:pt x="986" y="90"/>
                    <a:pt x="986" y="83"/>
                  </a:cubicBezTo>
                  <a:cubicBezTo>
                    <a:pt x="986" y="69"/>
                    <a:pt x="983" y="59"/>
                    <a:pt x="976" y="53"/>
                  </a:cubicBezTo>
                  <a:cubicBezTo>
                    <a:pt x="970" y="47"/>
                    <a:pt x="962" y="43"/>
                    <a:pt x="952" y="43"/>
                  </a:cubicBezTo>
                  <a:cubicBezTo>
                    <a:pt x="942" y="43"/>
                    <a:pt x="934" y="46"/>
                    <a:pt x="928" y="53"/>
                  </a:cubicBezTo>
                  <a:moveTo>
                    <a:pt x="842" y="46"/>
                  </a:moveTo>
                  <a:cubicBezTo>
                    <a:pt x="842" y="118"/>
                    <a:pt x="842" y="118"/>
                    <a:pt x="842" y="118"/>
                  </a:cubicBezTo>
                  <a:cubicBezTo>
                    <a:pt x="859" y="118"/>
                    <a:pt x="859" y="118"/>
                    <a:pt x="859" y="118"/>
                  </a:cubicBezTo>
                  <a:cubicBezTo>
                    <a:pt x="859" y="87"/>
                    <a:pt x="859" y="87"/>
                    <a:pt x="859" y="87"/>
                  </a:cubicBezTo>
                  <a:cubicBezTo>
                    <a:pt x="859" y="71"/>
                    <a:pt x="861" y="61"/>
                    <a:pt x="866" y="56"/>
                  </a:cubicBezTo>
                  <a:cubicBezTo>
                    <a:pt x="869" y="53"/>
                    <a:pt x="872" y="51"/>
                    <a:pt x="875" y="51"/>
                  </a:cubicBezTo>
                  <a:cubicBezTo>
                    <a:pt x="879" y="51"/>
                    <a:pt x="882" y="53"/>
                    <a:pt x="884" y="57"/>
                  </a:cubicBezTo>
                  <a:cubicBezTo>
                    <a:pt x="885" y="60"/>
                    <a:pt x="885" y="65"/>
                    <a:pt x="885" y="72"/>
                  </a:cubicBezTo>
                  <a:cubicBezTo>
                    <a:pt x="885" y="118"/>
                    <a:pt x="885" y="118"/>
                    <a:pt x="885" y="118"/>
                  </a:cubicBezTo>
                  <a:cubicBezTo>
                    <a:pt x="902" y="118"/>
                    <a:pt x="902" y="118"/>
                    <a:pt x="902" y="118"/>
                  </a:cubicBezTo>
                  <a:cubicBezTo>
                    <a:pt x="902" y="71"/>
                    <a:pt x="902" y="71"/>
                    <a:pt x="902" y="71"/>
                  </a:cubicBezTo>
                  <a:cubicBezTo>
                    <a:pt x="902" y="64"/>
                    <a:pt x="901" y="58"/>
                    <a:pt x="900" y="55"/>
                  </a:cubicBezTo>
                  <a:cubicBezTo>
                    <a:pt x="896" y="48"/>
                    <a:pt x="890" y="44"/>
                    <a:pt x="881" y="44"/>
                  </a:cubicBezTo>
                  <a:cubicBezTo>
                    <a:pt x="869" y="44"/>
                    <a:pt x="861" y="51"/>
                    <a:pt x="858" y="66"/>
                  </a:cubicBezTo>
                  <a:cubicBezTo>
                    <a:pt x="858" y="46"/>
                    <a:pt x="858" y="46"/>
                    <a:pt x="858" y="46"/>
                  </a:cubicBezTo>
                  <a:lnTo>
                    <a:pt x="842" y="46"/>
                  </a:lnTo>
                  <a:close/>
                  <a:moveTo>
                    <a:pt x="788" y="130"/>
                  </a:moveTo>
                  <a:cubicBezTo>
                    <a:pt x="808" y="131"/>
                    <a:pt x="808" y="131"/>
                    <a:pt x="808" y="131"/>
                  </a:cubicBezTo>
                  <a:cubicBezTo>
                    <a:pt x="814" y="132"/>
                    <a:pt x="818" y="133"/>
                    <a:pt x="820" y="135"/>
                  </a:cubicBezTo>
                  <a:cubicBezTo>
                    <a:pt x="822" y="137"/>
                    <a:pt x="823" y="139"/>
                    <a:pt x="823" y="142"/>
                  </a:cubicBezTo>
                  <a:cubicBezTo>
                    <a:pt x="823" y="145"/>
                    <a:pt x="822" y="147"/>
                    <a:pt x="821" y="150"/>
                  </a:cubicBezTo>
                  <a:cubicBezTo>
                    <a:pt x="819" y="153"/>
                    <a:pt x="816" y="155"/>
                    <a:pt x="814" y="157"/>
                  </a:cubicBezTo>
                  <a:cubicBezTo>
                    <a:pt x="808" y="160"/>
                    <a:pt x="802" y="161"/>
                    <a:pt x="795" y="161"/>
                  </a:cubicBezTo>
                  <a:cubicBezTo>
                    <a:pt x="791" y="161"/>
                    <a:pt x="787" y="161"/>
                    <a:pt x="784" y="160"/>
                  </a:cubicBezTo>
                  <a:cubicBezTo>
                    <a:pt x="779" y="159"/>
                    <a:pt x="776" y="157"/>
                    <a:pt x="774" y="155"/>
                  </a:cubicBezTo>
                  <a:cubicBezTo>
                    <a:pt x="770" y="151"/>
                    <a:pt x="767" y="147"/>
                    <a:pt x="767" y="141"/>
                  </a:cubicBezTo>
                  <a:cubicBezTo>
                    <a:pt x="767" y="136"/>
                    <a:pt x="770" y="131"/>
                    <a:pt x="774" y="127"/>
                  </a:cubicBezTo>
                  <a:cubicBezTo>
                    <a:pt x="777" y="128"/>
                    <a:pt x="782" y="129"/>
                    <a:pt x="788" y="130"/>
                  </a:cubicBezTo>
                  <a:moveTo>
                    <a:pt x="807" y="71"/>
                  </a:moveTo>
                  <a:cubicBezTo>
                    <a:pt x="807" y="87"/>
                    <a:pt x="802" y="94"/>
                    <a:pt x="794" y="94"/>
                  </a:cubicBezTo>
                  <a:cubicBezTo>
                    <a:pt x="790" y="94"/>
                    <a:pt x="787" y="92"/>
                    <a:pt x="785" y="89"/>
                  </a:cubicBezTo>
                  <a:cubicBezTo>
                    <a:pt x="783" y="85"/>
                    <a:pt x="782" y="79"/>
                    <a:pt x="782" y="71"/>
                  </a:cubicBezTo>
                  <a:cubicBezTo>
                    <a:pt x="782" y="63"/>
                    <a:pt x="783" y="57"/>
                    <a:pt x="786" y="54"/>
                  </a:cubicBezTo>
                  <a:cubicBezTo>
                    <a:pt x="788" y="51"/>
                    <a:pt x="791" y="49"/>
                    <a:pt x="794" y="49"/>
                  </a:cubicBezTo>
                  <a:cubicBezTo>
                    <a:pt x="802" y="49"/>
                    <a:pt x="807" y="57"/>
                    <a:pt x="807" y="71"/>
                  </a:cubicBezTo>
                  <a:moveTo>
                    <a:pt x="807" y="46"/>
                  </a:moveTo>
                  <a:cubicBezTo>
                    <a:pt x="802" y="45"/>
                    <a:pt x="798" y="44"/>
                    <a:pt x="794" y="44"/>
                  </a:cubicBezTo>
                  <a:cubicBezTo>
                    <a:pt x="784" y="44"/>
                    <a:pt x="777" y="47"/>
                    <a:pt x="772" y="53"/>
                  </a:cubicBezTo>
                  <a:cubicBezTo>
                    <a:pt x="767" y="59"/>
                    <a:pt x="765" y="65"/>
                    <a:pt x="765" y="72"/>
                  </a:cubicBezTo>
                  <a:cubicBezTo>
                    <a:pt x="765" y="79"/>
                    <a:pt x="767" y="85"/>
                    <a:pt x="771" y="90"/>
                  </a:cubicBezTo>
                  <a:cubicBezTo>
                    <a:pt x="773" y="92"/>
                    <a:pt x="776" y="95"/>
                    <a:pt x="780" y="97"/>
                  </a:cubicBezTo>
                  <a:cubicBezTo>
                    <a:pt x="776" y="98"/>
                    <a:pt x="773" y="100"/>
                    <a:pt x="772" y="102"/>
                  </a:cubicBezTo>
                  <a:cubicBezTo>
                    <a:pt x="769" y="105"/>
                    <a:pt x="768" y="109"/>
                    <a:pt x="768" y="113"/>
                  </a:cubicBezTo>
                  <a:cubicBezTo>
                    <a:pt x="768" y="118"/>
                    <a:pt x="769" y="122"/>
                    <a:pt x="773" y="125"/>
                  </a:cubicBezTo>
                  <a:cubicBezTo>
                    <a:pt x="765" y="130"/>
                    <a:pt x="761" y="136"/>
                    <a:pt x="761" y="144"/>
                  </a:cubicBezTo>
                  <a:cubicBezTo>
                    <a:pt x="761" y="147"/>
                    <a:pt x="762" y="151"/>
                    <a:pt x="763" y="154"/>
                  </a:cubicBezTo>
                  <a:cubicBezTo>
                    <a:pt x="765" y="157"/>
                    <a:pt x="767" y="160"/>
                    <a:pt x="770" y="162"/>
                  </a:cubicBezTo>
                  <a:cubicBezTo>
                    <a:pt x="776" y="165"/>
                    <a:pt x="783" y="167"/>
                    <a:pt x="792" y="167"/>
                  </a:cubicBezTo>
                  <a:cubicBezTo>
                    <a:pt x="806" y="167"/>
                    <a:pt x="817" y="163"/>
                    <a:pt x="823" y="156"/>
                  </a:cubicBezTo>
                  <a:cubicBezTo>
                    <a:pt x="827" y="150"/>
                    <a:pt x="829" y="144"/>
                    <a:pt x="829" y="137"/>
                  </a:cubicBezTo>
                  <a:cubicBezTo>
                    <a:pt x="829" y="130"/>
                    <a:pt x="827" y="124"/>
                    <a:pt x="822" y="121"/>
                  </a:cubicBezTo>
                  <a:cubicBezTo>
                    <a:pt x="818" y="118"/>
                    <a:pt x="812" y="117"/>
                    <a:pt x="805" y="116"/>
                  </a:cubicBezTo>
                  <a:cubicBezTo>
                    <a:pt x="791" y="115"/>
                    <a:pt x="791" y="115"/>
                    <a:pt x="791" y="115"/>
                  </a:cubicBezTo>
                  <a:cubicBezTo>
                    <a:pt x="786" y="115"/>
                    <a:pt x="783" y="114"/>
                    <a:pt x="781" y="113"/>
                  </a:cubicBezTo>
                  <a:cubicBezTo>
                    <a:pt x="780" y="111"/>
                    <a:pt x="779" y="109"/>
                    <a:pt x="779" y="106"/>
                  </a:cubicBezTo>
                  <a:cubicBezTo>
                    <a:pt x="779" y="103"/>
                    <a:pt x="781" y="100"/>
                    <a:pt x="784" y="98"/>
                  </a:cubicBezTo>
                  <a:cubicBezTo>
                    <a:pt x="788" y="99"/>
                    <a:pt x="791" y="99"/>
                    <a:pt x="794" y="99"/>
                  </a:cubicBezTo>
                  <a:cubicBezTo>
                    <a:pt x="803" y="99"/>
                    <a:pt x="810" y="96"/>
                    <a:pt x="816" y="91"/>
                  </a:cubicBezTo>
                  <a:cubicBezTo>
                    <a:pt x="821" y="86"/>
                    <a:pt x="823" y="80"/>
                    <a:pt x="823" y="72"/>
                  </a:cubicBezTo>
                  <a:cubicBezTo>
                    <a:pt x="823" y="64"/>
                    <a:pt x="821" y="58"/>
                    <a:pt x="816" y="53"/>
                  </a:cubicBezTo>
                  <a:cubicBezTo>
                    <a:pt x="831" y="53"/>
                    <a:pt x="831" y="53"/>
                    <a:pt x="831" y="53"/>
                  </a:cubicBezTo>
                  <a:cubicBezTo>
                    <a:pt x="831" y="46"/>
                    <a:pt x="831" y="46"/>
                    <a:pt x="831" y="46"/>
                  </a:cubicBezTo>
                  <a:lnTo>
                    <a:pt x="807" y="46"/>
                  </a:lnTo>
                  <a:close/>
                  <a:moveTo>
                    <a:pt x="731" y="101"/>
                  </a:moveTo>
                  <a:cubicBezTo>
                    <a:pt x="728" y="109"/>
                    <a:pt x="723" y="113"/>
                    <a:pt x="717" y="113"/>
                  </a:cubicBezTo>
                  <a:cubicBezTo>
                    <a:pt x="710" y="113"/>
                    <a:pt x="707" y="108"/>
                    <a:pt x="707" y="98"/>
                  </a:cubicBezTo>
                  <a:cubicBezTo>
                    <a:pt x="707" y="90"/>
                    <a:pt x="709" y="85"/>
                    <a:pt x="714" y="82"/>
                  </a:cubicBezTo>
                  <a:cubicBezTo>
                    <a:pt x="718" y="80"/>
                    <a:pt x="724" y="79"/>
                    <a:pt x="733" y="79"/>
                  </a:cubicBezTo>
                  <a:cubicBezTo>
                    <a:pt x="733" y="90"/>
                    <a:pt x="732" y="97"/>
                    <a:pt x="731" y="101"/>
                  </a:cubicBezTo>
                  <a:moveTo>
                    <a:pt x="732" y="118"/>
                  </a:moveTo>
                  <a:cubicBezTo>
                    <a:pt x="749" y="118"/>
                    <a:pt x="749" y="118"/>
                    <a:pt x="749" y="118"/>
                  </a:cubicBezTo>
                  <a:cubicBezTo>
                    <a:pt x="749" y="72"/>
                    <a:pt x="749" y="72"/>
                    <a:pt x="749" y="72"/>
                  </a:cubicBezTo>
                  <a:cubicBezTo>
                    <a:pt x="749" y="67"/>
                    <a:pt x="748" y="63"/>
                    <a:pt x="748" y="60"/>
                  </a:cubicBezTo>
                  <a:cubicBezTo>
                    <a:pt x="747" y="57"/>
                    <a:pt x="745" y="55"/>
                    <a:pt x="744" y="52"/>
                  </a:cubicBezTo>
                  <a:cubicBezTo>
                    <a:pt x="739" y="47"/>
                    <a:pt x="732" y="44"/>
                    <a:pt x="721" y="44"/>
                  </a:cubicBezTo>
                  <a:cubicBezTo>
                    <a:pt x="713" y="44"/>
                    <a:pt x="707" y="45"/>
                    <a:pt x="702" y="48"/>
                  </a:cubicBezTo>
                  <a:cubicBezTo>
                    <a:pt x="699" y="50"/>
                    <a:pt x="697" y="52"/>
                    <a:pt x="695" y="55"/>
                  </a:cubicBezTo>
                  <a:cubicBezTo>
                    <a:pt x="694" y="58"/>
                    <a:pt x="693" y="62"/>
                    <a:pt x="693" y="66"/>
                  </a:cubicBezTo>
                  <a:cubicBezTo>
                    <a:pt x="708" y="66"/>
                    <a:pt x="708" y="66"/>
                    <a:pt x="708" y="66"/>
                  </a:cubicBezTo>
                  <a:cubicBezTo>
                    <a:pt x="708" y="64"/>
                    <a:pt x="708" y="64"/>
                    <a:pt x="708" y="64"/>
                  </a:cubicBezTo>
                  <a:cubicBezTo>
                    <a:pt x="708" y="54"/>
                    <a:pt x="712" y="49"/>
                    <a:pt x="720" y="49"/>
                  </a:cubicBezTo>
                  <a:cubicBezTo>
                    <a:pt x="725" y="49"/>
                    <a:pt x="729" y="51"/>
                    <a:pt x="730" y="54"/>
                  </a:cubicBezTo>
                  <a:cubicBezTo>
                    <a:pt x="732" y="57"/>
                    <a:pt x="733" y="62"/>
                    <a:pt x="733" y="67"/>
                  </a:cubicBezTo>
                  <a:cubicBezTo>
                    <a:pt x="733" y="75"/>
                    <a:pt x="733" y="75"/>
                    <a:pt x="733" y="75"/>
                  </a:cubicBezTo>
                  <a:cubicBezTo>
                    <a:pt x="716" y="75"/>
                    <a:pt x="706" y="77"/>
                    <a:pt x="700" y="80"/>
                  </a:cubicBezTo>
                  <a:cubicBezTo>
                    <a:pt x="693" y="84"/>
                    <a:pt x="689" y="90"/>
                    <a:pt x="689" y="99"/>
                  </a:cubicBezTo>
                  <a:cubicBezTo>
                    <a:pt x="689" y="104"/>
                    <a:pt x="691" y="109"/>
                    <a:pt x="693" y="113"/>
                  </a:cubicBezTo>
                  <a:cubicBezTo>
                    <a:pt x="697" y="118"/>
                    <a:pt x="703" y="120"/>
                    <a:pt x="711" y="120"/>
                  </a:cubicBezTo>
                  <a:cubicBezTo>
                    <a:pt x="717" y="120"/>
                    <a:pt x="723" y="118"/>
                    <a:pt x="727" y="113"/>
                  </a:cubicBezTo>
                  <a:cubicBezTo>
                    <a:pt x="729" y="111"/>
                    <a:pt x="731" y="107"/>
                    <a:pt x="732" y="103"/>
                  </a:cubicBezTo>
                  <a:lnTo>
                    <a:pt x="732" y="118"/>
                  </a:lnTo>
                  <a:close/>
                  <a:moveTo>
                    <a:pt x="656" y="5"/>
                  </a:moveTo>
                  <a:cubicBezTo>
                    <a:pt x="654" y="7"/>
                    <a:pt x="653" y="10"/>
                    <a:pt x="653" y="13"/>
                  </a:cubicBezTo>
                  <a:cubicBezTo>
                    <a:pt x="653" y="15"/>
                    <a:pt x="654" y="18"/>
                    <a:pt x="656" y="19"/>
                  </a:cubicBezTo>
                  <a:cubicBezTo>
                    <a:pt x="658" y="22"/>
                    <a:pt x="661" y="23"/>
                    <a:pt x="664" y="23"/>
                  </a:cubicBezTo>
                  <a:cubicBezTo>
                    <a:pt x="668" y="23"/>
                    <a:pt x="671" y="22"/>
                    <a:pt x="672" y="20"/>
                  </a:cubicBezTo>
                  <a:cubicBezTo>
                    <a:pt x="674" y="18"/>
                    <a:pt x="675" y="16"/>
                    <a:pt x="675" y="13"/>
                  </a:cubicBezTo>
                  <a:cubicBezTo>
                    <a:pt x="675" y="10"/>
                    <a:pt x="675" y="8"/>
                    <a:pt x="673" y="6"/>
                  </a:cubicBezTo>
                  <a:cubicBezTo>
                    <a:pt x="671" y="4"/>
                    <a:pt x="668" y="3"/>
                    <a:pt x="664" y="3"/>
                  </a:cubicBezTo>
                  <a:cubicBezTo>
                    <a:pt x="661" y="3"/>
                    <a:pt x="658" y="4"/>
                    <a:pt x="656" y="5"/>
                  </a:cubicBezTo>
                  <a:moveTo>
                    <a:pt x="656" y="118"/>
                  </a:moveTo>
                  <a:cubicBezTo>
                    <a:pt x="673" y="118"/>
                    <a:pt x="673" y="118"/>
                    <a:pt x="673" y="118"/>
                  </a:cubicBezTo>
                  <a:cubicBezTo>
                    <a:pt x="673" y="46"/>
                    <a:pt x="673" y="46"/>
                    <a:pt x="673" y="46"/>
                  </a:cubicBezTo>
                  <a:cubicBezTo>
                    <a:pt x="656" y="46"/>
                    <a:pt x="656" y="46"/>
                    <a:pt x="656" y="46"/>
                  </a:cubicBezTo>
                  <a:lnTo>
                    <a:pt x="656" y="118"/>
                  </a:lnTo>
                  <a:close/>
                  <a:moveTo>
                    <a:pt x="607" y="53"/>
                  </a:moveTo>
                  <a:cubicBezTo>
                    <a:pt x="610" y="55"/>
                    <a:pt x="612" y="57"/>
                    <a:pt x="613" y="60"/>
                  </a:cubicBezTo>
                  <a:cubicBezTo>
                    <a:pt x="616" y="66"/>
                    <a:pt x="617" y="73"/>
                    <a:pt x="617" y="82"/>
                  </a:cubicBezTo>
                  <a:cubicBezTo>
                    <a:pt x="617" y="87"/>
                    <a:pt x="617" y="91"/>
                    <a:pt x="616" y="95"/>
                  </a:cubicBezTo>
                  <a:cubicBezTo>
                    <a:pt x="615" y="100"/>
                    <a:pt x="613" y="104"/>
                    <a:pt x="611" y="107"/>
                  </a:cubicBezTo>
                  <a:cubicBezTo>
                    <a:pt x="608" y="111"/>
                    <a:pt x="604" y="114"/>
                    <a:pt x="600" y="114"/>
                  </a:cubicBezTo>
                  <a:cubicBezTo>
                    <a:pt x="598" y="114"/>
                    <a:pt x="596" y="113"/>
                    <a:pt x="595" y="112"/>
                  </a:cubicBezTo>
                  <a:cubicBezTo>
                    <a:pt x="593" y="111"/>
                    <a:pt x="591" y="109"/>
                    <a:pt x="590" y="107"/>
                  </a:cubicBezTo>
                  <a:cubicBezTo>
                    <a:pt x="587" y="102"/>
                    <a:pt x="586" y="93"/>
                    <a:pt x="586" y="80"/>
                  </a:cubicBezTo>
                  <a:cubicBezTo>
                    <a:pt x="586" y="75"/>
                    <a:pt x="586" y="71"/>
                    <a:pt x="587" y="66"/>
                  </a:cubicBezTo>
                  <a:cubicBezTo>
                    <a:pt x="588" y="61"/>
                    <a:pt x="589" y="57"/>
                    <a:pt x="591" y="55"/>
                  </a:cubicBezTo>
                  <a:cubicBezTo>
                    <a:pt x="594" y="52"/>
                    <a:pt x="597" y="50"/>
                    <a:pt x="600" y="50"/>
                  </a:cubicBezTo>
                  <a:cubicBezTo>
                    <a:pt x="603" y="50"/>
                    <a:pt x="605" y="51"/>
                    <a:pt x="607" y="53"/>
                  </a:cubicBezTo>
                  <a:moveTo>
                    <a:pt x="634" y="0"/>
                  </a:moveTo>
                  <a:cubicBezTo>
                    <a:pt x="617" y="0"/>
                    <a:pt x="617" y="0"/>
                    <a:pt x="617" y="0"/>
                  </a:cubicBezTo>
                  <a:cubicBezTo>
                    <a:pt x="617" y="61"/>
                    <a:pt x="617" y="61"/>
                    <a:pt x="617" y="61"/>
                  </a:cubicBezTo>
                  <a:cubicBezTo>
                    <a:pt x="613" y="50"/>
                    <a:pt x="606" y="44"/>
                    <a:pt x="596" y="44"/>
                  </a:cubicBezTo>
                  <a:cubicBezTo>
                    <a:pt x="591" y="44"/>
                    <a:pt x="586" y="45"/>
                    <a:pt x="582" y="48"/>
                  </a:cubicBezTo>
                  <a:cubicBezTo>
                    <a:pt x="578" y="51"/>
                    <a:pt x="574" y="54"/>
                    <a:pt x="573" y="58"/>
                  </a:cubicBezTo>
                  <a:cubicBezTo>
                    <a:pt x="570" y="65"/>
                    <a:pt x="568" y="73"/>
                    <a:pt x="568" y="82"/>
                  </a:cubicBezTo>
                  <a:cubicBezTo>
                    <a:pt x="568" y="87"/>
                    <a:pt x="569" y="91"/>
                    <a:pt x="570" y="96"/>
                  </a:cubicBezTo>
                  <a:cubicBezTo>
                    <a:pt x="571" y="102"/>
                    <a:pt x="573" y="107"/>
                    <a:pt x="576" y="110"/>
                  </a:cubicBezTo>
                  <a:cubicBezTo>
                    <a:pt x="581" y="117"/>
                    <a:pt x="588" y="120"/>
                    <a:pt x="596" y="120"/>
                  </a:cubicBezTo>
                  <a:cubicBezTo>
                    <a:pt x="602" y="120"/>
                    <a:pt x="607" y="118"/>
                    <a:pt x="612" y="113"/>
                  </a:cubicBezTo>
                  <a:cubicBezTo>
                    <a:pt x="614" y="110"/>
                    <a:pt x="616" y="106"/>
                    <a:pt x="618" y="101"/>
                  </a:cubicBezTo>
                  <a:cubicBezTo>
                    <a:pt x="618" y="118"/>
                    <a:pt x="618" y="118"/>
                    <a:pt x="618" y="118"/>
                  </a:cubicBezTo>
                  <a:cubicBezTo>
                    <a:pt x="634" y="118"/>
                    <a:pt x="634" y="118"/>
                    <a:pt x="634" y="118"/>
                  </a:cubicBezTo>
                  <a:lnTo>
                    <a:pt x="634" y="0"/>
                  </a:lnTo>
                  <a:close/>
                  <a:moveTo>
                    <a:pt x="466" y="77"/>
                  </a:moveTo>
                  <a:cubicBezTo>
                    <a:pt x="466" y="72"/>
                    <a:pt x="467" y="67"/>
                    <a:pt x="468" y="63"/>
                  </a:cubicBezTo>
                  <a:cubicBezTo>
                    <a:pt x="471" y="54"/>
                    <a:pt x="476" y="49"/>
                    <a:pt x="483" y="49"/>
                  </a:cubicBezTo>
                  <a:cubicBezTo>
                    <a:pt x="488" y="49"/>
                    <a:pt x="492" y="51"/>
                    <a:pt x="494" y="56"/>
                  </a:cubicBezTo>
                  <a:cubicBezTo>
                    <a:pt x="497" y="62"/>
                    <a:pt x="498" y="69"/>
                    <a:pt x="498" y="77"/>
                  </a:cubicBezTo>
                  <a:lnTo>
                    <a:pt x="466" y="77"/>
                  </a:lnTo>
                  <a:close/>
                  <a:moveTo>
                    <a:pt x="505" y="52"/>
                  </a:moveTo>
                  <a:cubicBezTo>
                    <a:pt x="499" y="47"/>
                    <a:pt x="492" y="44"/>
                    <a:pt x="483" y="44"/>
                  </a:cubicBezTo>
                  <a:cubicBezTo>
                    <a:pt x="476" y="44"/>
                    <a:pt x="470" y="46"/>
                    <a:pt x="465" y="49"/>
                  </a:cubicBezTo>
                  <a:cubicBezTo>
                    <a:pt x="460" y="52"/>
                    <a:pt x="457" y="56"/>
                    <a:pt x="455" y="60"/>
                  </a:cubicBezTo>
                  <a:cubicBezTo>
                    <a:pt x="452" y="66"/>
                    <a:pt x="450" y="73"/>
                    <a:pt x="450" y="81"/>
                  </a:cubicBezTo>
                  <a:cubicBezTo>
                    <a:pt x="450" y="86"/>
                    <a:pt x="451" y="91"/>
                    <a:pt x="452" y="95"/>
                  </a:cubicBezTo>
                  <a:cubicBezTo>
                    <a:pt x="454" y="101"/>
                    <a:pt x="456" y="105"/>
                    <a:pt x="459" y="109"/>
                  </a:cubicBezTo>
                  <a:cubicBezTo>
                    <a:pt x="465" y="116"/>
                    <a:pt x="473" y="120"/>
                    <a:pt x="484" y="120"/>
                  </a:cubicBezTo>
                  <a:cubicBezTo>
                    <a:pt x="500" y="120"/>
                    <a:pt x="509" y="112"/>
                    <a:pt x="513" y="97"/>
                  </a:cubicBezTo>
                  <a:cubicBezTo>
                    <a:pt x="506" y="97"/>
                    <a:pt x="506" y="97"/>
                    <a:pt x="506" y="97"/>
                  </a:cubicBezTo>
                  <a:cubicBezTo>
                    <a:pt x="505" y="101"/>
                    <a:pt x="503" y="104"/>
                    <a:pt x="501" y="107"/>
                  </a:cubicBezTo>
                  <a:cubicBezTo>
                    <a:pt x="497" y="112"/>
                    <a:pt x="492" y="114"/>
                    <a:pt x="486" y="114"/>
                  </a:cubicBezTo>
                  <a:cubicBezTo>
                    <a:pt x="473" y="114"/>
                    <a:pt x="467" y="104"/>
                    <a:pt x="466" y="83"/>
                  </a:cubicBezTo>
                  <a:cubicBezTo>
                    <a:pt x="514" y="83"/>
                    <a:pt x="514" y="83"/>
                    <a:pt x="514" y="83"/>
                  </a:cubicBezTo>
                  <a:cubicBezTo>
                    <a:pt x="514" y="68"/>
                    <a:pt x="511" y="58"/>
                    <a:pt x="505" y="52"/>
                  </a:cubicBezTo>
                  <a:moveTo>
                    <a:pt x="388" y="108"/>
                  </a:moveTo>
                  <a:cubicBezTo>
                    <a:pt x="392" y="116"/>
                    <a:pt x="400" y="120"/>
                    <a:pt x="412" y="120"/>
                  </a:cubicBezTo>
                  <a:cubicBezTo>
                    <a:pt x="419" y="120"/>
                    <a:pt x="424" y="119"/>
                    <a:pt x="428" y="116"/>
                  </a:cubicBezTo>
                  <a:cubicBezTo>
                    <a:pt x="435" y="112"/>
                    <a:pt x="438" y="105"/>
                    <a:pt x="438" y="97"/>
                  </a:cubicBezTo>
                  <a:cubicBezTo>
                    <a:pt x="438" y="92"/>
                    <a:pt x="437" y="89"/>
                    <a:pt x="436" y="86"/>
                  </a:cubicBezTo>
                  <a:cubicBezTo>
                    <a:pt x="433" y="81"/>
                    <a:pt x="428" y="78"/>
                    <a:pt x="420" y="76"/>
                  </a:cubicBezTo>
                  <a:cubicBezTo>
                    <a:pt x="410" y="73"/>
                    <a:pt x="410" y="73"/>
                    <a:pt x="410" y="73"/>
                  </a:cubicBezTo>
                  <a:cubicBezTo>
                    <a:pt x="403" y="71"/>
                    <a:pt x="400" y="67"/>
                    <a:pt x="400" y="61"/>
                  </a:cubicBezTo>
                  <a:cubicBezTo>
                    <a:pt x="400" y="58"/>
                    <a:pt x="401" y="55"/>
                    <a:pt x="403" y="53"/>
                  </a:cubicBezTo>
                  <a:cubicBezTo>
                    <a:pt x="405" y="51"/>
                    <a:pt x="408" y="49"/>
                    <a:pt x="412" y="49"/>
                  </a:cubicBezTo>
                  <a:cubicBezTo>
                    <a:pt x="414" y="49"/>
                    <a:pt x="416" y="50"/>
                    <a:pt x="418" y="51"/>
                  </a:cubicBezTo>
                  <a:cubicBezTo>
                    <a:pt x="420" y="52"/>
                    <a:pt x="421" y="53"/>
                    <a:pt x="421" y="55"/>
                  </a:cubicBezTo>
                  <a:cubicBezTo>
                    <a:pt x="422" y="57"/>
                    <a:pt x="423" y="61"/>
                    <a:pt x="423" y="66"/>
                  </a:cubicBezTo>
                  <a:cubicBezTo>
                    <a:pt x="437" y="66"/>
                    <a:pt x="437" y="66"/>
                    <a:pt x="437" y="66"/>
                  </a:cubicBezTo>
                  <a:cubicBezTo>
                    <a:pt x="436" y="61"/>
                    <a:pt x="435" y="57"/>
                    <a:pt x="433" y="54"/>
                  </a:cubicBezTo>
                  <a:cubicBezTo>
                    <a:pt x="429" y="47"/>
                    <a:pt x="422" y="44"/>
                    <a:pt x="412" y="44"/>
                  </a:cubicBezTo>
                  <a:cubicBezTo>
                    <a:pt x="406" y="44"/>
                    <a:pt x="401" y="45"/>
                    <a:pt x="396" y="48"/>
                  </a:cubicBezTo>
                  <a:cubicBezTo>
                    <a:pt x="390" y="52"/>
                    <a:pt x="386" y="58"/>
                    <a:pt x="386" y="66"/>
                  </a:cubicBezTo>
                  <a:cubicBezTo>
                    <a:pt x="386" y="72"/>
                    <a:pt x="388" y="77"/>
                    <a:pt x="392" y="81"/>
                  </a:cubicBezTo>
                  <a:cubicBezTo>
                    <a:pt x="395" y="83"/>
                    <a:pt x="400" y="86"/>
                    <a:pt x="406" y="88"/>
                  </a:cubicBezTo>
                  <a:cubicBezTo>
                    <a:pt x="414" y="90"/>
                    <a:pt x="414" y="90"/>
                    <a:pt x="414" y="90"/>
                  </a:cubicBezTo>
                  <a:cubicBezTo>
                    <a:pt x="421" y="92"/>
                    <a:pt x="425" y="96"/>
                    <a:pt x="425" y="102"/>
                  </a:cubicBezTo>
                  <a:cubicBezTo>
                    <a:pt x="425" y="105"/>
                    <a:pt x="424" y="108"/>
                    <a:pt x="422" y="110"/>
                  </a:cubicBezTo>
                  <a:cubicBezTo>
                    <a:pt x="420" y="113"/>
                    <a:pt x="417" y="115"/>
                    <a:pt x="412" y="115"/>
                  </a:cubicBezTo>
                  <a:cubicBezTo>
                    <a:pt x="409" y="115"/>
                    <a:pt x="407" y="114"/>
                    <a:pt x="404" y="112"/>
                  </a:cubicBezTo>
                  <a:cubicBezTo>
                    <a:pt x="403" y="111"/>
                    <a:pt x="401" y="110"/>
                    <a:pt x="401" y="108"/>
                  </a:cubicBezTo>
                  <a:cubicBezTo>
                    <a:pt x="399" y="105"/>
                    <a:pt x="399" y="101"/>
                    <a:pt x="399" y="96"/>
                  </a:cubicBezTo>
                  <a:cubicBezTo>
                    <a:pt x="384" y="96"/>
                    <a:pt x="384" y="96"/>
                    <a:pt x="384" y="96"/>
                  </a:cubicBezTo>
                  <a:cubicBezTo>
                    <a:pt x="385" y="101"/>
                    <a:pt x="386" y="105"/>
                    <a:pt x="388" y="108"/>
                  </a:cubicBezTo>
                  <a:moveTo>
                    <a:pt x="352" y="46"/>
                  </a:moveTo>
                  <a:cubicBezTo>
                    <a:pt x="352" y="76"/>
                    <a:pt x="352" y="76"/>
                    <a:pt x="352" y="76"/>
                  </a:cubicBezTo>
                  <a:cubicBezTo>
                    <a:pt x="352" y="93"/>
                    <a:pt x="350" y="103"/>
                    <a:pt x="345" y="108"/>
                  </a:cubicBezTo>
                  <a:cubicBezTo>
                    <a:pt x="342" y="111"/>
                    <a:pt x="339" y="113"/>
                    <a:pt x="336" y="113"/>
                  </a:cubicBezTo>
                  <a:cubicBezTo>
                    <a:pt x="332" y="113"/>
                    <a:pt x="329" y="111"/>
                    <a:pt x="327" y="107"/>
                  </a:cubicBezTo>
                  <a:cubicBezTo>
                    <a:pt x="326" y="104"/>
                    <a:pt x="326" y="99"/>
                    <a:pt x="326" y="92"/>
                  </a:cubicBezTo>
                  <a:cubicBezTo>
                    <a:pt x="326" y="46"/>
                    <a:pt x="326" y="46"/>
                    <a:pt x="326" y="46"/>
                  </a:cubicBezTo>
                  <a:cubicBezTo>
                    <a:pt x="309" y="46"/>
                    <a:pt x="309" y="46"/>
                    <a:pt x="309" y="46"/>
                  </a:cubicBezTo>
                  <a:cubicBezTo>
                    <a:pt x="309" y="92"/>
                    <a:pt x="309" y="92"/>
                    <a:pt x="309" y="92"/>
                  </a:cubicBezTo>
                  <a:cubicBezTo>
                    <a:pt x="309" y="100"/>
                    <a:pt x="309" y="105"/>
                    <a:pt x="311" y="109"/>
                  </a:cubicBezTo>
                  <a:cubicBezTo>
                    <a:pt x="315" y="116"/>
                    <a:pt x="321" y="120"/>
                    <a:pt x="330" y="120"/>
                  </a:cubicBezTo>
                  <a:cubicBezTo>
                    <a:pt x="342" y="120"/>
                    <a:pt x="350" y="113"/>
                    <a:pt x="353" y="98"/>
                  </a:cubicBezTo>
                  <a:cubicBezTo>
                    <a:pt x="353" y="118"/>
                    <a:pt x="353" y="118"/>
                    <a:pt x="353" y="118"/>
                  </a:cubicBezTo>
                  <a:cubicBezTo>
                    <a:pt x="369" y="118"/>
                    <a:pt x="369" y="118"/>
                    <a:pt x="369" y="118"/>
                  </a:cubicBezTo>
                  <a:cubicBezTo>
                    <a:pt x="369" y="46"/>
                    <a:pt x="369" y="46"/>
                    <a:pt x="369" y="46"/>
                  </a:cubicBezTo>
                  <a:lnTo>
                    <a:pt x="352" y="46"/>
                  </a:lnTo>
                  <a:close/>
                  <a:moveTo>
                    <a:pt x="272" y="101"/>
                  </a:moveTo>
                  <a:cubicBezTo>
                    <a:pt x="269" y="109"/>
                    <a:pt x="265" y="113"/>
                    <a:pt x="258" y="113"/>
                  </a:cubicBezTo>
                  <a:cubicBezTo>
                    <a:pt x="251" y="113"/>
                    <a:pt x="248" y="108"/>
                    <a:pt x="248" y="98"/>
                  </a:cubicBezTo>
                  <a:cubicBezTo>
                    <a:pt x="248" y="90"/>
                    <a:pt x="251" y="85"/>
                    <a:pt x="256" y="82"/>
                  </a:cubicBezTo>
                  <a:cubicBezTo>
                    <a:pt x="259" y="80"/>
                    <a:pt x="265" y="79"/>
                    <a:pt x="274" y="79"/>
                  </a:cubicBezTo>
                  <a:cubicBezTo>
                    <a:pt x="274" y="90"/>
                    <a:pt x="273" y="97"/>
                    <a:pt x="272" y="101"/>
                  </a:cubicBezTo>
                  <a:moveTo>
                    <a:pt x="274" y="118"/>
                  </a:moveTo>
                  <a:cubicBezTo>
                    <a:pt x="290" y="118"/>
                    <a:pt x="290" y="118"/>
                    <a:pt x="290" y="118"/>
                  </a:cubicBezTo>
                  <a:cubicBezTo>
                    <a:pt x="290" y="72"/>
                    <a:pt x="290" y="72"/>
                    <a:pt x="290" y="72"/>
                  </a:cubicBezTo>
                  <a:cubicBezTo>
                    <a:pt x="290" y="67"/>
                    <a:pt x="290" y="63"/>
                    <a:pt x="289" y="60"/>
                  </a:cubicBezTo>
                  <a:cubicBezTo>
                    <a:pt x="288" y="57"/>
                    <a:pt x="287" y="55"/>
                    <a:pt x="285" y="52"/>
                  </a:cubicBezTo>
                  <a:cubicBezTo>
                    <a:pt x="280" y="47"/>
                    <a:pt x="273" y="44"/>
                    <a:pt x="263" y="44"/>
                  </a:cubicBezTo>
                  <a:cubicBezTo>
                    <a:pt x="255" y="44"/>
                    <a:pt x="248" y="45"/>
                    <a:pt x="243" y="48"/>
                  </a:cubicBezTo>
                  <a:cubicBezTo>
                    <a:pt x="241" y="50"/>
                    <a:pt x="239" y="52"/>
                    <a:pt x="237" y="55"/>
                  </a:cubicBezTo>
                  <a:cubicBezTo>
                    <a:pt x="235" y="58"/>
                    <a:pt x="234" y="62"/>
                    <a:pt x="234" y="66"/>
                  </a:cubicBezTo>
                  <a:cubicBezTo>
                    <a:pt x="249" y="66"/>
                    <a:pt x="249" y="66"/>
                    <a:pt x="249" y="66"/>
                  </a:cubicBezTo>
                  <a:cubicBezTo>
                    <a:pt x="249" y="64"/>
                    <a:pt x="249" y="64"/>
                    <a:pt x="249" y="64"/>
                  </a:cubicBezTo>
                  <a:cubicBezTo>
                    <a:pt x="249" y="54"/>
                    <a:pt x="253" y="49"/>
                    <a:pt x="262" y="49"/>
                  </a:cubicBezTo>
                  <a:cubicBezTo>
                    <a:pt x="267" y="49"/>
                    <a:pt x="270" y="51"/>
                    <a:pt x="272" y="54"/>
                  </a:cubicBezTo>
                  <a:cubicBezTo>
                    <a:pt x="273" y="57"/>
                    <a:pt x="274" y="62"/>
                    <a:pt x="274" y="67"/>
                  </a:cubicBezTo>
                  <a:cubicBezTo>
                    <a:pt x="274" y="75"/>
                    <a:pt x="274" y="75"/>
                    <a:pt x="274" y="75"/>
                  </a:cubicBezTo>
                  <a:cubicBezTo>
                    <a:pt x="258" y="75"/>
                    <a:pt x="247" y="77"/>
                    <a:pt x="242" y="80"/>
                  </a:cubicBezTo>
                  <a:cubicBezTo>
                    <a:pt x="234" y="84"/>
                    <a:pt x="231" y="90"/>
                    <a:pt x="231" y="99"/>
                  </a:cubicBezTo>
                  <a:cubicBezTo>
                    <a:pt x="231" y="104"/>
                    <a:pt x="232" y="109"/>
                    <a:pt x="235" y="113"/>
                  </a:cubicBezTo>
                  <a:cubicBezTo>
                    <a:pt x="239" y="118"/>
                    <a:pt x="244" y="120"/>
                    <a:pt x="252" y="120"/>
                  </a:cubicBezTo>
                  <a:cubicBezTo>
                    <a:pt x="259" y="120"/>
                    <a:pt x="264" y="118"/>
                    <a:pt x="268" y="113"/>
                  </a:cubicBezTo>
                  <a:cubicBezTo>
                    <a:pt x="270" y="111"/>
                    <a:pt x="272" y="107"/>
                    <a:pt x="274" y="103"/>
                  </a:cubicBezTo>
                  <a:lnTo>
                    <a:pt x="274" y="118"/>
                  </a:lnTo>
                  <a:close/>
                  <a:moveTo>
                    <a:pt x="210" y="106"/>
                  </a:moveTo>
                  <a:cubicBezTo>
                    <a:pt x="207" y="111"/>
                    <a:pt x="202" y="114"/>
                    <a:pt x="196" y="114"/>
                  </a:cubicBezTo>
                  <a:cubicBezTo>
                    <a:pt x="190" y="114"/>
                    <a:pt x="185" y="111"/>
                    <a:pt x="182" y="105"/>
                  </a:cubicBezTo>
                  <a:cubicBezTo>
                    <a:pt x="180" y="100"/>
                    <a:pt x="179" y="92"/>
                    <a:pt x="179" y="82"/>
                  </a:cubicBezTo>
                  <a:cubicBezTo>
                    <a:pt x="179" y="60"/>
                    <a:pt x="184" y="49"/>
                    <a:pt x="194" y="49"/>
                  </a:cubicBezTo>
                  <a:cubicBezTo>
                    <a:pt x="202" y="49"/>
                    <a:pt x="206" y="56"/>
                    <a:pt x="206" y="71"/>
                  </a:cubicBezTo>
                  <a:cubicBezTo>
                    <a:pt x="221" y="71"/>
                    <a:pt x="221" y="71"/>
                    <a:pt x="221" y="71"/>
                  </a:cubicBezTo>
                  <a:cubicBezTo>
                    <a:pt x="221" y="66"/>
                    <a:pt x="220" y="61"/>
                    <a:pt x="218" y="57"/>
                  </a:cubicBezTo>
                  <a:cubicBezTo>
                    <a:pt x="213" y="48"/>
                    <a:pt x="205" y="44"/>
                    <a:pt x="194" y="44"/>
                  </a:cubicBezTo>
                  <a:cubicBezTo>
                    <a:pt x="183" y="44"/>
                    <a:pt x="175" y="48"/>
                    <a:pt x="168" y="56"/>
                  </a:cubicBezTo>
                  <a:cubicBezTo>
                    <a:pt x="163" y="62"/>
                    <a:pt x="160" y="71"/>
                    <a:pt x="160" y="82"/>
                  </a:cubicBezTo>
                  <a:cubicBezTo>
                    <a:pt x="160" y="94"/>
                    <a:pt x="163" y="103"/>
                    <a:pt x="169" y="110"/>
                  </a:cubicBezTo>
                  <a:cubicBezTo>
                    <a:pt x="175" y="116"/>
                    <a:pt x="183" y="120"/>
                    <a:pt x="193" y="120"/>
                  </a:cubicBezTo>
                  <a:cubicBezTo>
                    <a:pt x="199" y="120"/>
                    <a:pt x="204" y="119"/>
                    <a:pt x="209" y="116"/>
                  </a:cubicBezTo>
                  <a:cubicBezTo>
                    <a:pt x="212" y="114"/>
                    <a:pt x="214" y="112"/>
                    <a:pt x="216" y="109"/>
                  </a:cubicBezTo>
                  <a:cubicBezTo>
                    <a:pt x="218" y="106"/>
                    <a:pt x="220" y="101"/>
                    <a:pt x="220" y="96"/>
                  </a:cubicBezTo>
                  <a:cubicBezTo>
                    <a:pt x="214" y="96"/>
                    <a:pt x="214" y="96"/>
                    <a:pt x="214" y="96"/>
                  </a:cubicBezTo>
                  <a:cubicBezTo>
                    <a:pt x="213" y="100"/>
                    <a:pt x="212" y="103"/>
                    <a:pt x="210" y="106"/>
                  </a:cubicBezTo>
                  <a:moveTo>
                    <a:pt x="101" y="77"/>
                  </a:moveTo>
                  <a:cubicBezTo>
                    <a:pt x="101" y="72"/>
                    <a:pt x="101" y="67"/>
                    <a:pt x="103" y="63"/>
                  </a:cubicBezTo>
                  <a:cubicBezTo>
                    <a:pt x="105" y="54"/>
                    <a:pt x="110" y="49"/>
                    <a:pt x="117" y="49"/>
                  </a:cubicBezTo>
                  <a:cubicBezTo>
                    <a:pt x="122" y="49"/>
                    <a:pt x="126" y="51"/>
                    <a:pt x="128" y="56"/>
                  </a:cubicBezTo>
                  <a:cubicBezTo>
                    <a:pt x="131" y="62"/>
                    <a:pt x="133" y="69"/>
                    <a:pt x="133" y="77"/>
                  </a:cubicBezTo>
                  <a:lnTo>
                    <a:pt x="101" y="77"/>
                  </a:lnTo>
                  <a:close/>
                  <a:moveTo>
                    <a:pt x="139" y="52"/>
                  </a:moveTo>
                  <a:cubicBezTo>
                    <a:pt x="133" y="47"/>
                    <a:pt x="126" y="44"/>
                    <a:pt x="117" y="44"/>
                  </a:cubicBezTo>
                  <a:cubicBezTo>
                    <a:pt x="110" y="44"/>
                    <a:pt x="104" y="46"/>
                    <a:pt x="99" y="49"/>
                  </a:cubicBezTo>
                  <a:cubicBezTo>
                    <a:pt x="95" y="52"/>
                    <a:pt x="92" y="56"/>
                    <a:pt x="89" y="60"/>
                  </a:cubicBezTo>
                  <a:cubicBezTo>
                    <a:pt x="86" y="66"/>
                    <a:pt x="85" y="73"/>
                    <a:pt x="85" y="81"/>
                  </a:cubicBezTo>
                  <a:cubicBezTo>
                    <a:pt x="85" y="86"/>
                    <a:pt x="85" y="91"/>
                    <a:pt x="86" y="95"/>
                  </a:cubicBezTo>
                  <a:cubicBezTo>
                    <a:pt x="88" y="101"/>
                    <a:pt x="90" y="105"/>
                    <a:pt x="93" y="109"/>
                  </a:cubicBezTo>
                  <a:cubicBezTo>
                    <a:pt x="99" y="116"/>
                    <a:pt x="107" y="120"/>
                    <a:pt x="118" y="120"/>
                  </a:cubicBezTo>
                  <a:cubicBezTo>
                    <a:pt x="134" y="120"/>
                    <a:pt x="144" y="112"/>
                    <a:pt x="147" y="97"/>
                  </a:cubicBezTo>
                  <a:cubicBezTo>
                    <a:pt x="140" y="97"/>
                    <a:pt x="140" y="97"/>
                    <a:pt x="140" y="97"/>
                  </a:cubicBezTo>
                  <a:cubicBezTo>
                    <a:pt x="139" y="101"/>
                    <a:pt x="138" y="104"/>
                    <a:pt x="135" y="107"/>
                  </a:cubicBezTo>
                  <a:cubicBezTo>
                    <a:pt x="131" y="112"/>
                    <a:pt x="126" y="114"/>
                    <a:pt x="120" y="114"/>
                  </a:cubicBezTo>
                  <a:cubicBezTo>
                    <a:pt x="107" y="114"/>
                    <a:pt x="101" y="104"/>
                    <a:pt x="101" y="83"/>
                  </a:cubicBezTo>
                  <a:cubicBezTo>
                    <a:pt x="149" y="83"/>
                    <a:pt x="149" y="83"/>
                    <a:pt x="149" y="83"/>
                  </a:cubicBezTo>
                  <a:cubicBezTo>
                    <a:pt x="148" y="68"/>
                    <a:pt x="145" y="58"/>
                    <a:pt x="139" y="52"/>
                  </a:cubicBezTo>
                  <a:moveTo>
                    <a:pt x="19" y="63"/>
                  </a:moveTo>
                  <a:cubicBezTo>
                    <a:pt x="31" y="63"/>
                    <a:pt x="31" y="63"/>
                    <a:pt x="31" y="63"/>
                  </a:cubicBezTo>
                  <a:cubicBezTo>
                    <a:pt x="37" y="63"/>
                    <a:pt x="41" y="65"/>
                    <a:pt x="44" y="67"/>
                  </a:cubicBezTo>
                  <a:cubicBezTo>
                    <a:pt x="50" y="71"/>
                    <a:pt x="52" y="78"/>
                    <a:pt x="52" y="88"/>
                  </a:cubicBezTo>
                  <a:cubicBezTo>
                    <a:pt x="52" y="98"/>
                    <a:pt x="50" y="105"/>
                    <a:pt x="44" y="109"/>
                  </a:cubicBezTo>
                  <a:cubicBezTo>
                    <a:pt x="41" y="111"/>
                    <a:pt x="36" y="112"/>
                    <a:pt x="30" y="112"/>
                  </a:cubicBezTo>
                  <a:cubicBezTo>
                    <a:pt x="19" y="112"/>
                    <a:pt x="19" y="112"/>
                    <a:pt x="19" y="112"/>
                  </a:cubicBezTo>
                  <a:lnTo>
                    <a:pt x="19" y="63"/>
                  </a:lnTo>
                  <a:close/>
                  <a:moveTo>
                    <a:pt x="19" y="12"/>
                  </a:moveTo>
                  <a:cubicBezTo>
                    <a:pt x="27" y="12"/>
                    <a:pt x="27" y="12"/>
                    <a:pt x="27" y="12"/>
                  </a:cubicBezTo>
                  <a:cubicBezTo>
                    <a:pt x="31" y="12"/>
                    <a:pt x="34" y="12"/>
                    <a:pt x="36" y="13"/>
                  </a:cubicBezTo>
                  <a:cubicBezTo>
                    <a:pt x="39" y="13"/>
                    <a:pt x="41" y="14"/>
                    <a:pt x="43" y="15"/>
                  </a:cubicBezTo>
                  <a:cubicBezTo>
                    <a:pt x="48" y="19"/>
                    <a:pt x="50" y="25"/>
                    <a:pt x="50" y="34"/>
                  </a:cubicBezTo>
                  <a:cubicBezTo>
                    <a:pt x="50" y="41"/>
                    <a:pt x="49" y="47"/>
                    <a:pt x="46" y="51"/>
                  </a:cubicBezTo>
                  <a:cubicBezTo>
                    <a:pt x="43" y="55"/>
                    <a:pt x="38" y="58"/>
                    <a:pt x="30" y="58"/>
                  </a:cubicBezTo>
                  <a:cubicBezTo>
                    <a:pt x="19" y="58"/>
                    <a:pt x="19" y="58"/>
                    <a:pt x="19" y="58"/>
                  </a:cubicBezTo>
                  <a:lnTo>
                    <a:pt x="19" y="12"/>
                  </a:lnTo>
                  <a:close/>
                  <a:moveTo>
                    <a:pt x="0" y="118"/>
                  </a:moveTo>
                  <a:cubicBezTo>
                    <a:pt x="31" y="118"/>
                    <a:pt x="31" y="118"/>
                    <a:pt x="31" y="118"/>
                  </a:cubicBezTo>
                  <a:cubicBezTo>
                    <a:pt x="39" y="118"/>
                    <a:pt x="44" y="118"/>
                    <a:pt x="48" y="117"/>
                  </a:cubicBezTo>
                  <a:cubicBezTo>
                    <a:pt x="56" y="116"/>
                    <a:pt x="62" y="112"/>
                    <a:pt x="66" y="107"/>
                  </a:cubicBezTo>
                  <a:cubicBezTo>
                    <a:pt x="70" y="102"/>
                    <a:pt x="72" y="96"/>
                    <a:pt x="72" y="88"/>
                  </a:cubicBezTo>
                  <a:cubicBezTo>
                    <a:pt x="72" y="78"/>
                    <a:pt x="69" y="71"/>
                    <a:pt x="62" y="66"/>
                  </a:cubicBezTo>
                  <a:cubicBezTo>
                    <a:pt x="58" y="63"/>
                    <a:pt x="52" y="61"/>
                    <a:pt x="44" y="61"/>
                  </a:cubicBezTo>
                  <a:cubicBezTo>
                    <a:pt x="44" y="60"/>
                    <a:pt x="44" y="60"/>
                    <a:pt x="44" y="60"/>
                  </a:cubicBezTo>
                  <a:cubicBezTo>
                    <a:pt x="61" y="58"/>
                    <a:pt x="70" y="49"/>
                    <a:pt x="70" y="34"/>
                  </a:cubicBezTo>
                  <a:cubicBezTo>
                    <a:pt x="70" y="28"/>
                    <a:pt x="68" y="23"/>
                    <a:pt x="66" y="19"/>
                  </a:cubicBezTo>
                  <a:cubicBezTo>
                    <a:pt x="62" y="14"/>
                    <a:pt x="57" y="10"/>
                    <a:pt x="51" y="8"/>
                  </a:cubicBezTo>
                  <a:cubicBezTo>
                    <a:pt x="47" y="7"/>
                    <a:pt x="41" y="6"/>
                    <a:pt x="33" y="6"/>
                  </a:cubicBezTo>
                  <a:cubicBezTo>
                    <a:pt x="0" y="6"/>
                    <a:pt x="0" y="6"/>
                    <a:pt x="0" y="6"/>
                  </a:cubicBezTo>
                  <a:lnTo>
                    <a:pt x="0" y="11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0">
              <a:extLst>
                <a:ext uri="{FF2B5EF4-FFF2-40B4-BE49-F238E27FC236}">
                  <a16:creationId xmlns:a16="http://schemas.microsoft.com/office/drawing/2014/main" id="{CBF0E951-A41C-470A-94A6-940254B21B35}"/>
                </a:ext>
              </a:extLst>
            </p:cNvPr>
            <p:cNvSpPr>
              <a:spLocks noEditPoints="1"/>
            </p:cNvSpPr>
            <p:nvPr userDrawn="1"/>
          </p:nvSpPr>
          <p:spPr bwMode="auto">
            <a:xfrm>
              <a:off x="6669088" y="4232276"/>
              <a:ext cx="706438" cy="723900"/>
            </a:xfrm>
            <a:custGeom>
              <a:avLst/>
              <a:gdLst>
                <a:gd name="T0" fmla="*/ 234 w 324"/>
                <a:gd name="T1" fmla="*/ 223 h 331"/>
                <a:gd name="T2" fmla="*/ 207 w 324"/>
                <a:gd name="T3" fmla="*/ 270 h 331"/>
                <a:gd name="T4" fmla="*/ 166 w 324"/>
                <a:gd name="T5" fmla="*/ 300 h 331"/>
                <a:gd name="T6" fmla="*/ 115 w 324"/>
                <a:gd name="T7" fmla="*/ 311 h 331"/>
                <a:gd name="T8" fmla="*/ 110 w 324"/>
                <a:gd name="T9" fmla="*/ 311 h 331"/>
                <a:gd name="T10" fmla="*/ 69 w 324"/>
                <a:gd name="T11" fmla="*/ 307 h 331"/>
                <a:gd name="T12" fmla="*/ 69 w 324"/>
                <a:gd name="T13" fmla="*/ 24 h 331"/>
                <a:gd name="T14" fmla="*/ 110 w 324"/>
                <a:gd name="T15" fmla="*/ 21 h 331"/>
                <a:gd name="T16" fmla="*/ 114 w 324"/>
                <a:gd name="T17" fmla="*/ 21 h 331"/>
                <a:gd name="T18" fmla="*/ 167 w 324"/>
                <a:gd name="T19" fmla="*/ 31 h 331"/>
                <a:gd name="T20" fmla="*/ 208 w 324"/>
                <a:gd name="T21" fmla="*/ 62 h 331"/>
                <a:gd name="T22" fmla="*/ 234 w 324"/>
                <a:gd name="T23" fmla="*/ 109 h 331"/>
                <a:gd name="T24" fmla="*/ 243 w 324"/>
                <a:gd name="T25" fmla="*/ 160 h 331"/>
                <a:gd name="T26" fmla="*/ 234 w 324"/>
                <a:gd name="T27" fmla="*/ 223 h 331"/>
                <a:gd name="T28" fmla="*/ 310 w 324"/>
                <a:gd name="T29" fmla="*/ 98 h 331"/>
                <a:gd name="T30" fmla="*/ 268 w 324"/>
                <a:gd name="T31" fmla="*/ 45 h 331"/>
                <a:gd name="T32" fmla="*/ 199 w 324"/>
                <a:gd name="T33" fmla="*/ 12 h 331"/>
                <a:gd name="T34" fmla="*/ 103 w 324"/>
                <a:gd name="T35" fmla="*/ 0 h 331"/>
                <a:gd name="T36" fmla="*/ 0 w 324"/>
                <a:gd name="T37" fmla="*/ 0 h 331"/>
                <a:gd name="T38" fmla="*/ 0 w 324"/>
                <a:gd name="T39" fmla="*/ 67 h 331"/>
                <a:gd name="T40" fmla="*/ 0 w 324"/>
                <a:gd name="T41" fmla="*/ 331 h 331"/>
                <a:gd name="T42" fmla="*/ 117 w 324"/>
                <a:gd name="T43" fmla="*/ 331 h 331"/>
                <a:gd name="T44" fmla="*/ 206 w 324"/>
                <a:gd name="T45" fmla="*/ 319 h 331"/>
                <a:gd name="T46" fmla="*/ 271 w 324"/>
                <a:gd name="T47" fmla="*/ 283 h 331"/>
                <a:gd name="T48" fmla="*/ 310 w 324"/>
                <a:gd name="T49" fmla="*/ 228 h 331"/>
                <a:gd name="T50" fmla="*/ 324 w 324"/>
                <a:gd name="T51" fmla="*/ 158 h 331"/>
                <a:gd name="T52" fmla="*/ 310 w 324"/>
                <a:gd name="T53" fmla="*/ 9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331">
                  <a:moveTo>
                    <a:pt x="234" y="223"/>
                  </a:moveTo>
                  <a:cubicBezTo>
                    <a:pt x="227" y="242"/>
                    <a:pt x="218" y="257"/>
                    <a:pt x="207" y="270"/>
                  </a:cubicBezTo>
                  <a:cubicBezTo>
                    <a:pt x="196" y="283"/>
                    <a:pt x="182" y="293"/>
                    <a:pt x="166" y="300"/>
                  </a:cubicBezTo>
                  <a:cubicBezTo>
                    <a:pt x="151" y="307"/>
                    <a:pt x="134" y="311"/>
                    <a:pt x="115" y="311"/>
                  </a:cubicBezTo>
                  <a:cubicBezTo>
                    <a:pt x="110" y="311"/>
                    <a:pt x="110" y="311"/>
                    <a:pt x="110" y="311"/>
                  </a:cubicBezTo>
                  <a:cubicBezTo>
                    <a:pt x="98" y="311"/>
                    <a:pt x="73" y="308"/>
                    <a:pt x="69" y="307"/>
                  </a:cubicBezTo>
                  <a:cubicBezTo>
                    <a:pt x="69" y="24"/>
                    <a:pt x="69" y="24"/>
                    <a:pt x="69" y="24"/>
                  </a:cubicBezTo>
                  <a:cubicBezTo>
                    <a:pt x="73" y="24"/>
                    <a:pt x="104" y="21"/>
                    <a:pt x="110" y="21"/>
                  </a:cubicBezTo>
                  <a:cubicBezTo>
                    <a:pt x="114" y="21"/>
                    <a:pt x="114" y="21"/>
                    <a:pt x="114" y="21"/>
                  </a:cubicBezTo>
                  <a:cubicBezTo>
                    <a:pt x="133" y="21"/>
                    <a:pt x="151" y="24"/>
                    <a:pt x="167" y="31"/>
                  </a:cubicBezTo>
                  <a:cubicBezTo>
                    <a:pt x="182" y="38"/>
                    <a:pt x="196" y="49"/>
                    <a:pt x="208" y="62"/>
                  </a:cubicBezTo>
                  <a:cubicBezTo>
                    <a:pt x="219" y="75"/>
                    <a:pt x="228" y="91"/>
                    <a:pt x="234" y="109"/>
                  </a:cubicBezTo>
                  <a:cubicBezTo>
                    <a:pt x="240" y="128"/>
                    <a:pt x="243" y="138"/>
                    <a:pt x="243" y="160"/>
                  </a:cubicBezTo>
                  <a:cubicBezTo>
                    <a:pt x="243" y="183"/>
                    <a:pt x="240" y="204"/>
                    <a:pt x="234" y="223"/>
                  </a:cubicBezTo>
                  <a:moveTo>
                    <a:pt x="310" y="98"/>
                  </a:moveTo>
                  <a:cubicBezTo>
                    <a:pt x="301" y="77"/>
                    <a:pt x="287" y="60"/>
                    <a:pt x="268" y="45"/>
                  </a:cubicBezTo>
                  <a:cubicBezTo>
                    <a:pt x="250" y="31"/>
                    <a:pt x="226" y="19"/>
                    <a:pt x="199" y="12"/>
                  </a:cubicBezTo>
                  <a:cubicBezTo>
                    <a:pt x="171" y="4"/>
                    <a:pt x="139" y="0"/>
                    <a:pt x="103" y="0"/>
                  </a:cubicBezTo>
                  <a:cubicBezTo>
                    <a:pt x="0" y="0"/>
                    <a:pt x="0" y="0"/>
                    <a:pt x="0" y="0"/>
                  </a:cubicBezTo>
                  <a:cubicBezTo>
                    <a:pt x="0" y="67"/>
                    <a:pt x="0" y="67"/>
                    <a:pt x="0" y="67"/>
                  </a:cubicBezTo>
                  <a:cubicBezTo>
                    <a:pt x="0" y="331"/>
                    <a:pt x="0" y="331"/>
                    <a:pt x="0" y="331"/>
                  </a:cubicBezTo>
                  <a:cubicBezTo>
                    <a:pt x="117" y="331"/>
                    <a:pt x="117" y="331"/>
                    <a:pt x="117" y="331"/>
                  </a:cubicBezTo>
                  <a:cubicBezTo>
                    <a:pt x="150" y="331"/>
                    <a:pt x="180" y="327"/>
                    <a:pt x="206" y="319"/>
                  </a:cubicBezTo>
                  <a:cubicBezTo>
                    <a:pt x="232" y="310"/>
                    <a:pt x="253" y="298"/>
                    <a:pt x="271" y="283"/>
                  </a:cubicBezTo>
                  <a:cubicBezTo>
                    <a:pt x="288" y="268"/>
                    <a:pt x="301" y="250"/>
                    <a:pt x="310" y="228"/>
                  </a:cubicBezTo>
                  <a:cubicBezTo>
                    <a:pt x="319" y="207"/>
                    <a:pt x="324" y="184"/>
                    <a:pt x="324" y="158"/>
                  </a:cubicBezTo>
                  <a:cubicBezTo>
                    <a:pt x="324" y="132"/>
                    <a:pt x="319" y="119"/>
                    <a:pt x="310" y="98"/>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1">
              <a:extLst>
                <a:ext uri="{FF2B5EF4-FFF2-40B4-BE49-F238E27FC236}">
                  <a16:creationId xmlns:a16="http://schemas.microsoft.com/office/drawing/2014/main" id="{B0C11B45-6F19-4AC5-91C8-71D578A90A30}"/>
                </a:ext>
              </a:extLst>
            </p:cNvPr>
            <p:cNvSpPr>
              <a:spLocks/>
            </p:cNvSpPr>
            <p:nvPr userDrawn="1"/>
          </p:nvSpPr>
          <p:spPr bwMode="auto">
            <a:xfrm>
              <a:off x="5900738" y="4232276"/>
              <a:ext cx="609600" cy="728663"/>
            </a:xfrm>
            <a:custGeom>
              <a:avLst/>
              <a:gdLst>
                <a:gd name="T0" fmla="*/ 252 w 279"/>
                <a:gd name="T1" fmla="*/ 228 h 333"/>
                <a:gd name="T2" fmla="*/ 68 w 279"/>
                <a:gd name="T3" fmla="*/ 31 h 333"/>
                <a:gd name="T4" fmla="*/ 36 w 279"/>
                <a:gd name="T5" fmla="*/ 8 h 333"/>
                <a:gd name="T6" fmla="*/ 0 w 279"/>
                <a:gd name="T7" fmla="*/ 0 h 333"/>
                <a:gd name="T8" fmla="*/ 0 w 279"/>
                <a:gd name="T9" fmla="*/ 62 h 333"/>
                <a:gd name="T10" fmla="*/ 0 w 279"/>
                <a:gd name="T11" fmla="*/ 331 h 333"/>
                <a:gd name="T12" fmla="*/ 27 w 279"/>
                <a:gd name="T13" fmla="*/ 331 h 333"/>
                <a:gd name="T14" fmla="*/ 27 w 279"/>
                <a:gd name="T15" fmla="*/ 86 h 333"/>
                <a:gd name="T16" fmla="*/ 254 w 279"/>
                <a:gd name="T17" fmla="*/ 333 h 333"/>
                <a:gd name="T18" fmla="*/ 279 w 279"/>
                <a:gd name="T19" fmla="*/ 333 h 333"/>
                <a:gd name="T20" fmla="*/ 279 w 279"/>
                <a:gd name="T21" fmla="*/ 0 h 333"/>
                <a:gd name="T22" fmla="*/ 252 w 279"/>
                <a:gd name="T23" fmla="*/ 0 h 333"/>
                <a:gd name="T24" fmla="*/ 252 w 279"/>
                <a:gd name="T25" fmla="*/ 22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333">
                  <a:moveTo>
                    <a:pt x="252" y="228"/>
                  </a:moveTo>
                  <a:cubicBezTo>
                    <a:pt x="68" y="31"/>
                    <a:pt x="68" y="31"/>
                    <a:pt x="68" y="31"/>
                  </a:cubicBezTo>
                  <a:cubicBezTo>
                    <a:pt x="60" y="21"/>
                    <a:pt x="49" y="13"/>
                    <a:pt x="36" y="8"/>
                  </a:cubicBezTo>
                  <a:cubicBezTo>
                    <a:pt x="27" y="4"/>
                    <a:pt x="14" y="1"/>
                    <a:pt x="0" y="0"/>
                  </a:cubicBezTo>
                  <a:cubicBezTo>
                    <a:pt x="0" y="11"/>
                    <a:pt x="0" y="56"/>
                    <a:pt x="0" y="62"/>
                  </a:cubicBezTo>
                  <a:cubicBezTo>
                    <a:pt x="0" y="331"/>
                    <a:pt x="0" y="331"/>
                    <a:pt x="0" y="331"/>
                  </a:cubicBezTo>
                  <a:cubicBezTo>
                    <a:pt x="27" y="331"/>
                    <a:pt x="27" y="331"/>
                    <a:pt x="27" y="331"/>
                  </a:cubicBezTo>
                  <a:cubicBezTo>
                    <a:pt x="27" y="86"/>
                    <a:pt x="27" y="86"/>
                    <a:pt x="27" y="86"/>
                  </a:cubicBezTo>
                  <a:cubicBezTo>
                    <a:pt x="254" y="333"/>
                    <a:pt x="254" y="333"/>
                    <a:pt x="254" y="333"/>
                  </a:cubicBezTo>
                  <a:cubicBezTo>
                    <a:pt x="279" y="333"/>
                    <a:pt x="279" y="333"/>
                    <a:pt x="279" y="333"/>
                  </a:cubicBezTo>
                  <a:cubicBezTo>
                    <a:pt x="279" y="0"/>
                    <a:pt x="279" y="0"/>
                    <a:pt x="279" y="0"/>
                  </a:cubicBezTo>
                  <a:cubicBezTo>
                    <a:pt x="252" y="0"/>
                    <a:pt x="252" y="0"/>
                    <a:pt x="252" y="0"/>
                  </a:cubicBezTo>
                  <a:lnTo>
                    <a:pt x="252" y="22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2">
              <a:extLst>
                <a:ext uri="{FF2B5EF4-FFF2-40B4-BE49-F238E27FC236}">
                  <a16:creationId xmlns:a16="http://schemas.microsoft.com/office/drawing/2014/main" id="{9F3E2141-66AE-4BD7-B849-8E41CD35263B}"/>
                </a:ext>
              </a:extLst>
            </p:cNvPr>
            <p:cNvSpPr>
              <a:spLocks/>
            </p:cNvSpPr>
            <p:nvPr userDrawn="1"/>
          </p:nvSpPr>
          <p:spPr bwMode="auto">
            <a:xfrm>
              <a:off x="5591175" y="4232276"/>
              <a:ext cx="150813" cy="723900"/>
            </a:xfrm>
            <a:custGeom>
              <a:avLst/>
              <a:gdLst>
                <a:gd name="T0" fmla="*/ 0 w 69"/>
                <a:gd name="T1" fmla="*/ 264 h 331"/>
                <a:gd name="T2" fmla="*/ 2 w 69"/>
                <a:gd name="T3" fmla="*/ 297 h 331"/>
                <a:gd name="T4" fmla="*/ 10 w 69"/>
                <a:gd name="T5" fmla="*/ 317 h 331"/>
                <a:gd name="T6" fmla="*/ 25 w 69"/>
                <a:gd name="T7" fmla="*/ 328 h 331"/>
                <a:gd name="T8" fmla="*/ 48 w 69"/>
                <a:gd name="T9" fmla="*/ 331 h 331"/>
                <a:gd name="T10" fmla="*/ 69 w 69"/>
                <a:gd name="T11" fmla="*/ 331 h 331"/>
                <a:gd name="T12" fmla="*/ 69 w 69"/>
                <a:gd name="T13" fmla="*/ 264 h 331"/>
                <a:gd name="T14" fmla="*/ 69 w 69"/>
                <a:gd name="T15" fmla="*/ 0 h 331"/>
                <a:gd name="T16" fmla="*/ 0 w 69"/>
                <a:gd name="T17" fmla="*/ 0 h 331"/>
                <a:gd name="T18" fmla="*/ 0 w 69"/>
                <a:gd name="T19" fmla="*/ 26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31">
                  <a:moveTo>
                    <a:pt x="0" y="264"/>
                  </a:moveTo>
                  <a:cubicBezTo>
                    <a:pt x="0" y="277"/>
                    <a:pt x="0" y="288"/>
                    <a:pt x="2" y="297"/>
                  </a:cubicBezTo>
                  <a:cubicBezTo>
                    <a:pt x="3" y="305"/>
                    <a:pt x="6" y="312"/>
                    <a:pt x="10" y="317"/>
                  </a:cubicBezTo>
                  <a:cubicBezTo>
                    <a:pt x="13" y="323"/>
                    <a:pt x="18" y="326"/>
                    <a:pt x="25" y="328"/>
                  </a:cubicBezTo>
                  <a:cubicBezTo>
                    <a:pt x="31" y="330"/>
                    <a:pt x="39" y="331"/>
                    <a:pt x="48" y="331"/>
                  </a:cubicBezTo>
                  <a:cubicBezTo>
                    <a:pt x="69" y="331"/>
                    <a:pt x="69" y="331"/>
                    <a:pt x="69" y="331"/>
                  </a:cubicBezTo>
                  <a:cubicBezTo>
                    <a:pt x="69" y="331"/>
                    <a:pt x="69" y="279"/>
                    <a:pt x="69" y="264"/>
                  </a:cubicBezTo>
                  <a:cubicBezTo>
                    <a:pt x="69" y="0"/>
                    <a:pt x="69" y="0"/>
                    <a:pt x="69" y="0"/>
                  </a:cubicBezTo>
                  <a:cubicBezTo>
                    <a:pt x="0" y="0"/>
                    <a:pt x="0" y="0"/>
                    <a:pt x="0" y="0"/>
                  </a:cubicBezTo>
                  <a:lnTo>
                    <a:pt x="0" y="264"/>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3">
              <a:extLst>
                <a:ext uri="{FF2B5EF4-FFF2-40B4-BE49-F238E27FC236}">
                  <a16:creationId xmlns:a16="http://schemas.microsoft.com/office/drawing/2014/main" id="{1445C528-C05A-4498-83EA-F429E7B03563}"/>
                </a:ext>
              </a:extLst>
            </p:cNvPr>
            <p:cNvSpPr>
              <a:spLocks/>
            </p:cNvSpPr>
            <p:nvPr userDrawn="1"/>
          </p:nvSpPr>
          <p:spPr bwMode="auto">
            <a:xfrm>
              <a:off x="5021263" y="4232276"/>
              <a:ext cx="465138" cy="723900"/>
            </a:xfrm>
            <a:custGeom>
              <a:avLst/>
              <a:gdLst>
                <a:gd name="T0" fmla="*/ 0 w 293"/>
                <a:gd name="T1" fmla="*/ 0 h 456"/>
                <a:gd name="T2" fmla="*/ 0 w 293"/>
                <a:gd name="T3" fmla="*/ 456 h 456"/>
                <a:gd name="T4" fmla="*/ 97 w 293"/>
                <a:gd name="T5" fmla="*/ 456 h 456"/>
                <a:gd name="T6" fmla="*/ 97 w 293"/>
                <a:gd name="T7" fmla="*/ 231 h 456"/>
                <a:gd name="T8" fmla="*/ 259 w 293"/>
                <a:gd name="T9" fmla="*/ 231 h 456"/>
                <a:gd name="T10" fmla="*/ 259 w 293"/>
                <a:gd name="T11" fmla="*/ 200 h 456"/>
                <a:gd name="T12" fmla="*/ 97 w 293"/>
                <a:gd name="T13" fmla="*/ 200 h 456"/>
                <a:gd name="T14" fmla="*/ 97 w 293"/>
                <a:gd name="T15" fmla="*/ 31 h 456"/>
                <a:gd name="T16" fmla="*/ 293 w 293"/>
                <a:gd name="T17" fmla="*/ 31 h 456"/>
                <a:gd name="T18" fmla="*/ 293 w 293"/>
                <a:gd name="T19" fmla="*/ 0 h 456"/>
                <a:gd name="T20" fmla="*/ 0 w 293"/>
                <a:gd name="T21"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 h="456">
                  <a:moveTo>
                    <a:pt x="0" y="0"/>
                  </a:moveTo>
                  <a:lnTo>
                    <a:pt x="0" y="456"/>
                  </a:lnTo>
                  <a:lnTo>
                    <a:pt x="97" y="456"/>
                  </a:lnTo>
                  <a:lnTo>
                    <a:pt x="97" y="231"/>
                  </a:lnTo>
                  <a:lnTo>
                    <a:pt x="259" y="231"/>
                  </a:lnTo>
                  <a:lnTo>
                    <a:pt x="259" y="200"/>
                  </a:lnTo>
                  <a:lnTo>
                    <a:pt x="97" y="200"/>
                  </a:lnTo>
                  <a:lnTo>
                    <a:pt x="97" y="31"/>
                  </a:lnTo>
                  <a:lnTo>
                    <a:pt x="293" y="31"/>
                  </a:lnTo>
                  <a:lnTo>
                    <a:pt x="293" y="0"/>
                  </a:lnTo>
                  <a:lnTo>
                    <a:pt x="0" y="0"/>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4">
              <a:extLst>
                <a:ext uri="{FF2B5EF4-FFF2-40B4-BE49-F238E27FC236}">
                  <a16:creationId xmlns:a16="http://schemas.microsoft.com/office/drawing/2014/main" id="{88C2CC9F-06E7-46D7-9AAE-06070F23AAC8}"/>
                </a:ext>
              </a:extLst>
            </p:cNvPr>
            <p:cNvSpPr>
              <a:spLocks noEditPoints="1"/>
            </p:cNvSpPr>
            <p:nvPr userDrawn="1"/>
          </p:nvSpPr>
          <p:spPr bwMode="auto">
            <a:xfrm>
              <a:off x="8216900" y="4232276"/>
              <a:ext cx="515938" cy="723900"/>
            </a:xfrm>
            <a:custGeom>
              <a:avLst/>
              <a:gdLst>
                <a:gd name="T0" fmla="*/ 11 w 237"/>
                <a:gd name="T1" fmla="*/ 331 h 331"/>
                <a:gd name="T2" fmla="*/ 11 w 237"/>
                <a:gd name="T3" fmla="*/ 331 h 331"/>
                <a:gd name="T4" fmla="*/ 36 w 237"/>
                <a:gd name="T5" fmla="*/ 283 h 331"/>
                <a:gd name="T6" fmla="*/ 54 w 237"/>
                <a:gd name="T7" fmla="*/ 264 h 331"/>
                <a:gd name="T8" fmla="*/ 51 w 237"/>
                <a:gd name="T9" fmla="*/ 254 h 331"/>
                <a:gd name="T10" fmla="*/ 56 w 237"/>
                <a:gd name="T11" fmla="*/ 244 h 331"/>
                <a:gd name="T12" fmla="*/ 49 w 237"/>
                <a:gd name="T13" fmla="*/ 222 h 331"/>
                <a:gd name="T14" fmla="*/ 84 w 237"/>
                <a:gd name="T15" fmla="*/ 194 h 331"/>
                <a:gd name="T16" fmla="*/ 31 w 237"/>
                <a:gd name="T17" fmla="*/ 94 h 331"/>
                <a:gd name="T18" fmla="*/ 31 w 237"/>
                <a:gd name="T19" fmla="*/ 88 h 331"/>
                <a:gd name="T20" fmla="*/ 0 w 237"/>
                <a:gd name="T21" fmla="*/ 0 h 331"/>
                <a:gd name="T22" fmla="*/ 0 w 237"/>
                <a:gd name="T23" fmla="*/ 0 h 331"/>
                <a:gd name="T24" fmla="*/ 138 w 237"/>
                <a:gd name="T25" fmla="*/ 0 h 331"/>
                <a:gd name="T26" fmla="*/ 192 w 237"/>
                <a:gd name="T27" fmla="*/ 110 h 331"/>
                <a:gd name="T28" fmla="*/ 237 w 237"/>
                <a:gd name="T29" fmla="*/ 192 h 331"/>
                <a:gd name="T30" fmla="*/ 215 w 237"/>
                <a:gd name="T31" fmla="*/ 214 h 331"/>
                <a:gd name="T32" fmla="*/ 211 w 237"/>
                <a:gd name="T33" fmla="*/ 232 h 331"/>
                <a:gd name="T34" fmla="*/ 217 w 237"/>
                <a:gd name="T35" fmla="*/ 246 h 331"/>
                <a:gd name="T36" fmla="*/ 202 w 237"/>
                <a:gd name="T37" fmla="*/ 259 h 331"/>
                <a:gd name="T38" fmla="*/ 213 w 237"/>
                <a:gd name="T39" fmla="*/ 271 h 331"/>
                <a:gd name="T40" fmla="*/ 199 w 237"/>
                <a:gd name="T41" fmla="*/ 292 h 331"/>
                <a:gd name="T42" fmla="*/ 146 w 237"/>
                <a:gd name="T43" fmla="*/ 331 h 331"/>
                <a:gd name="T44" fmla="*/ 11 w 237"/>
                <a:gd name="T45" fmla="*/ 331 h 331"/>
                <a:gd name="T46" fmla="*/ 164 w 237"/>
                <a:gd name="T47" fmla="*/ 81 h 331"/>
                <a:gd name="T48" fmla="*/ 166 w 237"/>
                <a:gd name="T49" fmla="*/ 74 h 331"/>
                <a:gd name="T50" fmla="*/ 115 w 237"/>
                <a:gd name="T51" fmla="*/ 70 h 331"/>
                <a:gd name="T52" fmla="*/ 88 w 237"/>
                <a:gd name="T53" fmla="*/ 76 h 331"/>
                <a:gd name="T54" fmla="*/ 82 w 237"/>
                <a:gd name="T55" fmla="*/ 78 h 331"/>
                <a:gd name="T56" fmla="*/ 82 w 237"/>
                <a:gd name="T57" fmla="*/ 86 h 331"/>
                <a:gd name="T58" fmla="*/ 88 w 237"/>
                <a:gd name="T59" fmla="*/ 90 h 331"/>
                <a:gd name="T60" fmla="*/ 88 w 237"/>
                <a:gd name="T61" fmla="*/ 90 h 331"/>
                <a:gd name="T62" fmla="*/ 88 w 237"/>
                <a:gd name="T63" fmla="*/ 90 h 331"/>
                <a:gd name="T64" fmla="*/ 88 w 237"/>
                <a:gd name="T65" fmla="*/ 90 h 331"/>
                <a:gd name="T66" fmla="*/ 94 w 237"/>
                <a:gd name="T67" fmla="*/ 90 h 331"/>
                <a:gd name="T68" fmla="*/ 105 w 237"/>
                <a:gd name="T69" fmla="*/ 88 h 331"/>
                <a:gd name="T70" fmla="*/ 135 w 237"/>
                <a:gd name="T71" fmla="*/ 82 h 331"/>
                <a:gd name="T72" fmla="*/ 148 w 237"/>
                <a:gd name="T73" fmla="*/ 81 h 331"/>
                <a:gd name="T74" fmla="*/ 164 w 237"/>
                <a:gd name="T75" fmla="*/ 81 h 331"/>
                <a:gd name="T76" fmla="*/ 131 w 237"/>
                <a:gd name="T77" fmla="*/ 121 h 331"/>
                <a:gd name="T78" fmla="*/ 134 w 237"/>
                <a:gd name="T79" fmla="*/ 134 h 331"/>
                <a:gd name="T80" fmla="*/ 124 w 237"/>
                <a:gd name="T81" fmla="*/ 133 h 331"/>
                <a:gd name="T82" fmla="*/ 121 w 237"/>
                <a:gd name="T83" fmla="*/ 136 h 331"/>
                <a:gd name="T84" fmla="*/ 145 w 237"/>
                <a:gd name="T85" fmla="*/ 142 h 331"/>
                <a:gd name="T86" fmla="*/ 158 w 237"/>
                <a:gd name="T87" fmla="*/ 137 h 331"/>
                <a:gd name="T88" fmla="*/ 156 w 237"/>
                <a:gd name="T89" fmla="*/ 134 h 331"/>
                <a:gd name="T90" fmla="*/ 160 w 237"/>
                <a:gd name="T91" fmla="*/ 122 h 331"/>
                <a:gd name="T92" fmla="*/ 157 w 237"/>
                <a:gd name="T93" fmla="*/ 108 h 331"/>
                <a:gd name="T94" fmla="*/ 162 w 237"/>
                <a:gd name="T95" fmla="*/ 104 h 331"/>
                <a:gd name="T96" fmla="*/ 153 w 237"/>
                <a:gd name="T97" fmla="*/ 97 h 331"/>
                <a:gd name="T98" fmla="*/ 109 w 237"/>
                <a:gd name="T99" fmla="*/ 116 h 331"/>
                <a:gd name="T100" fmla="*/ 111 w 237"/>
                <a:gd name="T101" fmla="*/ 120 h 331"/>
                <a:gd name="T102" fmla="*/ 133 w 237"/>
                <a:gd name="T103" fmla="*/ 113 h 331"/>
                <a:gd name="T104" fmla="*/ 131 w 237"/>
                <a:gd name="T105" fmla="*/ 121 h 331"/>
                <a:gd name="T106" fmla="*/ 151 w 237"/>
                <a:gd name="T107" fmla="*/ 120 h 331"/>
                <a:gd name="T108" fmla="*/ 146 w 237"/>
                <a:gd name="T109" fmla="*/ 113 h 331"/>
                <a:gd name="T110" fmla="*/ 143 w 237"/>
                <a:gd name="T111" fmla="*/ 121 h 331"/>
                <a:gd name="T112" fmla="*/ 148 w 237"/>
                <a:gd name="T113" fmla="*/ 129 h 331"/>
                <a:gd name="T114" fmla="*/ 151 w 237"/>
                <a:gd name="T115" fmla="*/ 12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31">
                  <a:moveTo>
                    <a:pt x="11" y="331"/>
                  </a:moveTo>
                  <a:cubicBezTo>
                    <a:pt x="10" y="331"/>
                    <a:pt x="11" y="331"/>
                    <a:pt x="11" y="331"/>
                  </a:cubicBezTo>
                  <a:cubicBezTo>
                    <a:pt x="22" y="326"/>
                    <a:pt x="34" y="291"/>
                    <a:pt x="36" y="283"/>
                  </a:cubicBezTo>
                  <a:cubicBezTo>
                    <a:pt x="38" y="279"/>
                    <a:pt x="54" y="268"/>
                    <a:pt x="54" y="264"/>
                  </a:cubicBezTo>
                  <a:cubicBezTo>
                    <a:pt x="54" y="260"/>
                    <a:pt x="51" y="254"/>
                    <a:pt x="51" y="254"/>
                  </a:cubicBezTo>
                  <a:cubicBezTo>
                    <a:pt x="51" y="254"/>
                    <a:pt x="56" y="249"/>
                    <a:pt x="56" y="244"/>
                  </a:cubicBezTo>
                  <a:cubicBezTo>
                    <a:pt x="56" y="239"/>
                    <a:pt x="49" y="222"/>
                    <a:pt x="49" y="222"/>
                  </a:cubicBezTo>
                  <a:cubicBezTo>
                    <a:pt x="68" y="212"/>
                    <a:pt x="84" y="212"/>
                    <a:pt x="84" y="194"/>
                  </a:cubicBezTo>
                  <a:cubicBezTo>
                    <a:pt x="84" y="162"/>
                    <a:pt x="32" y="135"/>
                    <a:pt x="31" y="94"/>
                  </a:cubicBezTo>
                  <a:cubicBezTo>
                    <a:pt x="31" y="93"/>
                    <a:pt x="31" y="89"/>
                    <a:pt x="31" y="88"/>
                  </a:cubicBezTo>
                  <a:cubicBezTo>
                    <a:pt x="31" y="22"/>
                    <a:pt x="5" y="3"/>
                    <a:pt x="0" y="0"/>
                  </a:cubicBezTo>
                  <a:cubicBezTo>
                    <a:pt x="0" y="0"/>
                    <a:pt x="0" y="0"/>
                    <a:pt x="0" y="0"/>
                  </a:cubicBezTo>
                  <a:cubicBezTo>
                    <a:pt x="138" y="0"/>
                    <a:pt x="138" y="0"/>
                    <a:pt x="138" y="0"/>
                  </a:cubicBezTo>
                  <a:cubicBezTo>
                    <a:pt x="138" y="0"/>
                    <a:pt x="192" y="38"/>
                    <a:pt x="192" y="110"/>
                  </a:cubicBezTo>
                  <a:cubicBezTo>
                    <a:pt x="192" y="139"/>
                    <a:pt x="237" y="169"/>
                    <a:pt x="237" y="192"/>
                  </a:cubicBezTo>
                  <a:cubicBezTo>
                    <a:pt x="237" y="206"/>
                    <a:pt x="218" y="211"/>
                    <a:pt x="215" y="214"/>
                  </a:cubicBezTo>
                  <a:cubicBezTo>
                    <a:pt x="213" y="216"/>
                    <a:pt x="211" y="224"/>
                    <a:pt x="211" y="232"/>
                  </a:cubicBezTo>
                  <a:cubicBezTo>
                    <a:pt x="211" y="241"/>
                    <a:pt x="217" y="240"/>
                    <a:pt x="217" y="246"/>
                  </a:cubicBezTo>
                  <a:cubicBezTo>
                    <a:pt x="217" y="254"/>
                    <a:pt x="202" y="259"/>
                    <a:pt x="202" y="259"/>
                  </a:cubicBezTo>
                  <a:cubicBezTo>
                    <a:pt x="202" y="259"/>
                    <a:pt x="213" y="267"/>
                    <a:pt x="213" y="271"/>
                  </a:cubicBezTo>
                  <a:cubicBezTo>
                    <a:pt x="213" y="277"/>
                    <a:pt x="199" y="283"/>
                    <a:pt x="199" y="292"/>
                  </a:cubicBezTo>
                  <a:cubicBezTo>
                    <a:pt x="199" y="313"/>
                    <a:pt x="179" y="331"/>
                    <a:pt x="146" y="331"/>
                  </a:cubicBezTo>
                  <a:cubicBezTo>
                    <a:pt x="116" y="331"/>
                    <a:pt x="25" y="331"/>
                    <a:pt x="11" y="331"/>
                  </a:cubicBezTo>
                  <a:moveTo>
                    <a:pt x="164" y="81"/>
                  </a:moveTo>
                  <a:cubicBezTo>
                    <a:pt x="170" y="80"/>
                    <a:pt x="168" y="76"/>
                    <a:pt x="166" y="74"/>
                  </a:cubicBezTo>
                  <a:cubicBezTo>
                    <a:pt x="154" y="64"/>
                    <a:pt x="131" y="67"/>
                    <a:pt x="115" y="70"/>
                  </a:cubicBezTo>
                  <a:cubicBezTo>
                    <a:pt x="106" y="72"/>
                    <a:pt x="97" y="74"/>
                    <a:pt x="88" y="76"/>
                  </a:cubicBezTo>
                  <a:cubicBezTo>
                    <a:pt x="86" y="77"/>
                    <a:pt x="83" y="77"/>
                    <a:pt x="82" y="78"/>
                  </a:cubicBezTo>
                  <a:cubicBezTo>
                    <a:pt x="79" y="80"/>
                    <a:pt x="81" y="84"/>
                    <a:pt x="82" y="86"/>
                  </a:cubicBezTo>
                  <a:cubicBezTo>
                    <a:pt x="83" y="87"/>
                    <a:pt x="85" y="89"/>
                    <a:pt x="88" y="90"/>
                  </a:cubicBezTo>
                  <a:cubicBezTo>
                    <a:pt x="88" y="90"/>
                    <a:pt x="88" y="90"/>
                    <a:pt x="88" y="90"/>
                  </a:cubicBezTo>
                  <a:cubicBezTo>
                    <a:pt x="88" y="90"/>
                    <a:pt x="88" y="90"/>
                    <a:pt x="88" y="90"/>
                  </a:cubicBezTo>
                  <a:cubicBezTo>
                    <a:pt x="88" y="90"/>
                    <a:pt x="88" y="90"/>
                    <a:pt x="88" y="90"/>
                  </a:cubicBezTo>
                  <a:cubicBezTo>
                    <a:pt x="90" y="91"/>
                    <a:pt x="92" y="91"/>
                    <a:pt x="94" y="90"/>
                  </a:cubicBezTo>
                  <a:cubicBezTo>
                    <a:pt x="98" y="89"/>
                    <a:pt x="102" y="89"/>
                    <a:pt x="105" y="88"/>
                  </a:cubicBezTo>
                  <a:cubicBezTo>
                    <a:pt x="115" y="85"/>
                    <a:pt x="125" y="83"/>
                    <a:pt x="135" y="82"/>
                  </a:cubicBezTo>
                  <a:cubicBezTo>
                    <a:pt x="139" y="81"/>
                    <a:pt x="144" y="81"/>
                    <a:pt x="148" y="81"/>
                  </a:cubicBezTo>
                  <a:cubicBezTo>
                    <a:pt x="153" y="80"/>
                    <a:pt x="159" y="81"/>
                    <a:pt x="164" y="81"/>
                  </a:cubicBezTo>
                  <a:moveTo>
                    <a:pt x="131" y="121"/>
                  </a:moveTo>
                  <a:cubicBezTo>
                    <a:pt x="131" y="132"/>
                    <a:pt x="134" y="134"/>
                    <a:pt x="134" y="134"/>
                  </a:cubicBezTo>
                  <a:cubicBezTo>
                    <a:pt x="134" y="134"/>
                    <a:pt x="126" y="133"/>
                    <a:pt x="124" y="133"/>
                  </a:cubicBezTo>
                  <a:cubicBezTo>
                    <a:pt x="123" y="133"/>
                    <a:pt x="121" y="133"/>
                    <a:pt x="121" y="136"/>
                  </a:cubicBezTo>
                  <a:cubicBezTo>
                    <a:pt x="121" y="141"/>
                    <a:pt x="136" y="142"/>
                    <a:pt x="145" y="142"/>
                  </a:cubicBezTo>
                  <a:cubicBezTo>
                    <a:pt x="154" y="142"/>
                    <a:pt x="158" y="140"/>
                    <a:pt x="158" y="137"/>
                  </a:cubicBezTo>
                  <a:cubicBezTo>
                    <a:pt x="158" y="135"/>
                    <a:pt x="156" y="134"/>
                    <a:pt x="156" y="134"/>
                  </a:cubicBezTo>
                  <a:cubicBezTo>
                    <a:pt x="156" y="134"/>
                    <a:pt x="160" y="129"/>
                    <a:pt x="160" y="122"/>
                  </a:cubicBezTo>
                  <a:cubicBezTo>
                    <a:pt x="160" y="115"/>
                    <a:pt x="157" y="108"/>
                    <a:pt x="157" y="108"/>
                  </a:cubicBezTo>
                  <a:cubicBezTo>
                    <a:pt x="157" y="108"/>
                    <a:pt x="162" y="107"/>
                    <a:pt x="162" y="104"/>
                  </a:cubicBezTo>
                  <a:cubicBezTo>
                    <a:pt x="162" y="101"/>
                    <a:pt x="161" y="97"/>
                    <a:pt x="153" y="97"/>
                  </a:cubicBezTo>
                  <a:cubicBezTo>
                    <a:pt x="142" y="97"/>
                    <a:pt x="109" y="104"/>
                    <a:pt x="109" y="116"/>
                  </a:cubicBezTo>
                  <a:cubicBezTo>
                    <a:pt x="109" y="117"/>
                    <a:pt x="109" y="120"/>
                    <a:pt x="111" y="120"/>
                  </a:cubicBezTo>
                  <a:cubicBezTo>
                    <a:pt x="115" y="120"/>
                    <a:pt x="133" y="113"/>
                    <a:pt x="133" y="113"/>
                  </a:cubicBezTo>
                  <a:cubicBezTo>
                    <a:pt x="133" y="113"/>
                    <a:pt x="131" y="117"/>
                    <a:pt x="131" y="121"/>
                  </a:cubicBezTo>
                  <a:moveTo>
                    <a:pt x="151" y="120"/>
                  </a:moveTo>
                  <a:cubicBezTo>
                    <a:pt x="151" y="116"/>
                    <a:pt x="148" y="112"/>
                    <a:pt x="146" y="113"/>
                  </a:cubicBezTo>
                  <a:cubicBezTo>
                    <a:pt x="143" y="113"/>
                    <a:pt x="142" y="117"/>
                    <a:pt x="143" y="121"/>
                  </a:cubicBezTo>
                  <a:cubicBezTo>
                    <a:pt x="143" y="126"/>
                    <a:pt x="146" y="129"/>
                    <a:pt x="148" y="129"/>
                  </a:cubicBezTo>
                  <a:cubicBezTo>
                    <a:pt x="151" y="128"/>
                    <a:pt x="152" y="124"/>
                    <a:pt x="151" y="120"/>
                  </a:cubicBezTo>
                </a:path>
              </a:pathLst>
            </a:custGeom>
            <a:solidFill>
              <a:srgbClr val="779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5">
              <a:extLst>
                <a:ext uri="{FF2B5EF4-FFF2-40B4-BE49-F238E27FC236}">
                  <a16:creationId xmlns:a16="http://schemas.microsoft.com/office/drawing/2014/main" id="{9D40DCD7-7EA8-4D60-861A-8C4ECC331C14}"/>
                </a:ext>
              </a:extLst>
            </p:cNvPr>
            <p:cNvSpPr>
              <a:spLocks noEditPoints="1"/>
            </p:cNvSpPr>
            <p:nvPr userDrawn="1"/>
          </p:nvSpPr>
          <p:spPr bwMode="auto">
            <a:xfrm>
              <a:off x="7770813" y="4232276"/>
              <a:ext cx="598488" cy="723900"/>
            </a:xfrm>
            <a:custGeom>
              <a:avLst/>
              <a:gdLst>
                <a:gd name="T0" fmla="*/ 274 w 274"/>
                <a:gd name="T1" fmla="*/ 193 h 331"/>
                <a:gd name="T2" fmla="*/ 244 w 274"/>
                <a:gd name="T3" fmla="*/ 212 h 331"/>
                <a:gd name="T4" fmla="*/ 243 w 274"/>
                <a:gd name="T5" fmla="*/ 221 h 331"/>
                <a:gd name="T6" fmla="*/ 249 w 274"/>
                <a:gd name="T7" fmla="*/ 244 h 331"/>
                <a:gd name="T8" fmla="*/ 240 w 274"/>
                <a:gd name="T9" fmla="*/ 253 h 331"/>
                <a:gd name="T10" fmla="*/ 245 w 274"/>
                <a:gd name="T11" fmla="*/ 262 h 331"/>
                <a:gd name="T12" fmla="*/ 228 w 274"/>
                <a:gd name="T13" fmla="*/ 276 h 331"/>
                <a:gd name="T14" fmla="*/ 188 w 274"/>
                <a:gd name="T15" fmla="*/ 331 h 331"/>
                <a:gd name="T16" fmla="*/ 51 w 274"/>
                <a:gd name="T17" fmla="*/ 331 h 331"/>
                <a:gd name="T18" fmla="*/ 51 w 274"/>
                <a:gd name="T19" fmla="*/ 331 h 331"/>
                <a:gd name="T20" fmla="*/ 70 w 274"/>
                <a:gd name="T21" fmla="*/ 284 h 331"/>
                <a:gd name="T22" fmla="*/ 84 w 274"/>
                <a:gd name="T23" fmla="*/ 255 h 331"/>
                <a:gd name="T24" fmla="*/ 81 w 274"/>
                <a:gd name="T25" fmla="*/ 248 h 331"/>
                <a:gd name="T26" fmla="*/ 91 w 274"/>
                <a:gd name="T27" fmla="*/ 239 h 331"/>
                <a:gd name="T28" fmla="*/ 83 w 274"/>
                <a:gd name="T29" fmla="*/ 216 h 331"/>
                <a:gd name="T30" fmla="*/ 110 w 274"/>
                <a:gd name="T31" fmla="*/ 190 h 331"/>
                <a:gd name="T32" fmla="*/ 54 w 274"/>
                <a:gd name="T33" fmla="*/ 87 h 331"/>
                <a:gd name="T34" fmla="*/ 54 w 274"/>
                <a:gd name="T35" fmla="*/ 77 h 331"/>
                <a:gd name="T36" fmla="*/ 1 w 274"/>
                <a:gd name="T37" fmla="*/ 1 h 331"/>
                <a:gd name="T38" fmla="*/ 1 w 274"/>
                <a:gd name="T39" fmla="*/ 0 h 331"/>
                <a:gd name="T40" fmla="*/ 173 w 274"/>
                <a:gd name="T41" fmla="*/ 0 h 331"/>
                <a:gd name="T42" fmla="*/ 221 w 274"/>
                <a:gd name="T43" fmla="*/ 100 h 331"/>
                <a:gd name="T44" fmla="*/ 274 w 274"/>
                <a:gd name="T45" fmla="*/ 193 h 331"/>
                <a:gd name="T46" fmla="*/ 173 w 274"/>
                <a:gd name="T47" fmla="*/ 80 h 331"/>
                <a:gd name="T48" fmla="*/ 199 w 274"/>
                <a:gd name="T49" fmla="*/ 78 h 331"/>
                <a:gd name="T50" fmla="*/ 167 w 274"/>
                <a:gd name="T51" fmla="*/ 67 h 331"/>
                <a:gd name="T52" fmla="*/ 115 w 274"/>
                <a:gd name="T53" fmla="*/ 93 h 331"/>
                <a:gd name="T54" fmla="*/ 119 w 274"/>
                <a:gd name="T55" fmla="*/ 95 h 331"/>
                <a:gd name="T56" fmla="*/ 173 w 274"/>
                <a:gd name="T57" fmla="*/ 80 h 331"/>
                <a:gd name="T58" fmla="*/ 192 w 274"/>
                <a:gd name="T59" fmla="*/ 124 h 331"/>
                <a:gd name="T60" fmla="*/ 188 w 274"/>
                <a:gd name="T61" fmla="*/ 110 h 331"/>
                <a:gd name="T62" fmla="*/ 192 w 274"/>
                <a:gd name="T63" fmla="*/ 105 h 331"/>
                <a:gd name="T64" fmla="*/ 185 w 274"/>
                <a:gd name="T65" fmla="*/ 98 h 331"/>
                <a:gd name="T66" fmla="*/ 136 w 274"/>
                <a:gd name="T67" fmla="*/ 118 h 331"/>
                <a:gd name="T68" fmla="*/ 139 w 274"/>
                <a:gd name="T69" fmla="*/ 123 h 331"/>
                <a:gd name="T70" fmla="*/ 163 w 274"/>
                <a:gd name="T71" fmla="*/ 115 h 331"/>
                <a:gd name="T72" fmla="*/ 160 w 274"/>
                <a:gd name="T73" fmla="*/ 122 h 331"/>
                <a:gd name="T74" fmla="*/ 164 w 274"/>
                <a:gd name="T75" fmla="*/ 138 h 331"/>
                <a:gd name="T76" fmla="*/ 151 w 274"/>
                <a:gd name="T77" fmla="*/ 140 h 331"/>
                <a:gd name="T78" fmla="*/ 173 w 274"/>
                <a:gd name="T79" fmla="*/ 145 h 331"/>
                <a:gd name="T80" fmla="*/ 188 w 274"/>
                <a:gd name="T81" fmla="*/ 140 h 331"/>
                <a:gd name="T82" fmla="*/ 186 w 274"/>
                <a:gd name="T83" fmla="*/ 139 h 331"/>
                <a:gd name="T84" fmla="*/ 192 w 274"/>
                <a:gd name="T85" fmla="*/ 124 h 331"/>
                <a:gd name="T86" fmla="*/ 179 w 274"/>
                <a:gd name="T87" fmla="*/ 112 h 331"/>
                <a:gd name="T88" fmla="*/ 175 w 274"/>
                <a:gd name="T89" fmla="*/ 121 h 331"/>
                <a:gd name="T90" fmla="*/ 180 w 274"/>
                <a:gd name="T91" fmla="*/ 129 h 331"/>
                <a:gd name="T92" fmla="*/ 184 w 274"/>
                <a:gd name="T93" fmla="*/ 120 h 331"/>
                <a:gd name="T94" fmla="*/ 179 w 274"/>
                <a:gd name="T95" fmla="*/ 11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4" h="331">
                  <a:moveTo>
                    <a:pt x="274" y="193"/>
                  </a:moveTo>
                  <a:cubicBezTo>
                    <a:pt x="274" y="201"/>
                    <a:pt x="267" y="203"/>
                    <a:pt x="244" y="212"/>
                  </a:cubicBezTo>
                  <a:cubicBezTo>
                    <a:pt x="244" y="212"/>
                    <a:pt x="243" y="215"/>
                    <a:pt x="243" y="221"/>
                  </a:cubicBezTo>
                  <a:cubicBezTo>
                    <a:pt x="243" y="231"/>
                    <a:pt x="249" y="239"/>
                    <a:pt x="249" y="244"/>
                  </a:cubicBezTo>
                  <a:cubicBezTo>
                    <a:pt x="249" y="249"/>
                    <a:pt x="240" y="253"/>
                    <a:pt x="240" y="253"/>
                  </a:cubicBezTo>
                  <a:cubicBezTo>
                    <a:pt x="240" y="253"/>
                    <a:pt x="245" y="258"/>
                    <a:pt x="245" y="262"/>
                  </a:cubicBezTo>
                  <a:cubicBezTo>
                    <a:pt x="245" y="265"/>
                    <a:pt x="228" y="276"/>
                    <a:pt x="228" y="276"/>
                  </a:cubicBezTo>
                  <a:cubicBezTo>
                    <a:pt x="228" y="276"/>
                    <a:pt x="214" y="331"/>
                    <a:pt x="188" y="331"/>
                  </a:cubicBezTo>
                  <a:cubicBezTo>
                    <a:pt x="51" y="331"/>
                    <a:pt x="51" y="331"/>
                    <a:pt x="51" y="331"/>
                  </a:cubicBezTo>
                  <a:cubicBezTo>
                    <a:pt x="50" y="331"/>
                    <a:pt x="50" y="331"/>
                    <a:pt x="51" y="331"/>
                  </a:cubicBezTo>
                  <a:cubicBezTo>
                    <a:pt x="61" y="327"/>
                    <a:pt x="70" y="299"/>
                    <a:pt x="70" y="284"/>
                  </a:cubicBezTo>
                  <a:cubicBezTo>
                    <a:pt x="70" y="268"/>
                    <a:pt x="84" y="268"/>
                    <a:pt x="84" y="255"/>
                  </a:cubicBezTo>
                  <a:cubicBezTo>
                    <a:pt x="84" y="249"/>
                    <a:pt x="81" y="248"/>
                    <a:pt x="81" y="248"/>
                  </a:cubicBezTo>
                  <a:cubicBezTo>
                    <a:pt x="81" y="248"/>
                    <a:pt x="91" y="246"/>
                    <a:pt x="91" y="239"/>
                  </a:cubicBezTo>
                  <a:cubicBezTo>
                    <a:pt x="91" y="235"/>
                    <a:pt x="83" y="216"/>
                    <a:pt x="83" y="216"/>
                  </a:cubicBezTo>
                  <a:cubicBezTo>
                    <a:pt x="89" y="214"/>
                    <a:pt x="110" y="205"/>
                    <a:pt x="110" y="190"/>
                  </a:cubicBezTo>
                  <a:cubicBezTo>
                    <a:pt x="110" y="162"/>
                    <a:pt x="54" y="116"/>
                    <a:pt x="54" y="87"/>
                  </a:cubicBezTo>
                  <a:cubicBezTo>
                    <a:pt x="54" y="87"/>
                    <a:pt x="54" y="78"/>
                    <a:pt x="54" y="77"/>
                  </a:cubicBezTo>
                  <a:cubicBezTo>
                    <a:pt x="54" y="28"/>
                    <a:pt x="8" y="4"/>
                    <a:pt x="1" y="1"/>
                  </a:cubicBezTo>
                  <a:cubicBezTo>
                    <a:pt x="0" y="0"/>
                    <a:pt x="0" y="0"/>
                    <a:pt x="1" y="0"/>
                  </a:cubicBezTo>
                  <a:cubicBezTo>
                    <a:pt x="173" y="0"/>
                    <a:pt x="173" y="0"/>
                    <a:pt x="173" y="0"/>
                  </a:cubicBezTo>
                  <a:cubicBezTo>
                    <a:pt x="191" y="0"/>
                    <a:pt x="221" y="13"/>
                    <a:pt x="221" y="100"/>
                  </a:cubicBezTo>
                  <a:cubicBezTo>
                    <a:pt x="221" y="127"/>
                    <a:pt x="274" y="167"/>
                    <a:pt x="274" y="193"/>
                  </a:cubicBezTo>
                  <a:moveTo>
                    <a:pt x="173" y="80"/>
                  </a:moveTo>
                  <a:cubicBezTo>
                    <a:pt x="186" y="80"/>
                    <a:pt x="199" y="85"/>
                    <a:pt x="199" y="78"/>
                  </a:cubicBezTo>
                  <a:cubicBezTo>
                    <a:pt x="199" y="72"/>
                    <a:pt x="180" y="67"/>
                    <a:pt x="167" y="67"/>
                  </a:cubicBezTo>
                  <a:cubicBezTo>
                    <a:pt x="134" y="67"/>
                    <a:pt x="115" y="88"/>
                    <a:pt x="115" y="93"/>
                  </a:cubicBezTo>
                  <a:cubicBezTo>
                    <a:pt x="115" y="95"/>
                    <a:pt x="119" y="95"/>
                    <a:pt x="119" y="95"/>
                  </a:cubicBezTo>
                  <a:cubicBezTo>
                    <a:pt x="131" y="95"/>
                    <a:pt x="140" y="80"/>
                    <a:pt x="173" y="80"/>
                  </a:cubicBezTo>
                  <a:moveTo>
                    <a:pt x="192" y="124"/>
                  </a:moveTo>
                  <a:cubicBezTo>
                    <a:pt x="192" y="118"/>
                    <a:pt x="188" y="110"/>
                    <a:pt x="188" y="110"/>
                  </a:cubicBezTo>
                  <a:cubicBezTo>
                    <a:pt x="188" y="110"/>
                    <a:pt x="192" y="109"/>
                    <a:pt x="192" y="105"/>
                  </a:cubicBezTo>
                  <a:cubicBezTo>
                    <a:pt x="192" y="102"/>
                    <a:pt x="191" y="98"/>
                    <a:pt x="185" y="98"/>
                  </a:cubicBezTo>
                  <a:cubicBezTo>
                    <a:pt x="170" y="98"/>
                    <a:pt x="136" y="106"/>
                    <a:pt x="136" y="118"/>
                  </a:cubicBezTo>
                  <a:cubicBezTo>
                    <a:pt x="136" y="119"/>
                    <a:pt x="136" y="123"/>
                    <a:pt x="139" y="123"/>
                  </a:cubicBezTo>
                  <a:cubicBezTo>
                    <a:pt x="143" y="123"/>
                    <a:pt x="163" y="115"/>
                    <a:pt x="163" y="115"/>
                  </a:cubicBezTo>
                  <a:cubicBezTo>
                    <a:pt x="160" y="117"/>
                    <a:pt x="160" y="122"/>
                    <a:pt x="160" y="122"/>
                  </a:cubicBezTo>
                  <a:cubicBezTo>
                    <a:pt x="160" y="131"/>
                    <a:pt x="164" y="138"/>
                    <a:pt x="164" y="138"/>
                  </a:cubicBezTo>
                  <a:cubicBezTo>
                    <a:pt x="155" y="138"/>
                    <a:pt x="151" y="138"/>
                    <a:pt x="151" y="140"/>
                  </a:cubicBezTo>
                  <a:cubicBezTo>
                    <a:pt x="151" y="142"/>
                    <a:pt x="159" y="145"/>
                    <a:pt x="173" y="145"/>
                  </a:cubicBezTo>
                  <a:cubicBezTo>
                    <a:pt x="188" y="145"/>
                    <a:pt x="188" y="141"/>
                    <a:pt x="188" y="140"/>
                  </a:cubicBezTo>
                  <a:cubicBezTo>
                    <a:pt x="188" y="139"/>
                    <a:pt x="186" y="139"/>
                    <a:pt x="186" y="139"/>
                  </a:cubicBezTo>
                  <a:cubicBezTo>
                    <a:pt x="186" y="139"/>
                    <a:pt x="192" y="133"/>
                    <a:pt x="192" y="124"/>
                  </a:cubicBezTo>
                  <a:moveTo>
                    <a:pt x="179" y="112"/>
                  </a:moveTo>
                  <a:cubicBezTo>
                    <a:pt x="176" y="113"/>
                    <a:pt x="175" y="117"/>
                    <a:pt x="175" y="121"/>
                  </a:cubicBezTo>
                  <a:cubicBezTo>
                    <a:pt x="176" y="126"/>
                    <a:pt x="178" y="129"/>
                    <a:pt x="180" y="129"/>
                  </a:cubicBezTo>
                  <a:cubicBezTo>
                    <a:pt x="183" y="129"/>
                    <a:pt x="184" y="125"/>
                    <a:pt x="184" y="120"/>
                  </a:cubicBezTo>
                  <a:cubicBezTo>
                    <a:pt x="183" y="116"/>
                    <a:pt x="181" y="112"/>
                    <a:pt x="179" y="112"/>
                  </a:cubicBezTo>
                </a:path>
              </a:pathLst>
            </a:custGeom>
            <a:solidFill>
              <a:srgbClr val="00B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6">
              <a:extLst>
                <a:ext uri="{FF2B5EF4-FFF2-40B4-BE49-F238E27FC236}">
                  <a16:creationId xmlns:a16="http://schemas.microsoft.com/office/drawing/2014/main" id="{29BF60F8-9D33-4765-97C5-88783B33F80B}"/>
                </a:ext>
              </a:extLst>
            </p:cNvPr>
            <p:cNvSpPr>
              <a:spLocks noEditPoints="1"/>
            </p:cNvSpPr>
            <p:nvPr userDrawn="1"/>
          </p:nvSpPr>
          <p:spPr bwMode="auto">
            <a:xfrm>
              <a:off x="7442200" y="4232276"/>
              <a:ext cx="538163" cy="723900"/>
            </a:xfrm>
            <a:custGeom>
              <a:avLst/>
              <a:gdLst>
                <a:gd name="T0" fmla="*/ 174 w 247"/>
                <a:gd name="T1" fmla="*/ 331 h 331"/>
                <a:gd name="T2" fmla="*/ 18 w 247"/>
                <a:gd name="T3" fmla="*/ 331 h 331"/>
                <a:gd name="T4" fmla="*/ 0 w 247"/>
                <a:gd name="T5" fmla="*/ 0 h 331"/>
                <a:gd name="T6" fmla="*/ 116 w 247"/>
                <a:gd name="T7" fmla="*/ 0 h 331"/>
                <a:gd name="T8" fmla="*/ 191 w 247"/>
                <a:gd name="T9" fmla="*/ 75 h 331"/>
                <a:gd name="T10" fmla="*/ 193 w 247"/>
                <a:gd name="T11" fmla="*/ 102 h 331"/>
                <a:gd name="T12" fmla="*/ 247 w 247"/>
                <a:gd name="T13" fmla="*/ 189 h 331"/>
                <a:gd name="T14" fmla="*/ 219 w 247"/>
                <a:gd name="T15" fmla="*/ 208 h 331"/>
                <a:gd name="T16" fmla="*/ 219 w 247"/>
                <a:gd name="T17" fmla="*/ 213 h 331"/>
                <a:gd name="T18" fmla="*/ 223 w 247"/>
                <a:gd name="T19" fmla="*/ 235 h 331"/>
                <a:gd name="T20" fmla="*/ 216 w 247"/>
                <a:gd name="T21" fmla="*/ 241 h 331"/>
                <a:gd name="T22" fmla="*/ 208 w 247"/>
                <a:gd name="T23" fmla="*/ 243 h 331"/>
                <a:gd name="T24" fmla="*/ 221 w 247"/>
                <a:gd name="T25" fmla="*/ 252 h 331"/>
                <a:gd name="T26" fmla="*/ 209 w 247"/>
                <a:gd name="T27" fmla="*/ 281 h 331"/>
                <a:gd name="T28" fmla="*/ 209 w 247"/>
                <a:gd name="T29" fmla="*/ 285 h 331"/>
                <a:gd name="T30" fmla="*/ 174 w 247"/>
                <a:gd name="T31" fmla="*/ 331 h 331"/>
                <a:gd name="T32" fmla="*/ 167 w 247"/>
                <a:gd name="T33" fmla="*/ 85 h 331"/>
                <a:gd name="T34" fmla="*/ 176 w 247"/>
                <a:gd name="T35" fmla="*/ 73 h 331"/>
                <a:gd name="T36" fmla="*/ 171 w 247"/>
                <a:gd name="T37" fmla="*/ 71 h 331"/>
                <a:gd name="T38" fmla="*/ 130 w 247"/>
                <a:gd name="T39" fmla="*/ 69 h 331"/>
                <a:gd name="T40" fmla="*/ 89 w 247"/>
                <a:gd name="T41" fmla="*/ 84 h 331"/>
                <a:gd name="T42" fmla="*/ 93 w 247"/>
                <a:gd name="T43" fmla="*/ 87 h 331"/>
                <a:gd name="T44" fmla="*/ 126 w 247"/>
                <a:gd name="T45" fmla="*/ 83 h 331"/>
                <a:gd name="T46" fmla="*/ 167 w 247"/>
                <a:gd name="T47" fmla="*/ 85 h 331"/>
                <a:gd name="T48" fmla="*/ 161 w 247"/>
                <a:gd name="T49" fmla="*/ 145 h 331"/>
                <a:gd name="T50" fmla="*/ 159 w 247"/>
                <a:gd name="T51" fmla="*/ 143 h 331"/>
                <a:gd name="T52" fmla="*/ 162 w 247"/>
                <a:gd name="T53" fmla="*/ 130 h 331"/>
                <a:gd name="T54" fmla="*/ 158 w 247"/>
                <a:gd name="T55" fmla="*/ 117 h 331"/>
                <a:gd name="T56" fmla="*/ 162 w 247"/>
                <a:gd name="T57" fmla="*/ 112 h 331"/>
                <a:gd name="T58" fmla="*/ 151 w 247"/>
                <a:gd name="T59" fmla="*/ 106 h 331"/>
                <a:gd name="T60" fmla="*/ 105 w 247"/>
                <a:gd name="T61" fmla="*/ 127 h 331"/>
                <a:gd name="T62" fmla="*/ 111 w 247"/>
                <a:gd name="T63" fmla="*/ 131 h 331"/>
                <a:gd name="T64" fmla="*/ 134 w 247"/>
                <a:gd name="T65" fmla="*/ 124 h 331"/>
                <a:gd name="T66" fmla="*/ 135 w 247"/>
                <a:gd name="T67" fmla="*/ 127 h 331"/>
                <a:gd name="T68" fmla="*/ 138 w 247"/>
                <a:gd name="T69" fmla="*/ 142 h 331"/>
                <a:gd name="T70" fmla="*/ 126 w 247"/>
                <a:gd name="T71" fmla="*/ 144 h 331"/>
                <a:gd name="T72" fmla="*/ 147 w 247"/>
                <a:gd name="T73" fmla="*/ 150 h 331"/>
                <a:gd name="T74" fmla="*/ 161 w 247"/>
                <a:gd name="T75" fmla="*/ 145 h 331"/>
                <a:gd name="T76" fmla="*/ 149 w 247"/>
                <a:gd name="T77" fmla="*/ 121 h 331"/>
                <a:gd name="T78" fmla="*/ 146 w 247"/>
                <a:gd name="T79" fmla="*/ 130 h 331"/>
                <a:gd name="T80" fmla="*/ 152 w 247"/>
                <a:gd name="T81" fmla="*/ 137 h 331"/>
                <a:gd name="T82" fmla="*/ 155 w 247"/>
                <a:gd name="T83" fmla="*/ 128 h 331"/>
                <a:gd name="T84" fmla="*/ 149 w 247"/>
                <a:gd name="T85" fmla="*/ 12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331">
                  <a:moveTo>
                    <a:pt x="174" y="331"/>
                  </a:moveTo>
                  <a:cubicBezTo>
                    <a:pt x="140" y="331"/>
                    <a:pt x="18" y="331"/>
                    <a:pt x="18" y="331"/>
                  </a:cubicBezTo>
                  <a:cubicBezTo>
                    <a:pt x="81" y="166"/>
                    <a:pt x="0" y="139"/>
                    <a:pt x="0" y="0"/>
                  </a:cubicBezTo>
                  <a:cubicBezTo>
                    <a:pt x="116" y="0"/>
                    <a:pt x="116" y="0"/>
                    <a:pt x="116" y="0"/>
                  </a:cubicBezTo>
                  <a:cubicBezTo>
                    <a:pt x="150" y="0"/>
                    <a:pt x="191" y="45"/>
                    <a:pt x="191" y="75"/>
                  </a:cubicBezTo>
                  <a:cubicBezTo>
                    <a:pt x="191" y="75"/>
                    <a:pt x="191" y="87"/>
                    <a:pt x="193" y="102"/>
                  </a:cubicBezTo>
                  <a:cubicBezTo>
                    <a:pt x="195" y="117"/>
                    <a:pt x="247" y="170"/>
                    <a:pt x="247" y="189"/>
                  </a:cubicBezTo>
                  <a:cubicBezTo>
                    <a:pt x="247" y="198"/>
                    <a:pt x="219" y="208"/>
                    <a:pt x="219" y="208"/>
                  </a:cubicBezTo>
                  <a:cubicBezTo>
                    <a:pt x="219" y="208"/>
                    <a:pt x="219" y="210"/>
                    <a:pt x="219" y="213"/>
                  </a:cubicBezTo>
                  <a:cubicBezTo>
                    <a:pt x="219" y="220"/>
                    <a:pt x="223" y="230"/>
                    <a:pt x="223" y="235"/>
                  </a:cubicBezTo>
                  <a:cubicBezTo>
                    <a:pt x="223" y="235"/>
                    <a:pt x="222" y="240"/>
                    <a:pt x="216" y="241"/>
                  </a:cubicBezTo>
                  <a:cubicBezTo>
                    <a:pt x="216" y="241"/>
                    <a:pt x="209" y="242"/>
                    <a:pt x="208" y="243"/>
                  </a:cubicBezTo>
                  <a:cubicBezTo>
                    <a:pt x="208" y="244"/>
                    <a:pt x="221" y="243"/>
                    <a:pt x="221" y="252"/>
                  </a:cubicBezTo>
                  <a:cubicBezTo>
                    <a:pt x="221" y="262"/>
                    <a:pt x="209" y="260"/>
                    <a:pt x="209" y="281"/>
                  </a:cubicBezTo>
                  <a:cubicBezTo>
                    <a:pt x="209" y="281"/>
                    <a:pt x="209" y="283"/>
                    <a:pt x="209" y="285"/>
                  </a:cubicBezTo>
                  <a:cubicBezTo>
                    <a:pt x="209" y="312"/>
                    <a:pt x="189" y="331"/>
                    <a:pt x="174" y="331"/>
                  </a:cubicBezTo>
                  <a:moveTo>
                    <a:pt x="167" y="85"/>
                  </a:moveTo>
                  <a:cubicBezTo>
                    <a:pt x="173" y="85"/>
                    <a:pt x="176" y="79"/>
                    <a:pt x="176" y="73"/>
                  </a:cubicBezTo>
                  <a:cubicBezTo>
                    <a:pt x="176" y="72"/>
                    <a:pt x="175" y="71"/>
                    <a:pt x="171" y="71"/>
                  </a:cubicBezTo>
                  <a:cubicBezTo>
                    <a:pt x="163" y="71"/>
                    <a:pt x="149" y="69"/>
                    <a:pt x="130" y="69"/>
                  </a:cubicBezTo>
                  <a:cubicBezTo>
                    <a:pt x="96" y="69"/>
                    <a:pt x="89" y="81"/>
                    <a:pt x="89" y="84"/>
                  </a:cubicBezTo>
                  <a:cubicBezTo>
                    <a:pt x="89" y="87"/>
                    <a:pt x="93" y="87"/>
                    <a:pt x="93" y="87"/>
                  </a:cubicBezTo>
                  <a:cubicBezTo>
                    <a:pt x="99" y="87"/>
                    <a:pt x="108" y="83"/>
                    <a:pt x="126" y="83"/>
                  </a:cubicBezTo>
                  <a:cubicBezTo>
                    <a:pt x="144" y="83"/>
                    <a:pt x="167" y="85"/>
                    <a:pt x="167" y="85"/>
                  </a:cubicBezTo>
                  <a:moveTo>
                    <a:pt x="161" y="145"/>
                  </a:moveTo>
                  <a:cubicBezTo>
                    <a:pt x="161" y="143"/>
                    <a:pt x="159" y="143"/>
                    <a:pt x="159" y="143"/>
                  </a:cubicBezTo>
                  <a:cubicBezTo>
                    <a:pt x="159" y="143"/>
                    <a:pt x="162" y="137"/>
                    <a:pt x="162" y="130"/>
                  </a:cubicBezTo>
                  <a:cubicBezTo>
                    <a:pt x="162" y="124"/>
                    <a:pt x="158" y="118"/>
                    <a:pt x="158" y="117"/>
                  </a:cubicBezTo>
                  <a:cubicBezTo>
                    <a:pt x="158" y="116"/>
                    <a:pt x="162" y="115"/>
                    <a:pt x="162" y="112"/>
                  </a:cubicBezTo>
                  <a:cubicBezTo>
                    <a:pt x="162" y="110"/>
                    <a:pt x="158" y="106"/>
                    <a:pt x="151" y="106"/>
                  </a:cubicBezTo>
                  <a:cubicBezTo>
                    <a:pt x="126" y="106"/>
                    <a:pt x="105" y="122"/>
                    <a:pt x="105" y="127"/>
                  </a:cubicBezTo>
                  <a:cubicBezTo>
                    <a:pt x="105" y="129"/>
                    <a:pt x="106" y="131"/>
                    <a:pt x="111" y="131"/>
                  </a:cubicBezTo>
                  <a:cubicBezTo>
                    <a:pt x="121" y="131"/>
                    <a:pt x="133" y="124"/>
                    <a:pt x="134" y="124"/>
                  </a:cubicBezTo>
                  <a:cubicBezTo>
                    <a:pt x="134" y="124"/>
                    <a:pt x="135" y="124"/>
                    <a:pt x="135" y="127"/>
                  </a:cubicBezTo>
                  <a:cubicBezTo>
                    <a:pt x="135" y="134"/>
                    <a:pt x="138" y="142"/>
                    <a:pt x="138" y="142"/>
                  </a:cubicBezTo>
                  <a:cubicBezTo>
                    <a:pt x="138" y="142"/>
                    <a:pt x="126" y="140"/>
                    <a:pt x="126" y="144"/>
                  </a:cubicBezTo>
                  <a:cubicBezTo>
                    <a:pt x="126" y="148"/>
                    <a:pt x="136" y="150"/>
                    <a:pt x="147" y="150"/>
                  </a:cubicBezTo>
                  <a:cubicBezTo>
                    <a:pt x="159" y="150"/>
                    <a:pt x="161" y="146"/>
                    <a:pt x="161" y="145"/>
                  </a:cubicBezTo>
                  <a:moveTo>
                    <a:pt x="149" y="121"/>
                  </a:moveTo>
                  <a:cubicBezTo>
                    <a:pt x="147" y="121"/>
                    <a:pt x="145" y="125"/>
                    <a:pt x="146" y="130"/>
                  </a:cubicBezTo>
                  <a:cubicBezTo>
                    <a:pt x="147" y="134"/>
                    <a:pt x="150" y="137"/>
                    <a:pt x="152" y="137"/>
                  </a:cubicBezTo>
                  <a:cubicBezTo>
                    <a:pt x="154" y="136"/>
                    <a:pt x="156" y="132"/>
                    <a:pt x="155" y="128"/>
                  </a:cubicBezTo>
                  <a:cubicBezTo>
                    <a:pt x="154" y="124"/>
                    <a:pt x="151" y="120"/>
                    <a:pt x="149" y="121"/>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6" name="Picture 5">
            <a:extLst>
              <a:ext uri="{FF2B5EF4-FFF2-40B4-BE49-F238E27FC236}">
                <a16:creationId xmlns:a16="http://schemas.microsoft.com/office/drawing/2014/main" id="{BAFCF17B-7480-4171-95FC-913D95CF8B6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7306312" y="3184358"/>
            <a:ext cx="1074947" cy="514956"/>
          </a:xfrm>
          <a:prstGeom prst="rect">
            <a:avLst/>
          </a:prstGeom>
        </p:spPr>
      </p:pic>
    </p:spTree>
    <p:extLst>
      <p:ext uri="{BB962C8B-B14F-4D97-AF65-F5344CB8AC3E}">
        <p14:creationId xmlns:p14="http://schemas.microsoft.com/office/powerpoint/2010/main" val="1164327930"/>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LOGO &amp; 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BB384-D340-4405-A229-411576674412}"/>
              </a:ext>
            </a:extLst>
          </p:cNvPr>
          <p:cNvSpPr>
            <a:spLocks noGrp="1"/>
          </p:cNvSpPr>
          <p:nvPr>
            <p:ph type="ctrTitle"/>
          </p:nvPr>
        </p:nvSpPr>
        <p:spPr>
          <a:xfrm>
            <a:off x="1524000" y="858930"/>
            <a:ext cx="9144000" cy="2010772"/>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F958C3-6D08-4968-88FB-D3CAFF8514FC}"/>
              </a:ext>
            </a:extLst>
          </p:cNvPr>
          <p:cNvSpPr>
            <a:spLocks noGrp="1"/>
          </p:cNvSpPr>
          <p:nvPr>
            <p:ph type="subTitle" idx="1"/>
          </p:nvPr>
        </p:nvSpPr>
        <p:spPr>
          <a:xfrm>
            <a:off x="1524000" y="2961777"/>
            <a:ext cx="9144000" cy="523395"/>
          </a:xfrm>
        </p:spPr>
        <p:txBody>
          <a:bodyPr/>
          <a:lstStyle>
            <a:lvl1pPr marL="0" indent="0" algn="ctr">
              <a:lnSpc>
                <a:spcPct val="150000"/>
              </a:lnSpc>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Rectangle 9">
            <a:extLst>
              <a:ext uri="{FF2B5EF4-FFF2-40B4-BE49-F238E27FC236}">
                <a16:creationId xmlns:a16="http://schemas.microsoft.com/office/drawing/2014/main" id="{94DC6BCA-6CE2-4EE8-A74B-4BA886B4760A}"/>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739B631C-C659-439C-9548-8D0ECE79E0A7}"/>
              </a:ext>
            </a:extLst>
          </p:cNvPr>
          <p:cNvGrpSpPr/>
          <p:nvPr userDrawn="1"/>
        </p:nvGrpSpPr>
        <p:grpSpPr>
          <a:xfrm>
            <a:off x="1524001" y="4710967"/>
            <a:ext cx="9143998" cy="1029913"/>
            <a:chOff x="1524001" y="4424972"/>
            <a:chExt cx="9143998" cy="1029913"/>
          </a:xfrm>
        </p:grpSpPr>
        <p:pic>
          <p:nvPicPr>
            <p:cNvPr id="12" name="Picture 11">
              <a:extLst>
                <a:ext uri="{FF2B5EF4-FFF2-40B4-BE49-F238E27FC236}">
                  <a16:creationId xmlns:a16="http://schemas.microsoft.com/office/drawing/2014/main" id="{A2B3A507-50D5-4050-9E40-9251AB91E2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1" y="4477606"/>
              <a:ext cx="2588413" cy="952586"/>
            </a:xfrm>
            <a:prstGeom prst="rect">
              <a:avLst/>
            </a:prstGeom>
          </p:spPr>
        </p:pic>
        <p:grpSp>
          <p:nvGrpSpPr>
            <p:cNvPr id="25" name="Group 24">
              <a:extLst>
                <a:ext uri="{FF2B5EF4-FFF2-40B4-BE49-F238E27FC236}">
                  <a16:creationId xmlns:a16="http://schemas.microsoft.com/office/drawing/2014/main" id="{1D0CEED1-0BFD-4E22-A4BD-DF4BB48B9318}"/>
                </a:ext>
              </a:extLst>
            </p:cNvPr>
            <p:cNvGrpSpPr/>
            <p:nvPr userDrawn="1"/>
          </p:nvGrpSpPr>
          <p:grpSpPr>
            <a:xfrm>
              <a:off x="4972122" y="4529742"/>
              <a:ext cx="2683320" cy="921602"/>
              <a:chOff x="5021263" y="4232276"/>
              <a:chExt cx="3711575" cy="1274762"/>
            </a:xfrm>
          </p:grpSpPr>
          <p:sp>
            <p:nvSpPr>
              <p:cNvPr id="17" name="Freeform 9">
                <a:extLst>
                  <a:ext uri="{FF2B5EF4-FFF2-40B4-BE49-F238E27FC236}">
                    <a16:creationId xmlns:a16="http://schemas.microsoft.com/office/drawing/2014/main" id="{2B75E23F-0A49-4647-A969-5E7F44DBEE94}"/>
                  </a:ext>
                </a:extLst>
              </p:cNvPr>
              <p:cNvSpPr>
                <a:spLocks noEditPoints="1"/>
              </p:cNvSpPr>
              <p:nvPr userDrawn="1"/>
            </p:nvSpPr>
            <p:spPr bwMode="auto">
              <a:xfrm>
                <a:off x="5021263" y="5141913"/>
                <a:ext cx="3667125" cy="365125"/>
              </a:xfrm>
              <a:custGeom>
                <a:avLst/>
                <a:gdLst>
                  <a:gd name="T0" fmla="*/ 1645 w 1680"/>
                  <a:gd name="T1" fmla="*/ 53 h 167"/>
                  <a:gd name="T2" fmla="*/ 1628 w 1680"/>
                  <a:gd name="T3" fmla="*/ 66 h 167"/>
                  <a:gd name="T4" fmla="*/ 1641 w 1680"/>
                  <a:gd name="T5" fmla="*/ 96 h 167"/>
                  <a:gd name="T6" fmla="*/ 1618 w 1680"/>
                  <a:gd name="T7" fmla="*/ 44 h 167"/>
                  <a:gd name="T8" fmla="*/ 1541 w 1680"/>
                  <a:gd name="T9" fmla="*/ 56 h 167"/>
                  <a:gd name="T10" fmla="*/ 1506 w 1680"/>
                  <a:gd name="T11" fmla="*/ 109 h 167"/>
                  <a:gd name="T12" fmla="*/ 1448 w 1680"/>
                  <a:gd name="T13" fmla="*/ 52 h 167"/>
                  <a:gd name="T14" fmla="*/ 1475 w 1680"/>
                  <a:gd name="T15" fmla="*/ 98 h 167"/>
                  <a:gd name="T16" fmla="*/ 1448 w 1680"/>
                  <a:gd name="T17" fmla="*/ 52 h 167"/>
                  <a:gd name="T18" fmla="*/ 1429 w 1680"/>
                  <a:gd name="T19" fmla="*/ 109 h 167"/>
                  <a:gd name="T20" fmla="*/ 1400 w 1680"/>
                  <a:gd name="T21" fmla="*/ 46 h 167"/>
                  <a:gd name="T22" fmla="*/ 1390 w 1680"/>
                  <a:gd name="T23" fmla="*/ 118 h 167"/>
                  <a:gd name="T24" fmla="*/ 1350 w 1680"/>
                  <a:gd name="T25" fmla="*/ 64 h 167"/>
                  <a:gd name="T26" fmla="*/ 1369 w 1680"/>
                  <a:gd name="T27" fmla="*/ 113 h 167"/>
                  <a:gd name="T28" fmla="*/ 1254 w 1680"/>
                  <a:gd name="T29" fmla="*/ 56 h 167"/>
                  <a:gd name="T30" fmla="*/ 1300 w 1680"/>
                  <a:gd name="T31" fmla="*/ 118 h 167"/>
                  <a:gd name="T32" fmla="*/ 1235 w 1680"/>
                  <a:gd name="T33" fmla="*/ 52 h 167"/>
                  <a:gd name="T34" fmla="*/ 1152 w 1680"/>
                  <a:gd name="T35" fmla="*/ 86 h 167"/>
                  <a:gd name="T36" fmla="*/ 1153 w 1680"/>
                  <a:gd name="T37" fmla="*/ 66 h 167"/>
                  <a:gd name="T38" fmla="*/ 1139 w 1680"/>
                  <a:gd name="T39" fmla="*/ 110 h 167"/>
                  <a:gd name="T40" fmla="*/ 1068 w 1680"/>
                  <a:gd name="T41" fmla="*/ 19 h 167"/>
                  <a:gd name="T42" fmla="*/ 1085 w 1680"/>
                  <a:gd name="T43" fmla="*/ 46 h 167"/>
                  <a:gd name="T44" fmla="*/ 1022 w 1680"/>
                  <a:gd name="T45" fmla="*/ 73 h 167"/>
                  <a:gd name="T46" fmla="*/ 1024 w 1680"/>
                  <a:gd name="T47" fmla="*/ 44 h 167"/>
                  <a:gd name="T48" fmla="*/ 1017 w 1680"/>
                  <a:gd name="T49" fmla="*/ 112 h 167"/>
                  <a:gd name="T50" fmla="*/ 944 w 1680"/>
                  <a:gd name="T51" fmla="*/ 113 h 167"/>
                  <a:gd name="T52" fmla="*/ 933 w 1680"/>
                  <a:gd name="T53" fmla="*/ 115 h 167"/>
                  <a:gd name="T54" fmla="*/ 842 w 1680"/>
                  <a:gd name="T55" fmla="*/ 118 h 167"/>
                  <a:gd name="T56" fmla="*/ 902 w 1680"/>
                  <a:gd name="T57" fmla="*/ 71 h 167"/>
                  <a:gd name="T58" fmla="*/ 823 w 1680"/>
                  <a:gd name="T59" fmla="*/ 142 h 167"/>
                  <a:gd name="T60" fmla="*/ 807 w 1680"/>
                  <a:gd name="T61" fmla="*/ 71 h 167"/>
                  <a:gd name="T62" fmla="*/ 772 w 1680"/>
                  <a:gd name="T63" fmla="*/ 53 h 167"/>
                  <a:gd name="T64" fmla="*/ 770 w 1680"/>
                  <a:gd name="T65" fmla="*/ 162 h 167"/>
                  <a:gd name="T66" fmla="*/ 784 w 1680"/>
                  <a:gd name="T67" fmla="*/ 98 h 167"/>
                  <a:gd name="T68" fmla="*/ 717 w 1680"/>
                  <a:gd name="T69" fmla="*/ 113 h 167"/>
                  <a:gd name="T70" fmla="*/ 744 w 1680"/>
                  <a:gd name="T71" fmla="*/ 52 h 167"/>
                  <a:gd name="T72" fmla="*/ 733 w 1680"/>
                  <a:gd name="T73" fmla="*/ 67 h 167"/>
                  <a:gd name="T74" fmla="*/ 656 w 1680"/>
                  <a:gd name="T75" fmla="*/ 5 h 167"/>
                  <a:gd name="T76" fmla="*/ 656 w 1680"/>
                  <a:gd name="T77" fmla="*/ 118 h 167"/>
                  <a:gd name="T78" fmla="*/ 611 w 1680"/>
                  <a:gd name="T79" fmla="*/ 107 h 167"/>
                  <a:gd name="T80" fmla="*/ 634 w 1680"/>
                  <a:gd name="T81" fmla="*/ 0 h 167"/>
                  <a:gd name="T82" fmla="*/ 596 w 1680"/>
                  <a:gd name="T83" fmla="*/ 120 h 167"/>
                  <a:gd name="T84" fmla="*/ 494 w 1680"/>
                  <a:gd name="T85" fmla="*/ 56 h 167"/>
                  <a:gd name="T86" fmla="*/ 459 w 1680"/>
                  <a:gd name="T87" fmla="*/ 109 h 167"/>
                  <a:gd name="T88" fmla="*/ 388 w 1680"/>
                  <a:gd name="T89" fmla="*/ 108 h 167"/>
                  <a:gd name="T90" fmla="*/ 412 w 1680"/>
                  <a:gd name="T91" fmla="*/ 49 h 167"/>
                  <a:gd name="T92" fmla="*/ 392 w 1680"/>
                  <a:gd name="T93" fmla="*/ 81 h 167"/>
                  <a:gd name="T94" fmla="*/ 384 w 1680"/>
                  <a:gd name="T95" fmla="*/ 96 h 167"/>
                  <a:gd name="T96" fmla="*/ 309 w 1680"/>
                  <a:gd name="T97" fmla="*/ 46 h 167"/>
                  <a:gd name="T98" fmla="*/ 272 w 1680"/>
                  <a:gd name="T99" fmla="*/ 101 h 167"/>
                  <a:gd name="T100" fmla="*/ 289 w 1680"/>
                  <a:gd name="T101" fmla="*/ 60 h 167"/>
                  <a:gd name="T102" fmla="*/ 272 w 1680"/>
                  <a:gd name="T103" fmla="*/ 54 h 167"/>
                  <a:gd name="T104" fmla="*/ 274 w 1680"/>
                  <a:gd name="T105" fmla="*/ 118 h 167"/>
                  <a:gd name="T106" fmla="*/ 194 w 1680"/>
                  <a:gd name="T107" fmla="*/ 44 h 167"/>
                  <a:gd name="T108" fmla="*/ 210 w 1680"/>
                  <a:gd name="T109" fmla="*/ 106 h 167"/>
                  <a:gd name="T110" fmla="*/ 99 w 1680"/>
                  <a:gd name="T111" fmla="*/ 49 h 167"/>
                  <a:gd name="T112" fmla="*/ 120 w 1680"/>
                  <a:gd name="T113" fmla="*/ 114 h 167"/>
                  <a:gd name="T114" fmla="*/ 30 w 1680"/>
                  <a:gd name="T115" fmla="*/ 112 h 167"/>
                  <a:gd name="T116" fmla="*/ 30 w 1680"/>
                  <a:gd name="T117" fmla="*/ 58 h 167"/>
                  <a:gd name="T118" fmla="*/ 44 w 1680"/>
                  <a:gd name="T119" fmla="*/ 6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0" h="167">
                    <a:moveTo>
                      <a:pt x="1630" y="108"/>
                    </a:moveTo>
                    <a:cubicBezTo>
                      <a:pt x="1634" y="116"/>
                      <a:pt x="1642" y="120"/>
                      <a:pt x="1654" y="120"/>
                    </a:cubicBezTo>
                    <a:cubicBezTo>
                      <a:pt x="1661" y="120"/>
                      <a:pt x="1666" y="119"/>
                      <a:pt x="1670" y="116"/>
                    </a:cubicBezTo>
                    <a:cubicBezTo>
                      <a:pt x="1677" y="112"/>
                      <a:pt x="1680" y="105"/>
                      <a:pt x="1680" y="97"/>
                    </a:cubicBezTo>
                    <a:cubicBezTo>
                      <a:pt x="1680" y="92"/>
                      <a:pt x="1679" y="89"/>
                      <a:pt x="1678" y="86"/>
                    </a:cubicBezTo>
                    <a:cubicBezTo>
                      <a:pt x="1675" y="81"/>
                      <a:pt x="1670" y="78"/>
                      <a:pt x="1662" y="76"/>
                    </a:cubicBezTo>
                    <a:cubicBezTo>
                      <a:pt x="1652" y="73"/>
                      <a:pt x="1652" y="73"/>
                      <a:pt x="1652" y="73"/>
                    </a:cubicBezTo>
                    <a:cubicBezTo>
                      <a:pt x="1645" y="71"/>
                      <a:pt x="1642" y="67"/>
                      <a:pt x="1642" y="61"/>
                    </a:cubicBezTo>
                    <a:cubicBezTo>
                      <a:pt x="1642" y="58"/>
                      <a:pt x="1643" y="55"/>
                      <a:pt x="1645" y="53"/>
                    </a:cubicBezTo>
                    <a:cubicBezTo>
                      <a:pt x="1647" y="51"/>
                      <a:pt x="1650" y="49"/>
                      <a:pt x="1654" y="49"/>
                    </a:cubicBezTo>
                    <a:cubicBezTo>
                      <a:pt x="1656" y="49"/>
                      <a:pt x="1658" y="50"/>
                      <a:pt x="1660" y="51"/>
                    </a:cubicBezTo>
                    <a:cubicBezTo>
                      <a:pt x="1662" y="52"/>
                      <a:pt x="1663" y="53"/>
                      <a:pt x="1663" y="55"/>
                    </a:cubicBezTo>
                    <a:cubicBezTo>
                      <a:pt x="1664" y="57"/>
                      <a:pt x="1665" y="61"/>
                      <a:pt x="1665" y="66"/>
                    </a:cubicBezTo>
                    <a:cubicBezTo>
                      <a:pt x="1679" y="66"/>
                      <a:pt x="1679" y="66"/>
                      <a:pt x="1679" y="66"/>
                    </a:cubicBezTo>
                    <a:cubicBezTo>
                      <a:pt x="1678" y="61"/>
                      <a:pt x="1677" y="57"/>
                      <a:pt x="1675" y="54"/>
                    </a:cubicBezTo>
                    <a:cubicBezTo>
                      <a:pt x="1671" y="47"/>
                      <a:pt x="1664" y="44"/>
                      <a:pt x="1654" y="44"/>
                    </a:cubicBezTo>
                    <a:cubicBezTo>
                      <a:pt x="1648" y="44"/>
                      <a:pt x="1642" y="45"/>
                      <a:pt x="1638" y="48"/>
                    </a:cubicBezTo>
                    <a:cubicBezTo>
                      <a:pt x="1632" y="52"/>
                      <a:pt x="1628" y="58"/>
                      <a:pt x="1628" y="66"/>
                    </a:cubicBezTo>
                    <a:cubicBezTo>
                      <a:pt x="1628" y="72"/>
                      <a:pt x="1630" y="77"/>
                      <a:pt x="1634" y="81"/>
                    </a:cubicBezTo>
                    <a:cubicBezTo>
                      <a:pt x="1637" y="83"/>
                      <a:pt x="1642" y="86"/>
                      <a:pt x="1648" y="88"/>
                    </a:cubicBezTo>
                    <a:cubicBezTo>
                      <a:pt x="1656" y="90"/>
                      <a:pt x="1656" y="90"/>
                      <a:pt x="1656" y="90"/>
                    </a:cubicBezTo>
                    <a:cubicBezTo>
                      <a:pt x="1663" y="92"/>
                      <a:pt x="1667" y="96"/>
                      <a:pt x="1667" y="102"/>
                    </a:cubicBezTo>
                    <a:cubicBezTo>
                      <a:pt x="1667" y="105"/>
                      <a:pt x="1666" y="108"/>
                      <a:pt x="1664" y="110"/>
                    </a:cubicBezTo>
                    <a:cubicBezTo>
                      <a:pt x="1662" y="113"/>
                      <a:pt x="1659" y="115"/>
                      <a:pt x="1654" y="115"/>
                    </a:cubicBezTo>
                    <a:cubicBezTo>
                      <a:pt x="1651" y="115"/>
                      <a:pt x="1649" y="114"/>
                      <a:pt x="1646" y="112"/>
                    </a:cubicBezTo>
                    <a:cubicBezTo>
                      <a:pt x="1645" y="111"/>
                      <a:pt x="1643" y="110"/>
                      <a:pt x="1643" y="108"/>
                    </a:cubicBezTo>
                    <a:cubicBezTo>
                      <a:pt x="1641" y="105"/>
                      <a:pt x="1641" y="101"/>
                      <a:pt x="1641" y="96"/>
                    </a:cubicBezTo>
                    <a:cubicBezTo>
                      <a:pt x="1626" y="96"/>
                      <a:pt x="1626" y="96"/>
                      <a:pt x="1626" y="96"/>
                    </a:cubicBezTo>
                    <a:cubicBezTo>
                      <a:pt x="1627" y="101"/>
                      <a:pt x="1628" y="105"/>
                      <a:pt x="1630" y="108"/>
                    </a:cubicBezTo>
                    <a:moveTo>
                      <a:pt x="1578" y="118"/>
                    </a:moveTo>
                    <a:cubicBezTo>
                      <a:pt x="1595" y="118"/>
                      <a:pt x="1595" y="118"/>
                      <a:pt x="1595" y="118"/>
                    </a:cubicBezTo>
                    <a:cubicBezTo>
                      <a:pt x="1595" y="79"/>
                      <a:pt x="1595" y="79"/>
                      <a:pt x="1595" y="79"/>
                    </a:cubicBezTo>
                    <a:cubicBezTo>
                      <a:pt x="1595" y="73"/>
                      <a:pt x="1597" y="68"/>
                      <a:pt x="1599" y="64"/>
                    </a:cubicBezTo>
                    <a:cubicBezTo>
                      <a:pt x="1601" y="61"/>
                      <a:pt x="1604" y="60"/>
                      <a:pt x="1608" y="60"/>
                    </a:cubicBezTo>
                    <a:cubicBezTo>
                      <a:pt x="1610" y="60"/>
                      <a:pt x="1614" y="61"/>
                      <a:pt x="1618" y="62"/>
                    </a:cubicBezTo>
                    <a:cubicBezTo>
                      <a:pt x="1618" y="44"/>
                      <a:pt x="1618" y="44"/>
                      <a:pt x="1618" y="44"/>
                    </a:cubicBezTo>
                    <a:cubicBezTo>
                      <a:pt x="1611" y="45"/>
                      <a:pt x="1607" y="47"/>
                      <a:pt x="1603" y="50"/>
                    </a:cubicBezTo>
                    <a:cubicBezTo>
                      <a:pt x="1600" y="53"/>
                      <a:pt x="1597" y="59"/>
                      <a:pt x="1594" y="67"/>
                    </a:cubicBezTo>
                    <a:cubicBezTo>
                      <a:pt x="1594" y="46"/>
                      <a:pt x="1594" y="46"/>
                      <a:pt x="1594" y="46"/>
                    </a:cubicBezTo>
                    <a:cubicBezTo>
                      <a:pt x="1578" y="46"/>
                      <a:pt x="1578" y="46"/>
                      <a:pt x="1578" y="46"/>
                    </a:cubicBezTo>
                    <a:lnTo>
                      <a:pt x="1578" y="118"/>
                    </a:lnTo>
                    <a:close/>
                    <a:moveTo>
                      <a:pt x="1514" y="77"/>
                    </a:moveTo>
                    <a:cubicBezTo>
                      <a:pt x="1514" y="72"/>
                      <a:pt x="1514" y="67"/>
                      <a:pt x="1516" y="63"/>
                    </a:cubicBezTo>
                    <a:cubicBezTo>
                      <a:pt x="1518" y="54"/>
                      <a:pt x="1523" y="49"/>
                      <a:pt x="1530" y="49"/>
                    </a:cubicBezTo>
                    <a:cubicBezTo>
                      <a:pt x="1535" y="49"/>
                      <a:pt x="1539" y="51"/>
                      <a:pt x="1541" y="56"/>
                    </a:cubicBezTo>
                    <a:cubicBezTo>
                      <a:pt x="1544" y="62"/>
                      <a:pt x="1546" y="69"/>
                      <a:pt x="1546" y="77"/>
                    </a:cubicBezTo>
                    <a:lnTo>
                      <a:pt x="1514" y="77"/>
                    </a:lnTo>
                    <a:close/>
                    <a:moveTo>
                      <a:pt x="1552" y="52"/>
                    </a:moveTo>
                    <a:cubicBezTo>
                      <a:pt x="1546" y="47"/>
                      <a:pt x="1539" y="44"/>
                      <a:pt x="1530" y="44"/>
                    </a:cubicBezTo>
                    <a:cubicBezTo>
                      <a:pt x="1523" y="44"/>
                      <a:pt x="1517" y="46"/>
                      <a:pt x="1512" y="49"/>
                    </a:cubicBezTo>
                    <a:cubicBezTo>
                      <a:pt x="1508" y="52"/>
                      <a:pt x="1505" y="56"/>
                      <a:pt x="1502" y="60"/>
                    </a:cubicBezTo>
                    <a:cubicBezTo>
                      <a:pt x="1499" y="66"/>
                      <a:pt x="1498" y="73"/>
                      <a:pt x="1498" y="81"/>
                    </a:cubicBezTo>
                    <a:cubicBezTo>
                      <a:pt x="1498" y="86"/>
                      <a:pt x="1498" y="91"/>
                      <a:pt x="1499" y="95"/>
                    </a:cubicBezTo>
                    <a:cubicBezTo>
                      <a:pt x="1501" y="101"/>
                      <a:pt x="1503" y="105"/>
                      <a:pt x="1506" y="109"/>
                    </a:cubicBezTo>
                    <a:cubicBezTo>
                      <a:pt x="1512" y="116"/>
                      <a:pt x="1520" y="120"/>
                      <a:pt x="1531" y="120"/>
                    </a:cubicBezTo>
                    <a:cubicBezTo>
                      <a:pt x="1547" y="120"/>
                      <a:pt x="1557" y="112"/>
                      <a:pt x="1560" y="97"/>
                    </a:cubicBezTo>
                    <a:cubicBezTo>
                      <a:pt x="1553" y="97"/>
                      <a:pt x="1553" y="97"/>
                      <a:pt x="1553" y="97"/>
                    </a:cubicBezTo>
                    <a:cubicBezTo>
                      <a:pt x="1552" y="101"/>
                      <a:pt x="1551" y="104"/>
                      <a:pt x="1548" y="107"/>
                    </a:cubicBezTo>
                    <a:cubicBezTo>
                      <a:pt x="1544" y="112"/>
                      <a:pt x="1539" y="114"/>
                      <a:pt x="1533" y="114"/>
                    </a:cubicBezTo>
                    <a:cubicBezTo>
                      <a:pt x="1520" y="114"/>
                      <a:pt x="1514" y="104"/>
                      <a:pt x="1514" y="83"/>
                    </a:cubicBezTo>
                    <a:cubicBezTo>
                      <a:pt x="1562" y="83"/>
                      <a:pt x="1562" y="83"/>
                      <a:pt x="1562" y="83"/>
                    </a:cubicBezTo>
                    <a:cubicBezTo>
                      <a:pt x="1561" y="68"/>
                      <a:pt x="1558" y="58"/>
                      <a:pt x="1552" y="52"/>
                    </a:cubicBezTo>
                    <a:moveTo>
                      <a:pt x="1448" y="52"/>
                    </a:moveTo>
                    <a:cubicBezTo>
                      <a:pt x="1458" y="52"/>
                      <a:pt x="1458" y="52"/>
                      <a:pt x="1458" y="52"/>
                    </a:cubicBezTo>
                    <a:cubicBezTo>
                      <a:pt x="1458" y="96"/>
                      <a:pt x="1458" y="96"/>
                      <a:pt x="1458" y="96"/>
                    </a:cubicBezTo>
                    <a:cubicBezTo>
                      <a:pt x="1458" y="103"/>
                      <a:pt x="1459" y="108"/>
                      <a:pt x="1460" y="111"/>
                    </a:cubicBezTo>
                    <a:cubicBezTo>
                      <a:pt x="1463" y="117"/>
                      <a:pt x="1468" y="120"/>
                      <a:pt x="1476" y="120"/>
                    </a:cubicBezTo>
                    <a:cubicBezTo>
                      <a:pt x="1480" y="120"/>
                      <a:pt x="1486" y="119"/>
                      <a:pt x="1493" y="117"/>
                    </a:cubicBezTo>
                    <a:cubicBezTo>
                      <a:pt x="1493" y="111"/>
                      <a:pt x="1493" y="111"/>
                      <a:pt x="1493" y="111"/>
                    </a:cubicBezTo>
                    <a:cubicBezTo>
                      <a:pt x="1488" y="112"/>
                      <a:pt x="1484" y="113"/>
                      <a:pt x="1483" y="113"/>
                    </a:cubicBezTo>
                    <a:cubicBezTo>
                      <a:pt x="1480" y="113"/>
                      <a:pt x="1477" y="112"/>
                      <a:pt x="1476" y="109"/>
                    </a:cubicBezTo>
                    <a:cubicBezTo>
                      <a:pt x="1475" y="107"/>
                      <a:pt x="1475" y="103"/>
                      <a:pt x="1475" y="98"/>
                    </a:cubicBezTo>
                    <a:cubicBezTo>
                      <a:pt x="1475" y="52"/>
                      <a:pt x="1475" y="52"/>
                      <a:pt x="1475" y="52"/>
                    </a:cubicBezTo>
                    <a:cubicBezTo>
                      <a:pt x="1493" y="52"/>
                      <a:pt x="1493" y="52"/>
                      <a:pt x="1493" y="52"/>
                    </a:cubicBezTo>
                    <a:cubicBezTo>
                      <a:pt x="1493" y="46"/>
                      <a:pt x="1493" y="46"/>
                      <a:pt x="1493" y="46"/>
                    </a:cubicBezTo>
                    <a:cubicBezTo>
                      <a:pt x="1475" y="46"/>
                      <a:pt x="1475" y="46"/>
                      <a:pt x="1475" y="46"/>
                    </a:cubicBezTo>
                    <a:cubicBezTo>
                      <a:pt x="1475" y="21"/>
                      <a:pt x="1475" y="21"/>
                      <a:pt x="1475" y="21"/>
                    </a:cubicBezTo>
                    <a:cubicBezTo>
                      <a:pt x="1458" y="25"/>
                      <a:pt x="1458" y="25"/>
                      <a:pt x="1458" y="25"/>
                    </a:cubicBezTo>
                    <a:cubicBezTo>
                      <a:pt x="1458" y="46"/>
                      <a:pt x="1458" y="46"/>
                      <a:pt x="1458" y="46"/>
                    </a:cubicBezTo>
                    <a:cubicBezTo>
                      <a:pt x="1448" y="46"/>
                      <a:pt x="1448" y="46"/>
                      <a:pt x="1448" y="46"/>
                    </a:cubicBezTo>
                    <a:lnTo>
                      <a:pt x="1448" y="52"/>
                    </a:lnTo>
                    <a:close/>
                    <a:moveTo>
                      <a:pt x="1400" y="52"/>
                    </a:moveTo>
                    <a:cubicBezTo>
                      <a:pt x="1410" y="52"/>
                      <a:pt x="1410" y="52"/>
                      <a:pt x="1410" y="52"/>
                    </a:cubicBezTo>
                    <a:cubicBezTo>
                      <a:pt x="1410" y="96"/>
                      <a:pt x="1410" y="96"/>
                      <a:pt x="1410" y="96"/>
                    </a:cubicBezTo>
                    <a:cubicBezTo>
                      <a:pt x="1410" y="103"/>
                      <a:pt x="1411" y="108"/>
                      <a:pt x="1413" y="111"/>
                    </a:cubicBezTo>
                    <a:cubicBezTo>
                      <a:pt x="1416" y="117"/>
                      <a:pt x="1421" y="120"/>
                      <a:pt x="1428" y="120"/>
                    </a:cubicBezTo>
                    <a:cubicBezTo>
                      <a:pt x="1433" y="120"/>
                      <a:pt x="1439" y="119"/>
                      <a:pt x="1445" y="117"/>
                    </a:cubicBezTo>
                    <a:cubicBezTo>
                      <a:pt x="1445" y="111"/>
                      <a:pt x="1445" y="111"/>
                      <a:pt x="1445" y="111"/>
                    </a:cubicBezTo>
                    <a:cubicBezTo>
                      <a:pt x="1441" y="112"/>
                      <a:pt x="1437" y="113"/>
                      <a:pt x="1435" y="113"/>
                    </a:cubicBezTo>
                    <a:cubicBezTo>
                      <a:pt x="1432" y="113"/>
                      <a:pt x="1430" y="112"/>
                      <a:pt x="1429" y="109"/>
                    </a:cubicBezTo>
                    <a:cubicBezTo>
                      <a:pt x="1428" y="107"/>
                      <a:pt x="1427" y="103"/>
                      <a:pt x="1427" y="98"/>
                    </a:cubicBezTo>
                    <a:cubicBezTo>
                      <a:pt x="1427" y="52"/>
                      <a:pt x="1427" y="52"/>
                      <a:pt x="1427" y="52"/>
                    </a:cubicBezTo>
                    <a:cubicBezTo>
                      <a:pt x="1446" y="52"/>
                      <a:pt x="1446" y="52"/>
                      <a:pt x="1446" y="52"/>
                    </a:cubicBezTo>
                    <a:cubicBezTo>
                      <a:pt x="1446" y="46"/>
                      <a:pt x="1446" y="46"/>
                      <a:pt x="1446" y="46"/>
                    </a:cubicBezTo>
                    <a:cubicBezTo>
                      <a:pt x="1427" y="46"/>
                      <a:pt x="1427" y="46"/>
                      <a:pt x="1427" y="46"/>
                    </a:cubicBezTo>
                    <a:cubicBezTo>
                      <a:pt x="1427" y="21"/>
                      <a:pt x="1427" y="21"/>
                      <a:pt x="1427" y="21"/>
                    </a:cubicBezTo>
                    <a:cubicBezTo>
                      <a:pt x="1410" y="25"/>
                      <a:pt x="1410" y="25"/>
                      <a:pt x="1410" y="25"/>
                    </a:cubicBezTo>
                    <a:cubicBezTo>
                      <a:pt x="1410" y="46"/>
                      <a:pt x="1410" y="46"/>
                      <a:pt x="1410" y="46"/>
                    </a:cubicBezTo>
                    <a:cubicBezTo>
                      <a:pt x="1400" y="46"/>
                      <a:pt x="1400" y="46"/>
                      <a:pt x="1400" y="46"/>
                    </a:cubicBezTo>
                    <a:lnTo>
                      <a:pt x="1400" y="52"/>
                    </a:lnTo>
                    <a:close/>
                    <a:moveTo>
                      <a:pt x="1373" y="101"/>
                    </a:moveTo>
                    <a:cubicBezTo>
                      <a:pt x="1370" y="109"/>
                      <a:pt x="1365" y="113"/>
                      <a:pt x="1359" y="113"/>
                    </a:cubicBezTo>
                    <a:cubicBezTo>
                      <a:pt x="1352" y="113"/>
                      <a:pt x="1348" y="108"/>
                      <a:pt x="1348" y="98"/>
                    </a:cubicBezTo>
                    <a:cubicBezTo>
                      <a:pt x="1348" y="90"/>
                      <a:pt x="1351" y="85"/>
                      <a:pt x="1356" y="82"/>
                    </a:cubicBezTo>
                    <a:cubicBezTo>
                      <a:pt x="1360" y="80"/>
                      <a:pt x="1366" y="79"/>
                      <a:pt x="1375" y="79"/>
                    </a:cubicBezTo>
                    <a:cubicBezTo>
                      <a:pt x="1375" y="90"/>
                      <a:pt x="1374" y="97"/>
                      <a:pt x="1373" y="101"/>
                    </a:cubicBezTo>
                    <a:moveTo>
                      <a:pt x="1374" y="118"/>
                    </a:moveTo>
                    <a:cubicBezTo>
                      <a:pt x="1390" y="118"/>
                      <a:pt x="1390" y="118"/>
                      <a:pt x="1390" y="118"/>
                    </a:cubicBezTo>
                    <a:cubicBezTo>
                      <a:pt x="1390" y="72"/>
                      <a:pt x="1390" y="72"/>
                      <a:pt x="1390" y="72"/>
                    </a:cubicBezTo>
                    <a:cubicBezTo>
                      <a:pt x="1390" y="67"/>
                      <a:pt x="1390" y="63"/>
                      <a:pt x="1390" y="60"/>
                    </a:cubicBezTo>
                    <a:cubicBezTo>
                      <a:pt x="1389" y="57"/>
                      <a:pt x="1387" y="55"/>
                      <a:pt x="1386" y="52"/>
                    </a:cubicBezTo>
                    <a:cubicBezTo>
                      <a:pt x="1381" y="47"/>
                      <a:pt x="1374" y="44"/>
                      <a:pt x="1363" y="44"/>
                    </a:cubicBezTo>
                    <a:cubicBezTo>
                      <a:pt x="1355" y="44"/>
                      <a:pt x="1349" y="45"/>
                      <a:pt x="1344" y="48"/>
                    </a:cubicBezTo>
                    <a:cubicBezTo>
                      <a:pt x="1341" y="50"/>
                      <a:pt x="1339" y="52"/>
                      <a:pt x="1337" y="55"/>
                    </a:cubicBezTo>
                    <a:cubicBezTo>
                      <a:pt x="1336" y="58"/>
                      <a:pt x="1335" y="62"/>
                      <a:pt x="1335" y="66"/>
                    </a:cubicBezTo>
                    <a:cubicBezTo>
                      <a:pt x="1350" y="66"/>
                      <a:pt x="1350" y="66"/>
                      <a:pt x="1350" y="66"/>
                    </a:cubicBezTo>
                    <a:cubicBezTo>
                      <a:pt x="1350" y="64"/>
                      <a:pt x="1350" y="64"/>
                      <a:pt x="1350" y="64"/>
                    </a:cubicBezTo>
                    <a:cubicBezTo>
                      <a:pt x="1350" y="54"/>
                      <a:pt x="1354" y="49"/>
                      <a:pt x="1362" y="49"/>
                    </a:cubicBezTo>
                    <a:cubicBezTo>
                      <a:pt x="1367" y="49"/>
                      <a:pt x="1371" y="51"/>
                      <a:pt x="1372" y="54"/>
                    </a:cubicBezTo>
                    <a:cubicBezTo>
                      <a:pt x="1374" y="57"/>
                      <a:pt x="1375" y="62"/>
                      <a:pt x="1375" y="67"/>
                    </a:cubicBezTo>
                    <a:cubicBezTo>
                      <a:pt x="1375" y="75"/>
                      <a:pt x="1375" y="75"/>
                      <a:pt x="1375" y="75"/>
                    </a:cubicBezTo>
                    <a:cubicBezTo>
                      <a:pt x="1358" y="75"/>
                      <a:pt x="1348" y="77"/>
                      <a:pt x="1342" y="80"/>
                    </a:cubicBezTo>
                    <a:cubicBezTo>
                      <a:pt x="1335" y="84"/>
                      <a:pt x="1331" y="90"/>
                      <a:pt x="1331" y="99"/>
                    </a:cubicBezTo>
                    <a:cubicBezTo>
                      <a:pt x="1331" y="104"/>
                      <a:pt x="1333" y="109"/>
                      <a:pt x="1335" y="113"/>
                    </a:cubicBezTo>
                    <a:cubicBezTo>
                      <a:pt x="1339" y="118"/>
                      <a:pt x="1345" y="120"/>
                      <a:pt x="1353" y="120"/>
                    </a:cubicBezTo>
                    <a:cubicBezTo>
                      <a:pt x="1359" y="120"/>
                      <a:pt x="1365" y="118"/>
                      <a:pt x="1369" y="113"/>
                    </a:cubicBezTo>
                    <a:cubicBezTo>
                      <a:pt x="1371" y="111"/>
                      <a:pt x="1373" y="107"/>
                      <a:pt x="1374" y="103"/>
                    </a:cubicBezTo>
                    <a:lnTo>
                      <a:pt x="1374" y="118"/>
                    </a:lnTo>
                    <a:close/>
                    <a:moveTo>
                      <a:pt x="1213" y="118"/>
                    </a:moveTo>
                    <a:cubicBezTo>
                      <a:pt x="1230" y="118"/>
                      <a:pt x="1230" y="118"/>
                      <a:pt x="1230" y="118"/>
                    </a:cubicBezTo>
                    <a:cubicBezTo>
                      <a:pt x="1230" y="85"/>
                      <a:pt x="1230" y="85"/>
                      <a:pt x="1230" y="85"/>
                    </a:cubicBezTo>
                    <a:cubicBezTo>
                      <a:pt x="1230" y="78"/>
                      <a:pt x="1230" y="73"/>
                      <a:pt x="1231" y="69"/>
                    </a:cubicBezTo>
                    <a:cubicBezTo>
                      <a:pt x="1232" y="63"/>
                      <a:pt x="1234" y="58"/>
                      <a:pt x="1237" y="55"/>
                    </a:cubicBezTo>
                    <a:cubicBezTo>
                      <a:pt x="1240" y="52"/>
                      <a:pt x="1243" y="51"/>
                      <a:pt x="1246" y="51"/>
                    </a:cubicBezTo>
                    <a:cubicBezTo>
                      <a:pt x="1250" y="51"/>
                      <a:pt x="1253" y="52"/>
                      <a:pt x="1254" y="56"/>
                    </a:cubicBezTo>
                    <a:cubicBezTo>
                      <a:pt x="1256" y="59"/>
                      <a:pt x="1256" y="65"/>
                      <a:pt x="1256" y="73"/>
                    </a:cubicBezTo>
                    <a:cubicBezTo>
                      <a:pt x="1256" y="118"/>
                      <a:pt x="1256" y="118"/>
                      <a:pt x="1256" y="118"/>
                    </a:cubicBezTo>
                    <a:cubicBezTo>
                      <a:pt x="1273" y="118"/>
                      <a:pt x="1273" y="118"/>
                      <a:pt x="1273" y="118"/>
                    </a:cubicBezTo>
                    <a:cubicBezTo>
                      <a:pt x="1273" y="86"/>
                      <a:pt x="1273" y="86"/>
                      <a:pt x="1273" y="86"/>
                    </a:cubicBezTo>
                    <a:cubicBezTo>
                      <a:pt x="1273" y="71"/>
                      <a:pt x="1276" y="60"/>
                      <a:pt x="1280" y="55"/>
                    </a:cubicBezTo>
                    <a:cubicBezTo>
                      <a:pt x="1283" y="52"/>
                      <a:pt x="1286" y="51"/>
                      <a:pt x="1289" y="51"/>
                    </a:cubicBezTo>
                    <a:cubicBezTo>
                      <a:pt x="1293" y="51"/>
                      <a:pt x="1296" y="52"/>
                      <a:pt x="1298" y="56"/>
                    </a:cubicBezTo>
                    <a:cubicBezTo>
                      <a:pt x="1299" y="59"/>
                      <a:pt x="1300" y="64"/>
                      <a:pt x="1300" y="71"/>
                    </a:cubicBezTo>
                    <a:cubicBezTo>
                      <a:pt x="1300" y="118"/>
                      <a:pt x="1300" y="118"/>
                      <a:pt x="1300" y="118"/>
                    </a:cubicBezTo>
                    <a:cubicBezTo>
                      <a:pt x="1316" y="118"/>
                      <a:pt x="1316" y="118"/>
                      <a:pt x="1316" y="118"/>
                    </a:cubicBezTo>
                    <a:cubicBezTo>
                      <a:pt x="1316" y="69"/>
                      <a:pt x="1316" y="69"/>
                      <a:pt x="1316" y="69"/>
                    </a:cubicBezTo>
                    <a:cubicBezTo>
                      <a:pt x="1316" y="63"/>
                      <a:pt x="1316" y="58"/>
                      <a:pt x="1314" y="55"/>
                    </a:cubicBezTo>
                    <a:cubicBezTo>
                      <a:pt x="1310" y="48"/>
                      <a:pt x="1304" y="44"/>
                      <a:pt x="1295" y="44"/>
                    </a:cubicBezTo>
                    <a:cubicBezTo>
                      <a:pt x="1288" y="44"/>
                      <a:pt x="1283" y="46"/>
                      <a:pt x="1278" y="51"/>
                    </a:cubicBezTo>
                    <a:cubicBezTo>
                      <a:pt x="1276" y="54"/>
                      <a:pt x="1274" y="57"/>
                      <a:pt x="1273" y="62"/>
                    </a:cubicBezTo>
                    <a:cubicBezTo>
                      <a:pt x="1272" y="58"/>
                      <a:pt x="1270" y="54"/>
                      <a:pt x="1269" y="51"/>
                    </a:cubicBezTo>
                    <a:cubicBezTo>
                      <a:pt x="1265" y="46"/>
                      <a:pt x="1260" y="44"/>
                      <a:pt x="1252" y="44"/>
                    </a:cubicBezTo>
                    <a:cubicBezTo>
                      <a:pt x="1245" y="44"/>
                      <a:pt x="1239" y="47"/>
                      <a:pt x="1235" y="52"/>
                    </a:cubicBezTo>
                    <a:cubicBezTo>
                      <a:pt x="1232" y="55"/>
                      <a:pt x="1230" y="59"/>
                      <a:pt x="1229" y="64"/>
                    </a:cubicBezTo>
                    <a:cubicBezTo>
                      <a:pt x="1229" y="46"/>
                      <a:pt x="1229" y="46"/>
                      <a:pt x="1229" y="46"/>
                    </a:cubicBezTo>
                    <a:cubicBezTo>
                      <a:pt x="1213" y="46"/>
                      <a:pt x="1213" y="46"/>
                      <a:pt x="1213" y="46"/>
                    </a:cubicBezTo>
                    <a:lnTo>
                      <a:pt x="1213" y="118"/>
                    </a:lnTo>
                    <a:close/>
                    <a:moveTo>
                      <a:pt x="1104" y="108"/>
                    </a:moveTo>
                    <a:cubicBezTo>
                      <a:pt x="1108" y="116"/>
                      <a:pt x="1116" y="120"/>
                      <a:pt x="1128" y="120"/>
                    </a:cubicBezTo>
                    <a:cubicBezTo>
                      <a:pt x="1135" y="120"/>
                      <a:pt x="1140" y="119"/>
                      <a:pt x="1145" y="116"/>
                    </a:cubicBezTo>
                    <a:cubicBezTo>
                      <a:pt x="1151" y="112"/>
                      <a:pt x="1155" y="105"/>
                      <a:pt x="1155" y="97"/>
                    </a:cubicBezTo>
                    <a:cubicBezTo>
                      <a:pt x="1155" y="92"/>
                      <a:pt x="1154" y="89"/>
                      <a:pt x="1152" y="86"/>
                    </a:cubicBezTo>
                    <a:cubicBezTo>
                      <a:pt x="1149" y="81"/>
                      <a:pt x="1144" y="78"/>
                      <a:pt x="1137" y="76"/>
                    </a:cubicBezTo>
                    <a:cubicBezTo>
                      <a:pt x="1126" y="73"/>
                      <a:pt x="1126" y="73"/>
                      <a:pt x="1126" y="73"/>
                    </a:cubicBezTo>
                    <a:cubicBezTo>
                      <a:pt x="1120" y="71"/>
                      <a:pt x="1116" y="67"/>
                      <a:pt x="1116" y="61"/>
                    </a:cubicBezTo>
                    <a:cubicBezTo>
                      <a:pt x="1116" y="58"/>
                      <a:pt x="1117" y="55"/>
                      <a:pt x="1119" y="53"/>
                    </a:cubicBezTo>
                    <a:cubicBezTo>
                      <a:pt x="1121" y="51"/>
                      <a:pt x="1124" y="49"/>
                      <a:pt x="1128" y="49"/>
                    </a:cubicBezTo>
                    <a:cubicBezTo>
                      <a:pt x="1130" y="49"/>
                      <a:pt x="1132" y="50"/>
                      <a:pt x="1134" y="51"/>
                    </a:cubicBezTo>
                    <a:cubicBezTo>
                      <a:pt x="1136" y="52"/>
                      <a:pt x="1137" y="53"/>
                      <a:pt x="1138" y="55"/>
                    </a:cubicBezTo>
                    <a:cubicBezTo>
                      <a:pt x="1139" y="57"/>
                      <a:pt x="1139" y="61"/>
                      <a:pt x="1139" y="66"/>
                    </a:cubicBezTo>
                    <a:cubicBezTo>
                      <a:pt x="1153" y="66"/>
                      <a:pt x="1153" y="66"/>
                      <a:pt x="1153" y="66"/>
                    </a:cubicBezTo>
                    <a:cubicBezTo>
                      <a:pt x="1153" y="61"/>
                      <a:pt x="1151" y="57"/>
                      <a:pt x="1149" y="54"/>
                    </a:cubicBezTo>
                    <a:cubicBezTo>
                      <a:pt x="1145" y="47"/>
                      <a:pt x="1138" y="44"/>
                      <a:pt x="1128" y="44"/>
                    </a:cubicBezTo>
                    <a:cubicBezTo>
                      <a:pt x="1122" y="44"/>
                      <a:pt x="1117" y="45"/>
                      <a:pt x="1112" y="48"/>
                    </a:cubicBezTo>
                    <a:cubicBezTo>
                      <a:pt x="1106" y="52"/>
                      <a:pt x="1103" y="58"/>
                      <a:pt x="1103" y="66"/>
                    </a:cubicBezTo>
                    <a:cubicBezTo>
                      <a:pt x="1103" y="72"/>
                      <a:pt x="1105" y="77"/>
                      <a:pt x="1109" y="81"/>
                    </a:cubicBezTo>
                    <a:cubicBezTo>
                      <a:pt x="1111" y="83"/>
                      <a:pt x="1116" y="86"/>
                      <a:pt x="1122" y="88"/>
                    </a:cubicBezTo>
                    <a:cubicBezTo>
                      <a:pt x="1131" y="90"/>
                      <a:pt x="1131" y="90"/>
                      <a:pt x="1131" y="90"/>
                    </a:cubicBezTo>
                    <a:cubicBezTo>
                      <a:pt x="1138" y="92"/>
                      <a:pt x="1141" y="96"/>
                      <a:pt x="1141" y="102"/>
                    </a:cubicBezTo>
                    <a:cubicBezTo>
                      <a:pt x="1141" y="105"/>
                      <a:pt x="1140" y="108"/>
                      <a:pt x="1139" y="110"/>
                    </a:cubicBezTo>
                    <a:cubicBezTo>
                      <a:pt x="1136" y="113"/>
                      <a:pt x="1133" y="115"/>
                      <a:pt x="1128" y="115"/>
                    </a:cubicBezTo>
                    <a:cubicBezTo>
                      <a:pt x="1125" y="115"/>
                      <a:pt x="1123" y="114"/>
                      <a:pt x="1121" y="112"/>
                    </a:cubicBezTo>
                    <a:cubicBezTo>
                      <a:pt x="1119" y="111"/>
                      <a:pt x="1118" y="110"/>
                      <a:pt x="1117" y="108"/>
                    </a:cubicBezTo>
                    <a:cubicBezTo>
                      <a:pt x="1115" y="105"/>
                      <a:pt x="1115" y="101"/>
                      <a:pt x="1115" y="96"/>
                    </a:cubicBezTo>
                    <a:cubicBezTo>
                      <a:pt x="1101" y="96"/>
                      <a:pt x="1101" y="96"/>
                      <a:pt x="1101" y="96"/>
                    </a:cubicBezTo>
                    <a:cubicBezTo>
                      <a:pt x="1101" y="101"/>
                      <a:pt x="1102" y="105"/>
                      <a:pt x="1104" y="108"/>
                    </a:cubicBezTo>
                    <a:moveTo>
                      <a:pt x="1068" y="5"/>
                    </a:moveTo>
                    <a:cubicBezTo>
                      <a:pt x="1066" y="7"/>
                      <a:pt x="1065" y="10"/>
                      <a:pt x="1065" y="13"/>
                    </a:cubicBezTo>
                    <a:cubicBezTo>
                      <a:pt x="1065" y="15"/>
                      <a:pt x="1066" y="18"/>
                      <a:pt x="1068" y="19"/>
                    </a:cubicBezTo>
                    <a:cubicBezTo>
                      <a:pt x="1070" y="22"/>
                      <a:pt x="1072" y="23"/>
                      <a:pt x="1076" y="23"/>
                    </a:cubicBezTo>
                    <a:cubicBezTo>
                      <a:pt x="1080" y="23"/>
                      <a:pt x="1083" y="22"/>
                      <a:pt x="1084" y="20"/>
                    </a:cubicBezTo>
                    <a:cubicBezTo>
                      <a:pt x="1086" y="18"/>
                      <a:pt x="1087" y="16"/>
                      <a:pt x="1087" y="13"/>
                    </a:cubicBezTo>
                    <a:cubicBezTo>
                      <a:pt x="1087" y="10"/>
                      <a:pt x="1087" y="8"/>
                      <a:pt x="1085" y="6"/>
                    </a:cubicBezTo>
                    <a:cubicBezTo>
                      <a:pt x="1083" y="4"/>
                      <a:pt x="1080" y="3"/>
                      <a:pt x="1076" y="3"/>
                    </a:cubicBezTo>
                    <a:cubicBezTo>
                      <a:pt x="1073" y="3"/>
                      <a:pt x="1070" y="4"/>
                      <a:pt x="1068" y="5"/>
                    </a:cubicBezTo>
                    <a:moveTo>
                      <a:pt x="1068" y="118"/>
                    </a:moveTo>
                    <a:cubicBezTo>
                      <a:pt x="1085" y="118"/>
                      <a:pt x="1085" y="118"/>
                      <a:pt x="1085" y="118"/>
                    </a:cubicBezTo>
                    <a:cubicBezTo>
                      <a:pt x="1085" y="46"/>
                      <a:pt x="1085" y="46"/>
                      <a:pt x="1085" y="46"/>
                    </a:cubicBezTo>
                    <a:cubicBezTo>
                      <a:pt x="1068" y="46"/>
                      <a:pt x="1068" y="46"/>
                      <a:pt x="1068" y="46"/>
                    </a:cubicBezTo>
                    <a:lnTo>
                      <a:pt x="1068" y="118"/>
                    </a:lnTo>
                    <a:close/>
                    <a:moveTo>
                      <a:pt x="1000" y="108"/>
                    </a:moveTo>
                    <a:cubicBezTo>
                      <a:pt x="1005" y="116"/>
                      <a:pt x="1013" y="120"/>
                      <a:pt x="1024" y="120"/>
                    </a:cubicBezTo>
                    <a:cubicBezTo>
                      <a:pt x="1031" y="120"/>
                      <a:pt x="1037" y="119"/>
                      <a:pt x="1041" y="116"/>
                    </a:cubicBezTo>
                    <a:cubicBezTo>
                      <a:pt x="1048" y="112"/>
                      <a:pt x="1051" y="105"/>
                      <a:pt x="1051" y="97"/>
                    </a:cubicBezTo>
                    <a:cubicBezTo>
                      <a:pt x="1051" y="92"/>
                      <a:pt x="1050" y="89"/>
                      <a:pt x="1048" y="86"/>
                    </a:cubicBezTo>
                    <a:cubicBezTo>
                      <a:pt x="1045" y="81"/>
                      <a:pt x="1040" y="78"/>
                      <a:pt x="1033" y="76"/>
                    </a:cubicBezTo>
                    <a:cubicBezTo>
                      <a:pt x="1022" y="73"/>
                      <a:pt x="1022" y="73"/>
                      <a:pt x="1022" y="73"/>
                    </a:cubicBezTo>
                    <a:cubicBezTo>
                      <a:pt x="1016" y="71"/>
                      <a:pt x="1013" y="67"/>
                      <a:pt x="1013" y="61"/>
                    </a:cubicBezTo>
                    <a:cubicBezTo>
                      <a:pt x="1013" y="58"/>
                      <a:pt x="1013" y="55"/>
                      <a:pt x="1015" y="53"/>
                    </a:cubicBezTo>
                    <a:cubicBezTo>
                      <a:pt x="1017" y="51"/>
                      <a:pt x="1020" y="49"/>
                      <a:pt x="1024" y="49"/>
                    </a:cubicBezTo>
                    <a:cubicBezTo>
                      <a:pt x="1026" y="49"/>
                      <a:pt x="1029" y="50"/>
                      <a:pt x="1031" y="51"/>
                    </a:cubicBezTo>
                    <a:cubicBezTo>
                      <a:pt x="1032" y="52"/>
                      <a:pt x="1033" y="53"/>
                      <a:pt x="1034" y="55"/>
                    </a:cubicBezTo>
                    <a:cubicBezTo>
                      <a:pt x="1035" y="57"/>
                      <a:pt x="1035" y="61"/>
                      <a:pt x="1035" y="66"/>
                    </a:cubicBezTo>
                    <a:cubicBezTo>
                      <a:pt x="1049" y="66"/>
                      <a:pt x="1049" y="66"/>
                      <a:pt x="1049" y="66"/>
                    </a:cubicBezTo>
                    <a:cubicBezTo>
                      <a:pt x="1049" y="61"/>
                      <a:pt x="1048" y="57"/>
                      <a:pt x="1046" y="54"/>
                    </a:cubicBezTo>
                    <a:cubicBezTo>
                      <a:pt x="1042" y="47"/>
                      <a:pt x="1034" y="44"/>
                      <a:pt x="1024" y="44"/>
                    </a:cubicBezTo>
                    <a:cubicBezTo>
                      <a:pt x="1018" y="44"/>
                      <a:pt x="1013" y="45"/>
                      <a:pt x="1009" y="48"/>
                    </a:cubicBezTo>
                    <a:cubicBezTo>
                      <a:pt x="1002" y="52"/>
                      <a:pt x="999" y="58"/>
                      <a:pt x="999" y="66"/>
                    </a:cubicBezTo>
                    <a:cubicBezTo>
                      <a:pt x="999" y="72"/>
                      <a:pt x="1001" y="77"/>
                      <a:pt x="1005" y="81"/>
                    </a:cubicBezTo>
                    <a:cubicBezTo>
                      <a:pt x="1008" y="83"/>
                      <a:pt x="1012" y="86"/>
                      <a:pt x="1019" y="88"/>
                    </a:cubicBezTo>
                    <a:cubicBezTo>
                      <a:pt x="1027" y="90"/>
                      <a:pt x="1027" y="90"/>
                      <a:pt x="1027" y="90"/>
                    </a:cubicBezTo>
                    <a:cubicBezTo>
                      <a:pt x="1034" y="92"/>
                      <a:pt x="1037" y="96"/>
                      <a:pt x="1037" y="102"/>
                    </a:cubicBezTo>
                    <a:cubicBezTo>
                      <a:pt x="1037" y="105"/>
                      <a:pt x="1036" y="108"/>
                      <a:pt x="1035" y="110"/>
                    </a:cubicBezTo>
                    <a:cubicBezTo>
                      <a:pt x="1033" y="113"/>
                      <a:pt x="1029" y="115"/>
                      <a:pt x="1025" y="115"/>
                    </a:cubicBezTo>
                    <a:cubicBezTo>
                      <a:pt x="1022" y="115"/>
                      <a:pt x="1019" y="114"/>
                      <a:pt x="1017" y="112"/>
                    </a:cubicBezTo>
                    <a:cubicBezTo>
                      <a:pt x="1015" y="111"/>
                      <a:pt x="1014" y="110"/>
                      <a:pt x="1013" y="108"/>
                    </a:cubicBezTo>
                    <a:cubicBezTo>
                      <a:pt x="1012" y="105"/>
                      <a:pt x="1011" y="101"/>
                      <a:pt x="1011" y="96"/>
                    </a:cubicBezTo>
                    <a:cubicBezTo>
                      <a:pt x="997" y="96"/>
                      <a:pt x="997" y="96"/>
                      <a:pt x="997" y="96"/>
                    </a:cubicBezTo>
                    <a:cubicBezTo>
                      <a:pt x="997" y="101"/>
                      <a:pt x="998" y="105"/>
                      <a:pt x="1000" y="108"/>
                    </a:cubicBezTo>
                    <a:moveTo>
                      <a:pt x="964" y="57"/>
                    </a:moveTo>
                    <a:cubicBezTo>
                      <a:pt x="967" y="63"/>
                      <a:pt x="968" y="71"/>
                      <a:pt x="968" y="83"/>
                    </a:cubicBezTo>
                    <a:cubicBezTo>
                      <a:pt x="968" y="98"/>
                      <a:pt x="965" y="108"/>
                      <a:pt x="960" y="112"/>
                    </a:cubicBezTo>
                    <a:cubicBezTo>
                      <a:pt x="957" y="114"/>
                      <a:pt x="955" y="115"/>
                      <a:pt x="952" y="115"/>
                    </a:cubicBezTo>
                    <a:cubicBezTo>
                      <a:pt x="949" y="115"/>
                      <a:pt x="947" y="114"/>
                      <a:pt x="944" y="113"/>
                    </a:cubicBezTo>
                    <a:cubicBezTo>
                      <a:pt x="942" y="111"/>
                      <a:pt x="941" y="109"/>
                      <a:pt x="940" y="107"/>
                    </a:cubicBezTo>
                    <a:cubicBezTo>
                      <a:pt x="937" y="100"/>
                      <a:pt x="936" y="92"/>
                      <a:pt x="936" y="83"/>
                    </a:cubicBezTo>
                    <a:cubicBezTo>
                      <a:pt x="936" y="72"/>
                      <a:pt x="937" y="63"/>
                      <a:pt x="940" y="57"/>
                    </a:cubicBezTo>
                    <a:cubicBezTo>
                      <a:pt x="942" y="51"/>
                      <a:pt x="946" y="49"/>
                      <a:pt x="952" y="49"/>
                    </a:cubicBezTo>
                    <a:cubicBezTo>
                      <a:pt x="958" y="49"/>
                      <a:pt x="962" y="51"/>
                      <a:pt x="964" y="57"/>
                    </a:cubicBezTo>
                    <a:moveTo>
                      <a:pt x="928" y="53"/>
                    </a:moveTo>
                    <a:cubicBezTo>
                      <a:pt x="921" y="59"/>
                      <a:pt x="918" y="69"/>
                      <a:pt x="918" y="82"/>
                    </a:cubicBezTo>
                    <a:cubicBezTo>
                      <a:pt x="918" y="90"/>
                      <a:pt x="919" y="97"/>
                      <a:pt x="923" y="104"/>
                    </a:cubicBezTo>
                    <a:cubicBezTo>
                      <a:pt x="925" y="109"/>
                      <a:pt x="928" y="112"/>
                      <a:pt x="933" y="115"/>
                    </a:cubicBezTo>
                    <a:cubicBezTo>
                      <a:pt x="938" y="119"/>
                      <a:pt x="945" y="120"/>
                      <a:pt x="952" y="120"/>
                    </a:cubicBezTo>
                    <a:cubicBezTo>
                      <a:pt x="959" y="120"/>
                      <a:pt x="965" y="119"/>
                      <a:pt x="971" y="115"/>
                    </a:cubicBezTo>
                    <a:cubicBezTo>
                      <a:pt x="976" y="112"/>
                      <a:pt x="979" y="109"/>
                      <a:pt x="981" y="104"/>
                    </a:cubicBezTo>
                    <a:cubicBezTo>
                      <a:pt x="984" y="97"/>
                      <a:pt x="986" y="90"/>
                      <a:pt x="986" y="83"/>
                    </a:cubicBezTo>
                    <a:cubicBezTo>
                      <a:pt x="986" y="69"/>
                      <a:pt x="983" y="59"/>
                      <a:pt x="976" y="53"/>
                    </a:cubicBezTo>
                    <a:cubicBezTo>
                      <a:pt x="970" y="47"/>
                      <a:pt x="962" y="43"/>
                      <a:pt x="952" y="43"/>
                    </a:cubicBezTo>
                    <a:cubicBezTo>
                      <a:pt x="942" y="43"/>
                      <a:pt x="934" y="46"/>
                      <a:pt x="928" y="53"/>
                    </a:cubicBezTo>
                    <a:moveTo>
                      <a:pt x="842" y="46"/>
                    </a:moveTo>
                    <a:cubicBezTo>
                      <a:pt x="842" y="118"/>
                      <a:pt x="842" y="118"/>
                      <a:pt x="842" y="118"/>
                    </a:cubicBezTo>
                    <a:cubicBezTo>
                      <a:pt x="859" y="118"/>
                      <a:pt x="859" y="118"/>
                      <a:pt x="859" y="118"/>
                    </a:cubicBezTo>
                    <a:cubicBezTo>
                      <a:pt x="859" y="87"/>
                      <a:pt x="859" y="87"/>
                      <a:pt x="859" y="87"/>
                    </a:cubicBezTo>
                    <a:cubicBezTo>
                      <a:pt x="859" y="71"/>
                      <a:pt x="861" y="61"/>
                      <a:pt x="866" y="56"/>
                    </a:cubicBezTo>
                    <a:cubicBezTo>
                      <a:pt x="869" y="53"/>
                      <a:pt x="872" y="51"/>
                      <a:pt x="875" y="51"/>
                    </a:cubicBezTo>
                    <a:cubicBezTo>
                      <a:pt x="879" y="51"/>
                      <a:pt x="882" y="53"/>
                      <a:pt x="884" y="57"/>
                    </a:cubicBezTo>
                    <a:cubicBezTo>
                      <a:pt x="885" y="60"/>
                      <a:pt x="885" y="65"/>
                      <a:pt x="885" y="72"/>
                    </a:cubicBezTo>
                    <a:cubicBezTo>
                      <a:pt x="885" y="118"/>
                      <a:pt x="885" y="118"/>
                      <a:pt x="885" y="118"/>
                    </a:cubicBezTo>
                    <a:cubicBezTo>
                      <a:pt x="902" y="118"/>
                      <a:pt x="902" y="118"/>
                      <a:pt x="902" y="118"/>
                    </a:cubicBezTo>
                    <a:cubicBezTo>
                      <a:pt x="902" y="71"/>
                      <a:pt x="902" y="71"/>
                      <a:pt x="902" y="71"/>
                    </a:cubicBezTo>
                    <a:cubicBezTo>
                      <a:pt x="902" y="64"/>
                      <a:pt x="901" y="58"/>
                      <a:pt x="900" y="55"/>
                    </a:cubicBezTo>
                    <a:cubicBezTo>
                      <a:pt x="896" y="48"/>
                      <a:pt x="890" y="44"/>
                      <a:pt x="881" y="44"/>
                    </a:cubicBezTo>
                    <a:cubicBezTo>
                      <a:pt x="869" y="44"/>
                      <a:pt x="861" y="51"/>
                      <a:pt x="858" y="66"/>
                    </a:cubicBezTo>
                    <a:cubicBezTo>
                      <a:pt x="858" y="46"/>
                      <a:pt x="858" y="46"/>
                      <a:pt x="858" y="46"/>
                    </a:cubicBezTo>
                    <a:lnTo>
                      <a:pt x="842" y="46"/>
                    </a:lnTo>
                    <a:close/>
                    <a:moveTo>
                      <a:pt x="788" y="130"/>
                    </a:moveTo>
                    <a:cubicBezTo>
                      <a:pt x="808" y="131"/>
                      <a:pt x="808" y="131"/>
                      <a:pt x="808" y="131"/>
                    </a:cubicBezTo>
                    <a:cubicBezTo>
                      <a:pt x="814" y="132"/>
                      <a:pt x="818" y="133"/>
                      <a:pt x="820" y="135"/>
                    </a:cubicBezTo>
                    <a:cubicBezTo>
                      <a:pt x="822" y="137"/>
                      <a:pt x="823" y="139"/>
                      <a:pt x="823" y="142"/>
                    </a:cubicBezTo>
                    <a:cubicBezTo>
                      <a:pt x="823" y="145"/>
                      <a:pt x="822" y="147"/>
                      <a:pt x="821" y="150"/>
                    </a:cubicBezTo>
                    <a:cubicBezTo>
                      <a:pt x="819" y="153"/>
                      <a:pt x="816" y="155"/>
                      <a:pt x="814" y="157"/>
                    </a:cubicBezTo>
                    <a:cubicBezTo>
                      <a:pt x="808" y="160"/>
                      <a:pt x="802" y="161"/>
                      <a:pt x="795" y="161"/>
                    </a:cubicBezTo>
                    <a:cubicBezTo>
                      <a:pt x="791" y="161"/>
                      <a:pt x="787" y="161"/>
                      <a:pt x="784" y="160"/>
                    </a:cubicBezTo>
                    <a:cubicBezTo>
                      <a:pt x="779" y="159"/>
                      <a:pt x="776" y="157"/>
                      <a:pt x="774" y="155"/>
                    </a:cubicBezTo>
                    <a:cubicBezTo>
                      <a:pt x="770" y="151"/>
                      <a:pt x="767" y="147"/>
                      <a:pt x="767" y="141"/>
                    </a:cubicBezTo>
                    <a:cubicBezTo>
                      <a:pt x="767" y="136"/>
                      <a:pt x="770" y="131"/>
                      <a:pt x="774" y="127"/>
                    </a:cubicBezTo>
                    <a:cubicBezTo>
                      <a:pt x="777" y="128"/>
                      <a:pt x="782" y="129"/>
                      <a:pt x="788" y="130"/>
                    </a:cubicBezTo>
                    <a:moveTo>
                      <a:pt x="807" y="71"/>
                    </a:moveTo>
                    <a:cubicBezTo>
                      <a:pt x="807" y="87"/>
                      <a:pt x="802" y="94"/>
                      <a:pt x="794" y="94"/>
                    </a:cubicBezTo>
                    <a:cubicBezTo>
                      <a:pt x="790" y="94"/>
                      <a:pt x="787" y="92"/>
                      <a:pt x="785" y="89"/>
                    </a:cubicBezTo>
                    <a:cubicBezTo>
                      <a:pt x="783" y="85"/>
                      <a:pt x="782" y="79"/>
                      <a:pt x="782" y="71"/>
                    </a:cubicBezTo>
                    <a:cubicBezTo>
                      <a:pt x="782" y="63"/>
                      <a:pt x="783" y="57"/>
                      <a:pt x="786" y="54"/>
                    </a:cubicBezTo>
                    <a:cubicBezTo>
                      <a:pt x="788" y="51"/>
                      <a:pt x="791" y="49"/>
                      <a:pt x="794" y="49"/>
                    </a:cubicBezTo>
                    <a:cubicBezTo>
                      <a:pt x="802" y="49"/>
                      <a:pt x="807" y="57"/>
                      <a:pt x="807" y="71"/>
                    </a:cubicBezTo>
                    <a:moveTo>
                      <a:pt x="807" y="46"/>
                    </a:moveTo>
                    <a:cubicBezTo>
                      <a:pt x="802" y="45"/>
                      <a:pt x="798" y="44"/>
                      <a:pt x="794" y="44"/>
                    </a:cubicBezTo>
                    <a:cubicBezTo>
                      <a:pt x="784" y="44"/>
                      <a:pt x="777" y="47"/>
                      <a:pt x="772" y="53"/>
                    </a:cubicBezTo>
                    <a:cubicBezTo>
                      <a:pt x="767" y="59"/>
                      <a:pt x="765" y="65"/>
                      <a:pt x="765" y="72"/>
                    </a:cubicBezTo>
                    <a:cubicBezTo>
                      <a:pt x="765" y="79"/>
                      <a:pt x="767" y="85"/>
                      <a:pt x="771" y="90"/>
                    </a:cubicBezTo>
                    <a:cubicBezTo>
                      <a:pt x="773" y="92"/>
                      <a:pt x="776" y="95"/>
                      <a:pt x="780" y="97"/>
                    </a:cubicBezTo>
                    <a:cubicBezTo>
                      <a:pt x="776" y="98"/>
                      <a:pt x="773" y="100"/>
                      <a:pt x="772" y="102"/>
                    </a:cubicBezTo>
                    <a:cubicBezTo>
                      <a:pt x="769" y="105"/>
                      <a:pt x="768" y="109"/>
                      <a:pt x="768" y="113"/>
                    </a:cubicBezTo>
                    <a:cubicBezTo>
                      <a:pt x="768" y="118"/>
                      <a:pt x="769" y="122"/>
                      <a:pt x="773" y="125"/>
                    </a:cubicBezTo>
                    <a:cubicBezTo>
                      <a:pt x="765" y="130"/>
                      <a:pt x="761" y="136"/>
                      <a:pt x="761" y="144"/>
                    </a:cubicBezTo>
                    <a:cubicBezTo>
                      <a:pt x="761" y="147"/>
                      <a:pt x="762" y="151"/>
                      <a:pt x="763" y="154"/>
                    </a:cubicBezTo>
                    <a:cubicBezTo>
                      <a:pt x="765" y="157"/>
                      <a:pt x="767" y="160"/>
                      <a:pt x="770" y="162"/>
                    </a:cubicBezTo>
                    <a:cubicBezTo>
                      <a:pt x="776" y="165"/>
                      <a:pt x="783" y="167"/>
                      <a:pt x="792" y="167"/>
                    </a:cubicBezTo>
                    <a:cubicBezTo>
                      <a:pt x="806" y="167"/>
                      <a:pt x="817" y="163"/>
                      <a:pt x="823" y="156"/>
                    </a:cubicBezTo>
                    <a:cubicBezTo>
                      <a:pt x="827" y="150"/>
                      <a:pt x="829" y="144"/>
                      <a:pt x="829" y="137"/>
                    </a:cubicBezTo>
                    <a:cubicBezTo>
                      <a:pt x="829" y="130"/>
                      <a:pt x="827" y="124"/>
                      <a:pt x="822" y="121"/>
                    </a:cubicBezTo>
                    <a:cubicBezTo>
                      <a:pt x="818" y="118"/>
                      <a:pt x="812" y="117"/>
                      <a:pt x="805" y="116"/>
                    </a:cubicBezTo>
                    <a:cubicBezTo>
                      <a:pt x="791" y="115"/>
                      <a:pt x="791" y="115"/>
                      <a:pt x="791" y="115"/>
                    </a:cubicBezTo>
                    <a:cubicBezTo>
                      <a:pt x="786" y="115"/>
                      <a:pt x="783" y="114"/>
                      <a:pt x="781" y="113"/>
                    </a:cubicBezTo>
                    <a:cubicBezTo>
                      <a:pt x="780" y="111"/>
                      <a:pt x="779" y="109"/>
                      <a:pt x="779" y="106"/>
                    </a:cubicBezTo>
                    <a:cubicBezTo>
                      <a:pt x="779" y="103"/>
                      <a:pt x="781" y="100"/>
                      <a:pt x="784" y="98"/>
                    </a:cubicBezTo>
                    <a:cubicBezTo>
                      <a:pt x="788" y="99"/>
                      <a:pt x="791" y="99"/>
                      <a:pt x="794" y="99"/>
                    </a:cubicBezTo>
                    <a:cubicBezTo>
                      <a:pt x="803" y="99"/>
                      <a:pt x="810" y="96"/>
                      <a:pt x="816" y="91"/>
                    </a:cubicBezTo>
                    <a:cubicBezTo>
                      <a:pt x="821" y="86"/>
                      <a:pt x="823" y="80"/>
                      <a:pt x="823" y="72"/>
                    </a:cubicBezTo>
                    <a:cubicBezTo>
                      <a:pt x="823" y="64"/>
                      <a:pt x="821" y="58"/>
                      <a:pt x="816" y="53"/>
                    </a:cubicBezTo>
                    <a:cubicBezTo>
                      <a:pt x="831" y="53"/>
                      <a:pt x="831" y="53"/>
                      <a:pt x="831" y="53"/>
                    </a:cubicBezTo>
                    <a:cubicBezTo>
                      <a:pt x="831" y="46"/>
                      <a:pt x="831" y="46"/>
                      <a:pt x="831" y="46"/>
                    </a:cubicBezTo>
                    <a:lnTo>
                      <a:pt x="807" y="46"/>
                    </a:lnTo>
                    <a:close/>
                    <a:moveTo>
                      <a:pt x="731" y="101"/>
                    </a:moveTo>
                    <a:cubicBezTo>
                      <a:pt x="728" y="109"/>
                      <a:pt x="723" y="113"/>
                      <a:pt x="717" y="113"/>
                    </a:cubicBezTo>
                    <a:cubicBezTo>
                      <a:pt x="710" y="113"/>
                      <a:pt x="707" y="108"/>
                      <a:pt x="707" y="98"/>
                    </a:cubicBezTo>
                    <a:cubicBezTo>
                      <a:pt x="707" y="90"/>
                      <a:pt x="709" y="85"/>
                      <a:pt x="714" y="82"/>
                    </a:cubicBezTo>
                    <a:cubicBezTo>
                      <a:pt x="718" y="80"/>
                      <a:pt x="724" y="79"/>
                      <a:pt x="733" y="79"/>
                    </a:cubicBezTo>
                    <a:cubicBezTo>
                      <a:pt x="733" y="90"/>
                      <a:pt x="732" y="97"/>
                      <a:pt x="731" y="101"/>
                    </a:cubicBezTo>
                    <a:moveTo>
                      <a:pt x="732" y="118"/>
                    </a:moveTo>
                    <a:cubicBezTo>
                      <a:pt x="749" y="118"/>
                      <a:pt x="749" y="118"/>
                      <a:pt x="749" y="118"/>
                    </a:cubicBezTo>
                    <a:cubicBezTo>
                      <a:pt x="749" y="72"/>
                      <a:pt x="749" y="72"/>
                      <a:pt x="749" y="72"/>
                    </a:cubicBezTo>
                    <a:cubicBezTo>
                      <a:pt x="749" y="67"/>
                      <a:pt x="748" y="63"/>
                      <a:pt x="748" y="60"/>
                    </a:cubicBezTo>
                    <a:cubicBezTo>
                      <a:pt x="747" y="57"/>
                      <a:pt x="745" y="55"/>
                      <a:pt x="744" y="52"/>
                    </a:cubicBezTo>
                    <a:cubicBezTo>
                      <a:pt x="739" y="47"/>
                      <a:pt x="732" y="44"/>
                      <a:pt x="721" y="44"/>
                    </a:cubicBezTo>
                    <a:cubicBezTo>
                      <a:pt x="713" y="44"/>
                      <a:pt x="707" y="45"/>
                      <a:pt x="702" y="48"/>
                    </a:cubicBezTo>
                    <a:cubicBezTo>
                      <a:pt x="699" y="50"/>
                      <a:pt x="697" y="52"/>
                      <a:pt x="695" y="55"/>
                    </a:cubicBezTo>
                    <a:cubicBezTo>
                      <a:pt x="694" y="58"/>
                      <a:pt x="693" y="62"/>
                      <a:pt x="693" y="66"/>
                    </a:cubicBezTo>
                    <a:cubicBezTo>
                      <a:pt x="708" y="66"/>
                      <a:pt x="708" y="66"/>
                      <a:pt x="708" y="66"/>
                    </a:cubicBezTo>
                    <a:cubicBezTo>
                      <a:pt x="708" y="64"/>
                      <a:pt x="708" y="64"/>
                      <a:pt x="708" y="64"/>
                    </a:cubicBezTo>
                    <a:cubicBezTo>
                      <a:pt x="708" y="54"/>
                      <a:pt x="712" y="49"/>
                      <a:pt x="720" y="49"/>
                    </a:cubicBezTo>
                    <a:cubicBezTo>
                      <a:pt x="725" y="49"/>
                      <a:pt x="729" y="51"/>
                      <a:pt x="730" y="54"/>
                    </a:cubicBezTo>
                    <a:cubicBezTo>
                      <a:pt x="732" y="57"/>
                      <a:pt x="733" y="62"/>
                      <a:pt x="733" y="67"/>
                    </a:cubicBezTo>
                    <a:cubicBezTo>
                      <a:pt x="733" y="75"/>
                      <a:pt x="733" y="75"/>
                      <a:pt x="733" y="75"/>
                    </a:cubicBezTo>
                    <a:cubicBezTo>
                      <a:pt x="716" y="75"/>
                      <a:pt x="706" y="77"/>
                      <a:pt x="700" y="80"/>
                    </a:cubicBezTo>
                    <a:cubicBezTo>
                      <a:pt x="693" y="84"/>
                      <a:pt x="689" y="90"/>
                      <a:pt x="689" y="99"/>
                    </a:cubicBezTo>
                    <a:cubicBezTo>
                      <a:pt x="689" y="104"/>
                      <a:pt x="691" y="109"/>
                      <a:pt x="693" y="113"/>
                    </a:cubicBezTo>
                    <a:cubicBezTo>
                      <a:pt x="697" y="118"/>
                      <a:pt x="703" y="120"/>
                      <a:pt x="711" y="120"/>
                    </a:cubicBezTo>
                    <a:cubicBezTo>
                      <a:pt x="717" y="120"/>
                      <a:pt x="723" y="118"/>
                      <a:pt x="727" y="113"/>
                    </a:cubicBezTo>
                    <a:cubicBezTo>
                      <a:pt x="729" y="111"/>
                      <a:pt x="731" y="107"/>
                      <a:pt x="732" y="103"/>
                    </a:cubicBezTo>
                    <a:lnTo>
                      <a:pt x="732" y="118"/>
                    </a:lnTo>
                    <a:close/>
                    <a:moveTo>
                      <a:pt x="656" y="5"/>
                    </a:moveTo>
                    <a:cubicBezTo>
                      <a:pt x="654" y="7"/>
                      <a:pt x="653" y="10"/>
                      <a:pt x="653" y="13"/>
                    </a:cubicBezTo>
                    <a:cubicBezTo>
                      <a:pt x="653" y="15"/>
                      <a:pt x="654" y="18"/>
                      <a:pt x="656" y="19"/>
                    </a:cubicBezTo>
                    <a:cubicBezTo>
                      <a:pt x="658" y="22"/>
                      <a:pt x="661" y="23"/>
                      <a:pt x="664" y="23"/>
                    </a:cubicBezTo>
                    <a:cubicBezTo>
                      <a:pt x="668" y="23"/>
                      <a:pt x="671" y="22"/>
                      <a:pt x="672" y="20"/>
                    </a:cubicBezTo>
                    <a:cubicBezTo>
                      <a:pt x="674" y="18"/>
                      <a:pt x="675" y="16"/>
                      <a:pt x="675" y="13"/>
                    </a:cubicBezTo>
                    <a:cubicBezTo>
                      <a:pt x="675" y="10"/>
                      <a:pt x="675" y="8"/>
                      <a:pt x="673" y="6"/>
                    </a:cubicBezTo>
                    <a:cubicBezTo>
                      <a:pt x="671" y="4"/>
                      <a:pt x="668" y="3"/>
                      <a:pt x="664" y="3"/>
                    </a:cubicBezTo>
                    <a:cubicBezTo>
                      <a:pt x="661" y="3"/>
                      <a:pt x="658" y="4"/>
                      <a:pt x="656" y="5"/>
                    </a:cubicBezTo>
                    <a:moveTo>
                      <a:pt x="656" y="118"/>
                    </a:moveTo>
                    <a:cubicBezTo>
                      <a:pt x="673" y="118"/>
                      <a:pt x="673" y="118"/>
                      <a:pt x="673" y="118"/>
                    </a:cubicBezTo>
                    <a:cubicBezTo>
                      <a:pt x="673" y="46"/>
                      <a:pt x="673" y="46"/>
                      <a:pt x="673" y="46"/>
                    </a:cubicBezTo>
                    <a:cubicBezTo>
                      <a:pt x="656" y="46"/>
                      <a:pt x="656" y="46"/>
                      <a:pt x="656" y="46"/>
                    </a:cubicBezTo>
                    <a:lnTo>
                      <a:pt x="656" y="118"/>
                    </a:lnTo>
                    <a:close/>
                    <a:moveTo>
                      <a:pt x="607" y="53"/>
                    </a:moveTo>
                    <a:cubicBezTo>
                      <a:pt x="610" y="55"/>
                      <a:pt x="612" y="57"/>
                      <a:pt x="613" y="60"/>
                    </a:cubicBezTo>
                    <a:cubicBezTo>
                      <a:pt x="616" y="66"/>
                      <a:pt x="617" y="73"/>
                      <a:pt x="617" y="82"/>
                    </a:cubicBezTo>
                    <a:cubicBezTo>
                      <a:pt x="617" y="87"/>
                      <a:pt x="617" y="91"/>
                      <a:pt x="616" y="95"/>
                    </a:cubicBezTo>
                    <a:cubicBezTo>
                      <a:pt x="615" y="100"/>
                      <a:pt x="613" y="104"/>
                      <a:pt x="611" y="107"/>
                    </a:cubicBezTo>
                    <a:cubicBezTo>
                      <a:pt x="608" y="111"/>
                      <a:pt x="604" y="114"/>
                      <a:pt x="600" y="114"/>
                    </a:cubicBezTo>
                    <a:cubicBezTo>
                      <a:pt x="598" y="114"/>
                      <a:pt x="596" y="113"/>
                      <a:pt x="595" y="112"/>
                    </a:cubicBezTo>
                    <a:cubicBezTo>
                      <a:pt x="593" y="111"/>
                      <a:pt x="591" y="109"/>
                      <a:pt x="590" y="107"/>
                    </a:cubicBezTo>
                    <a:cubicBezTo>
                      <a:pt x="587" y="102"/>
                      <a:pt x="586" y="93"/>
                      <a:pt x="586" y="80"/>
                    </a:cubicBezTo>
                    <a:cubicBezTo>
                      <a:pt x="586" y="75"/>
                      <a:pt x="586" y="71"/>
                      <a:pt x="587" y="66"/>
                    </a:cubicBezTo>
                    <a:cubicBezTo>
                      <a:pt x="588" y="61"/>
                      <a:pt x="589" y="57"/>
                      <a:pt x="591" y="55"/>
                    </a:cubicBezTo>
                    <a:cubicBezTo>
                      <a:pt x="594" y="52"/>
                      <a:pt x="597" y="50"/>
                      <a:pt x="600" y="50"/>
                    </a:cubicBezTo>
                    <a:cubicBezTo>
                      <a:pt x="603" y="50"/>
                      <a:pt x="605" y="51"/>
                      <a:pt x="607" y="53"/>
                    </a:cubicBezTo>
                    <a:moveTo>
                      <a:pt x="634" y="0"/>
                    </a:moveTo>
                    <a:cubicBezTo>
                      <a:pt x="617" y="0"/>
                      <a:pt x="617" y="0"/>
                      <a:pt x="617" y="0"/>
                    </a:cubicBezTo>
                    <a:cubicBezTo>
                      <a:pt x="617" y="61"/>
                      <a:pt x="617" y="61"/>
                      <a:pt x="617" y="61"/>
                    </a:cubicBezTo>
                    <a:cubicBezTo>
                      <a:pt x="613" y="50"/>
                      <a:pt x="606" y="44"/>
                      <a:pt x="596" y="44"/>
                    </a:cubicBezTo>
                    <a:cubicBezTo>
                      <a:pt x="591" y="44"/>
                      <a:pt x="586" y="45"/>
                      <a:pt x="582" y="48"/>
                    </a:cubicBezTo>
                    <a:cubicBezTo>
                      <a:pt x="578" y="51"/>
                      <a:pt x="574" y="54"/>
                      <a:pt x="573" y="58"/>
                    </a:cubicBezTo>
                    <a:cubicBezTo>
                      <a:pt x="570" y="65"/>
                      <a:pt x="568" y="73"/>
                      <a:pt x="568" y="82"/>
                    </a:cubicBezTo>
                    <a:cubicBezTo>
                      <a:pt x="568" y="87"/>
                      <a:pt x="569" y="91"/>
                      <a:pt x="570" y="96"/>
                    </a:cubicBezTo>
                    <a:cubicBezTo>
                      <a:pt x="571" y="102"/>
                      <a:pt x="573" y="107"/>
                      <a:pt x="576" y="110"/>
                    </a:cubicBezTo>
                    <a:cubicBezTo>
                      <a:pt x="581" y="117"/>
                      <a:pt x="588" y="120"/>
                      <a:pt x="596" y="120"/>
                    </a:cubicBezTo>
                    <a:cubicBezTo>
                      <a:pt x="602" y="120"/>
                      <a:pt x="607" y="118"/>
                      <a:pt x="612" y="113"/>
                    </a:cubicBezTo>
                    <a:cubicBezTo>
                      <a:pt x="614" y="110"/>
                      <a:pt x="616" y="106"/>
                      <a:pt x="618" y="101"/>
                    </a:cubicBezTo>
                    <a:cubicBezTo>
                      <a:pt x="618" y="118"/>
                      <a:pt x="618" y="118"/>
                      <a:pt x="618" y="118"/>
                    </a:cubicBezTo>
                    <a:cubicBezTo>
                      <a:pt x="634" y="118"/>
                      <a:pt x="634" y="118"/>
                      <a:pt x="634" y="118"/>
                    </a:cubicBezTo>
                    <a:lnTo>
                      <a:pt x="634" y="0"/>
                    </a:lnTo>
                    <a:close/>
                    <a:moveTo>
                      <a:pt x="466" y="77"/>
                    </a:moveTo>
                    <a:cubicBezTo>
                      <a:pt x="466" y="72"/>
                      <a:pt x="467" y="67"/>
                      <a:pt x="468" y="63"/>
                    </a:cubicBezTo>
                    <a:cubicBezTo>
                      <a:pt x="471" y="54"/>
                      <a:pt x="476" y="49"/>
                      <a:pt x="483" y="49"/>
                    </a:cubicBezTo>
                    <a:cubicBezTo>
                      <a:pt x="488" y="49"/>
                      <a:pt x="492" y="51"/>
                      <a:pt x="494" y="56"/>
                    </a:cubicBezTo>
                    <a:cubicBezTo>
                      <a:pt x="497" y="62"/>
                      <a:pt x="498" y="69"/>
                      <a:pt x="498" y="77"/>
                    </a:cubicBezTo>
                    <a:lnTo>
                      <a:pt x="466" y="77"/>
                    </a:lnTo>
                    <a:close/>
                    <a:moveTo>
                      <a:pt x="505" y="52"/>
                    </a:moveTo>
                    <a:cubicBezTo>
                      <a:pt x="499" y="47"/>
                      <a:pt x="492" y="44"/>
                      <a:pt x="483" y="44"/>
                    </a:cubicBezTo>
                    <a:cubicBezTo>
                      <a:pt x="476" y="44"/>
                      <a:pt x="470" y="46"/>
                      <a:pt x="465" y="49"/>
                    </a:cubicBezTo>
                    <a:cubicBezTo>
                      <a:pt x="460" y="52"/>
                      <a:pt x="457" y="56"/>
                      <a:pt x="455" y="60"/>
                    </a:cubicBezTo>
                    <a:cubicBezTo>
                      <a:pt x="452" y="66"/>
                      <a:pt x="450" y="73"/>
                      <a:pt x="450" y="81"/>
                    </a:cubicBezTo>
                    <a:cubicBezTo>
                      <a:pt x="450" y="86"/>
                      <a:pt x="451" y="91"/>
                      <a:pt x="452" y="95"/>
                    </a:cubicBezTo>
                    <a:cubicBezTo>
                      <a:pt x="454" y="101"/>
                      <a:pt x="456" y="105"/>
                      <a:pt x="459" y="109"/>
                    </a:cubicBezTo>
                    <a:cubicBezTo>
                      <a:pt x="465" y="116"/>
                      <a:pt x="473" y="120"/>
                      <a:pt x="484" y="120"/>
                    </a:cubicBezTo>
                    <a:cubicBezTo>
                      <a:pt x="500" y="120"/>
                      <a:pt x="509" y="112"/>
                      <a:pt x="513" y="97"/>
                    </a:cubicBezTo>
                    <a:cubicBezTo>
                      <a:pt x="506" y="97"/>
                      <a:pt x="506" y="97"/>
                      <a:pt x="506" y="97"/>
                    </a:cubicBezTo>
                    <a:cubicBezTo>
                      <a:pt x="505" y="101"/>
                      <a:pt x="503" y="104"/>
                      <a:pt x="501" y="107"/>
                    </a:cubicBezTo>
                    <a:cubicBezTo>
                      <a:pt x="497" y="112"/>
                      <a:pt x="492" y="114"/>
                      <a:pt x="486" y="114"/>
                    </a:cubicBezTo>
                    <a:cubicBezTo>
                      <a:pt x="473" y="114"/>
                      <a:pt x="467" y="104"/>
                      <a:pt x="466" y="83"/>
                    </a:cubicBezTo>
                    <a:cubicBezTo>
                      <a:pt x="514" y="83"/>
                      <a:pt x="514" y="83"/>
                      <a:pt x="514" y="83"/>
                    </a:cubicBezTo>
                    <a:cubicBezTo>
                      <a:pt x="514" y="68"/>
                      <a:pt x="511" y="58"/>
                      <a:pt x="505" y="52"/>
                    </a:cubicBezTo>
                    <a:moveTo>
                      <a:pt x="388" y="108"/>
                    </a:moveTo>
                    <a:cubicBezTo>
                      <a:pt x="392" y="116"/>
                      <a:pt x="400" y="120"/>
                      <a:pt x="412" y="120"/>
                    </a:cubicBezTo>
                    <a:cubicBezTo>
                      <a:pt x="419" y="120"/>
                      <a:pt x="424" y="119"/>
                      <a:pt x="428" y="116"/>
                    </a:cubicBezTo>
                    <a:cubicBezTo>
                      <a:pt x="435" y="112"/>
                      <a:pt x="438" y="105"/>
                      <a:pt x="438" y="97"/>
                    </a:cubicBezTo>
                    <a:cubicBezTo>
                      <a:pt x="438" y="92"/>
                      <a:pt x="437" y="89"/>
                      <a:pt x="436" y="86"/>
                    </a:cubicBezTo>
                    <a:cubicBezTo>
                      <a:pt x="433" y="81"/>
                      <a:pt x="428" y="78"/>
                      <a:pt x="420" y="76"/>
                    </a:cubicBezTo>
                    <a:cubicBezTo>
                      <a:pt x="410" y="73"/>
                      <a:pt x="410" y="73"/>
                      <a:pt x="410" y="73"/>
                    </a:cubicBezTo>
                    <a:cubicBezTo>
                      <a:pt x="403" y="71"/>
                      <a:pt x="400" y="67"/>
                      <a:pt x="400" y="61"/>
                    </a:cubicBezTo>
                    <a:cubicBezTo>
                      <a:pt x="400" y="58"/>
                      <a:pt x="401" y="55"/>
                      <a:pt x="403" y="53"/>
                    </a:cubicBezTo>
                    <a:cubicBezTo>
                      <a:pt x="405" y="51"/>
                      <a:pt x="408" y="49"/>
                      <a:pt x="412" y="49"/>
                    </a:cubicBezTo>
                    <a:cubicBezTo>
                      <a:pt x="414" y="49"/>
                      <a:pt x="416" y="50"/>
                      <a:pt x="418" y="51"/>
                    </a:cubicBezTo>
                    <a:cubicBezTo>
                      <a:pt x="420" y="52"/>
                      <a:pt x="421" y="53"/>
                      <a:pt x="421" y="55"/>
                    </a:cubicBezTo>
                    <a:cubicBezTo>
                      <a:pt x="422" y="57"/>
                      <a:pt x="423" y="61"/>
                      <a:pt x="423" y="66"/>
                    </a:cubicBezTo>
                    <a:cubicBezTo>
                      <a:pt x="437" y="66"/>
                      <a:pt x="437" y="66"/>
                      <a:pt x="437" y="66"/>
                    </a:cubicBezTo>
                    <a:cubicBezTo>
                      <a:pt x="436" y="61"/>
                      <a:pt x="435" y="57"/>
                      <a:pt x="433" y="54"/>
                    </a:cubicBezTo>
                    <a:cubicBezTo>
                      <a:pt x="429" y="47"/>
                      <a:pt x="422" y="44"/>
                      <a:pt x="412" y="44"/>
                    </a:cubicBezTo>
                    <a:cubicBezTo>
                      <a:pt x="406" y="44"/>
                      <a:pt x="401" y="45"/>
                      <a:pt x="396" y="48"/>
                    </a:cubicBezTo>
                    <a:cubicBezTo>
                      <a:pt x="390" y="52"/>
                      <a:pt x="386" y="58"/>
                      <a:pt x="386" y="66"/>
                    </a:cubicBezTo>
                    <a:cubicBezTo>
                      <a:pt x="386" y="72"/>
                      <a:pt x="388" y="77"/>
                      <a:pt x="392" y="81"/>
                    </a:cubicBezTo>
                    <a:cubicBezTo>
                      <a:pt x="395" y="83"/>
                      <a:pt x="400" y="86"/>
                      <a:pt x="406" y="88"/>
                    </a:cubicBezTo>
                    <a:cubicBezTo>
                      <a:pt x="414" y="90"/>
                      <a:pt x="414" y="90"/>
                      <a:pt x="414" y="90"/>
                    </a:cubicBezTo>
                    <a:cubicBezTo>
                      <a:pt x="421" y="92"/>
                      <a:pt x="425" y="96"/>
                      <a:pt x="425" y="102"/>
                    </a:cubicBezTo>
                    <a:cubicBezTo>
                      <a:pt x="425" y="105"/>
                      <a:pt x="424" y="108"/>
                      <a:pt x="422" y="110"/>
                    </a:cubicBezTo>
                    <a:cubicBezTo>
                      <a:pt x="420" y="113"/>
                      <a:pt x="417" y="115"/>
                      <a:pt x="412" y="115"/>
                    </a:cubicBezTo>
                    <a:cubicBezTo>
                      <a:pt x="409" y="115"/>
                      <a:pt x="407" y="114"/>
                      <a:pt x="404" y="112"/>
                    </a:cubicBezTo>
                    <a:cubicBezTo>
                      <a:pt x="403" y="111"/>
                      <a:pt x="401" y="110"/>
                      <a:pt x="401" y="108"/>
                    </a:cubicBezTo>
                    <a:cubicBezTo>
                      <a:pt x="399" y="105"/>
                      <a:pt x="399" y="101"/>
                      <a:pt x="399" y="96"/>
                    </a:cubicBezTo>
                    <a:cubicBezTo>
                      <a:pt x="384" y="96"/>
                      <a:pt x="384" y="96"/>
                      <a:pt x="384" y="96"/>
                    </a:cubicBezTo>
                    <a:cubicBezTo>
                      <a:pt x="385" y="101"/>
                      <a:pt x="386" y="105"/>
                      <a:pt x="388" y="108"/>
                    </a:cubicBezTo>
                    <a:moveTo>
                      <a:pt x="352" y="46"/>
                    </a:moveTo>
                    <a:cubicBezTo>
                      <a:pt x="352" y="76"/>
                      <a:pt x="352" y="76"/>
                      <a:pt x="352" y="76"/>
                    </a:cubicBezTo>
                    <a:cubicBezTo>
                      <a:pt x="352" y="93"/>
                      <a:pt x="350" y="103"/>
                      <a:pt x="345" y="108"/>
                    </a:cubicBezTo>
                    <a:cubicBezTo>
                      <a:pt x="342" y="111"/>
                      <a:pt x="339" y="113"/>
                      <a:pt x="336" y="113"/>
                    </a:cubicBezTo>
                    <a:cubicBezTo>
                      <a:pt x="332" y="113"/>
                      <a:pt x="329" y="111"/>
                      <a:pt x="327" y="107"/>
                    </a:cubicBezTo>
                    <a:cubicBezTo>
                      <a:pt x="326" y="104"/>
                      <a:pt x="326" y="99"/>
                      <a:pt x="326" y="92"/>
                    </a:cubicBezTo>
                    <a:cubicBezTo>
                      <a:pt x="326" y="46"/>
                      <a:pt x="326" y="46"/>
                      <a:pt x="326" y="46"/>
                    </a:cubicBezTo>
                    <a:cubicBezTo>
                      <a:pt x="309" y="46"/>
                      <a:pt x="309" y="46"/>
                      <a:pt x="309" y="46"/>
                    </a:cubicBezTo>
                    <a:cubicBezTo>
                      <a:pt x="309" y="92"/>
                      <a:pt x="309" y="92"/>
                      <a:pt x="309" y="92"/>
                    </a:cubicBezTo>
                    <a:cubicBezTo>
                      <a:pt x="309" y="100"/>
                      <a:pt x="309" y="105"/>
                      <a:pt x="311" y="109"/>
                    </a:cubicBezTo>
                    <a:cubicBezTo>
                      <a:pt x="315" y="116"/>
                      <a:pt x="321" y="120"/>
                      <a:pt x="330" y="120"/>
                    </a:cubicBezTo>
                    <a:cubicBezTo>
                      <a:pt x="342" y="120"/>
                      <a:pt x="350" y="113"/>
                      <a:pt x="353" y="98"/>
                    </a:cubicBezTo>
                    <a:cubicBezTo>
                      <a:pt x="353" y="118"/>
                      <a:pt x="353" y="118"/>
                      <a:pt x="353" y="118"/>
                    </a:cubicBezTo>
                    <a:cubicBezTo>
                      <a:pt x="369" y="118"/>
                      <a:pt x="369" y="118"/>
                      <a:pt x="369" y="118"/>
                    </a:cubicBezTo>
                    <a:cubicBezTo>
                      <a:pt x="369" y="46"/>
                      <a:pt x="369" y="46"/>
                      <a:pt x="369" y="46"/>
                    </a:cubicBezTo>
                    <a:lnTo>
                      <a:pt x="352" y="46"/>
                    </a:lnTo>
                    <a:close/>
                    <a:moveTo>
                      <a:pt x="272" y="101"/>
                    </a:moveTo>
                    <a:cubicBezTo>
                      <a:pt x="269" y="109"/>
                      <a:pt x="265" y="113"/>
                      <a:pt x="258" y="113"/>
                    </a:cubicBezTo>
                    <a:cubicBezTo>
                      <a:pt x="251" y="113"/>
                      <a:pt x="248" y="108"/>
                      <a:pt x="248" y="98"/>
                    </a:cubicBezTo>
                    <a:cubicBezTo>
                      <a:pt x="248" y="90"/>
                      <a:pt x="251" y="85"/>
                      <a:pt x="256" y="82"/>
                    </a:cubicBezTo>
                    <a:cubicBezTo>
                      <a:pt x="259" y="80"/>
                      <a:pt x="265" y="79"/>
                      <a:pt x="274" y="79"/>
                    </a:cubicBezTo>
                    <a:cubicBezTo>
                      <a:pt x="274" y="90"/>
                      <a:pt x="273" y="97"/>
                      <a:pt x="272" y="101"/>
                    </a:cubicBezTo>
                    <a:moveTo>
                      <a:pt x="274" y="118"/>
                    </a:moveTo>
                    <a:cubicBezTo>
                      <a:pt x="290" y="118"/>
                      <a:pt x="290" y="118"/>
                      <a:pt x="290" y="118"/>
                    </a:cubicBezTo>
                    <a:cubicBezTo>
                      <a:pt x="290" y="72"/>
                      <a:pt x="290" y="72"/>
                      <a:pt x="290" y="72"/>
                    </a:cubicBezTo>
                    <a:cubicBezTo>
                      <a:pt x="290" y="67"/>
                      <a:pt x="290" y="63"/>
                      <a:pt x="289" y="60"/>
                    </a:cubicBezTo>
                    <a:cubicBezTo>
                      <a:pt x="288" y="57"/>
                      <a:pt x="287" y="55"/>
                      <a:pt x="285" y="52"/>
                    </a:cubicBezTo>
                    <a:cubicBezTo>
                      <a:pt x="280" y="47"/>
                      <a:pt x="273" y="44"/>
                      <a:pt x="263" y="44"/>
                    </a:cubicBezTo>
                    <a:cubicBezTo>
                      <a:pt x="255" y="44"/>
                      <a:pt x="248" y="45"/>
                      <a:pt x="243" y="48"/>
                    </a:cubicBezTo>
                    <a:cubicBezTo>
                      <a:pt x="241" y="50"/>
                      <a:pt x="239" y="52"/>
                      <a:pt x="237" y="55"/>
                    </a:cubicBezTo>
                    <a:cubicBezTo>
                      <a:pt x="235" y="58"/>
                      <a:pt x="234" y="62"/>
                      <a:pt x="234" y="66"/>
                    </a:cubicBezTo>
                    <a:cubicBezTo>
                      <a:pt x="249" y="66"/>
                      <a:pt x="249" y="66"/>
                      <a:pt x="249" y="66"/>
                    </a:cubicBezTo>
                    <a:cubicBezTo>
                      <a:pt x="249" y="64"/>
                      <a:pt x="249" y="64"/>
                      <a:pt x="249" y="64"/>
                    </a:cubicBezTo>
                    <a:cubicBezTo>
                      <a:pt x="249" y="54"/>
                      <a:pt x="253" y="49"/>
                      <a:pt x="262" y="49"/>
                    </a:cubicBezTo>
                    <a:cubicBezTo>
                      <a:pt x="267" y="49"/>
                      <a:pt x="270" y="51"/>
                      <a:pt x="272" y="54"/>
                    </a:cubicBezTo>
                    <a:cubicBezTo>
                      <a:pt x="273" y="57"/>
                      <a:pt x="274" y="62"/>
                      <a:pt x="274" y="67"/>
                    </a:cubicBezTo>
                    <a:cubicBezTo>
                      <a:pt x="274" y="75"/>
                      <a:pt x="274" y="75"/>
                      <a:pt x="274" y="75"/>
                    </a:cubicBezTo>
                    <a:cubicBezTo>
                      <a:pt x="258" y="75"/>
                      <a:pt x="247" y="77"/>
                      <a:pt x="242" y="80"/>
                    </a:cubicBezTo>
                    <a:cubicBezTo>
                      <a:pt x="234" y="84"/>
                      <a:pt x="231" y="90"/>
                      <a:pt x="231" y="99"/>
                    </a:cubicBezTo>
                    <a:cubicBezTo>
                      <a:pt x="231" y="104"/>
                      <a:pt x="232" y="109"/>
                      <a:pt x="235" y="113"/>
                    </a:cubicBezTo>
                    <a:cubicBezTo>
                      <a:pt x="239" y="118"/>
                      <a:pt x="244" y="120"/>
                      <a:pt x="252" y="120"/>
                    </a:cubicBezTo>
                    <a:cubicBezTo>
                      <a:pt x="259" y="120"/>
                      <a:pt x="264" y="118"/>
                      <a:pt x="268" y="113"/>
                    </a:cubicBezTo>
                    <a:cubicBezTo>
                      <a:pt x="270" y="111"/>
                      <a:pt x="272" y="107"/>
                      <a:pt x="274" y="103"/>
                    </a:cubicBezTo>
                    <a:lnTo>
                      <a:pt x="274" y="118"/>
                    </a:lnTo>
                    <a:close/>
                    <a:moveTo>
                      <a:pt x="210" y="106"/>
                    </a:moveTo>
                    <a:cubicBezTo>
                      <a:pt x="207" y="111"/>
                      <a:pt x="202" y="114"/>
                      <a:pt x="196" y="114"/>
                    </a:cubicBezTo>
                    <a:cubicBezTo>
                      <a:pt x="190" y="114"/>
                      <a:pt x="185" y="111"/>
                      <a:pt x="182" y="105"/>
                    </a:cubicBezTo>
                    <a:cubicBezTo>
                      <a:pt x="180" y="100"/>
                      <a:pt x="179" y="92"/>
                      <a:pt x="179" y="82"/>
                    </a:cubicBezTo>
                    <a:cubicBezTo>
                      <a:pt x="179" y="60"/>
                      <a:pt x="184" y="49"/>
                      <a:pt x="194" y="49"/>
                    </a:cubicBezTo>
                    <a:cubicBezTo>
                      <a:pt x="202" y="49"/>
                      <a:pt x="206" y="56"/>
                      <a:pt x="206" y="71"/>
                    </a:cubicBezTo>
                    <a:cubicBezTo>
                      <a:pt x="221" y="71"/>
                      <a:pt x="221" y="71"/>
                      <a:pt x="221" y="71"/>
                    </a:cubicBezTo>
                    <a:cubicBezTo>
                      <a:pt x="221" y="66"/>
                      <a:pt x="220" y="61"/>
                      <a:pt x="218" y="57"/>
                    </a:cubicBezTo>
                    <a:cubicBezTo>
                      <a:pt x="213" y="48"/>
                      <a:pt x="205" y="44"/>
                      <a:pt x="194" y="44"/>
                    </a:cubicBezTo>
                    <a:cubicBezTo>
                      <a:pt x="183" y="44"/>
                      <a:pt x="175" y="48"/>
                      <a:pt x="168" y="56"/>
                    </a:cubicBezTo>
                    <a:cubicBezTo>
                      <a:pt x="163" y="62"/>
                      <a:pt x="160" y="71"/>
                      <a:pt x="160" y="82"/>
                    </a:cubicBezTo>
                    <a:cubicBezTo>
                      <a:pt x="160" y="94"/>
                      <a:pt x="163" y="103"/>
                      <a:pt x="169" y="110"/>
                    </a:cubicBezTo>
                    <a:cubicBezTo>
                      <a:pt x="175" y="116"/>
                      <a:pt x="183" y="120"/>
                      <a:pt x="193" y="120"/>
                    </a:cubicBezTo>
                    <a:cubicBezTo>
                      <a:pt x="199" y="120"/>
                      <a:pt x="204" y="119"/>
                      <a:pt x="209" y="116"/>
                    </a:cubicBezTo>
                    <a:cubicBezTo>
                      <a:pt x="212" y="114"/>
                      <a:pt x="214" y="112"/>
                      <a:pt x="216" y="109"/>
                    </a:cubicBezTo>
                    <a:cubicBezTo>
                      <a:pt x="218" y="106"/>
                      <a:pt x="220" y="101"/>
                      <a:pt x="220" y="96"/>
                    </a:cubicBezTo>
                    <a:cubicBezTo>
                      <a:pt x="214" y="96"/>
                      <a:pt x="214" y="96"/>
                      <a:pt x="214" y="96"/>
                    </a:cubicBezTo>
                    <a:cubicBezTo>
                      <a:pt x="213" y="100"/>
                      <a:pt x="212" y="103"/>
                      <a:pt x="210" y="106"/>
                    </a:cubicBezTo>
                    <a:moveTo>
                      <a:pt x="101" y="77"/>
                    </a:moveTo>
                    <a:cubicBezTo>
                      <a:pt x="101" y="72"/>
                      <a:pt x="101" y="67"/>
                      <a:pt x="103" y="63"/>
                    </a:cubicBezTo>
                    <a:cubicBezTo>
                      <a:pt x="105" y="54"/>
                      <a:pt x="110" y="49"/>
                      <a:pt x="117" y="49"/>
                    </a:cubicBezTo>
                    <a:cubicBezTo>
                      <a:pt x="122" y="49"/>
                      <a:pt x="126" y="51"/>
                      <a:pt x="128" y="56"/>
                    </a:cubicBezTo>
                    <a:cubicBezTo>
                      <a:pt x="131" y="62"/>
                      <a:pt x="133" y="69"/>
                      <a:pt x="133" y="77"/>
                    </a:cubicBezTo>
                    <a:lnTo>
                      <a:pt x="101" y="77"/>
                    </a:lnTo>
                    <a:close/>
                    <a:moveTo>
                      <a:pt x="139" y="52"/>
                    </a:moveTo>
                    <a:cubicBezTo>
                      <a:pt x="133" y="47"/>
                      <a:pt x="126" y="44"/>
                      <a:pt x="117" y="44"/>
                    </a:cubicBezTo>
                    <a:cubicBezTo>
                      <a:pt x="110" y="44"/>
                      <a:pt x="104" y="46"/>
                      <a:pt x="99" y="49"/>
                    </a:cubicBezTo>
                    <a:cubicBezTo>
                      <a:pt x="95" y="52"/>
                      <a:pt x="92" y="56"/>
                      <a:pt x="89" y="60"/>
                    </a:cubicBezTo>
                    <a:cubicBezTo>
                      <a:pt x="86" y="66"/>
                      <a:pt x="85" y="73"/>
                      <a:pt x="85" y="81"/>
                    </a:cubicBezTo>
                    <a:cubicBezTo>
                      <a:pt x="85" y="86"/>
                      <a:pt x="85" y="91"/>
                      <a:pt x="86" y="95"/>
                    </a:cubicBezTo>
                    <a:cubicBezTo>
                      <a:pt x="88" y="101"/>
                      <a:pt x="90" y="105"/>
                      <a:pt x="93" y="109"/>
                    </a:cubicBezTo>
                    <a:cubicBezTo>
                      <a:pt x="99" y="116"/>
                      <a:pt x="107" y="120"/>
                      <a:pt x="118" y="120"/>
                    </a:cubicBezTo>
                    <a:cubicBezTo>
                      <a:pt x="134" y="120"/>
                      <a:pt x="144" y="112"/>
                      <a:pt x="147" y="97"/>
                    </a:cubicBezTo>
                    <a:cubicBezTo>
                      <a:pt x="140" y="97"/>
                      <a:pt x="140" y="97"/>
                      <a:pt x="140" y="97"/>
                    </a:cubicBezTo>
                    <a:cubicBezTo>
                      <a:pt x="139" y="101"/>
                      <a:pt x="138" y="104"/>
                      <a:pt x="135" y="107"/>
                    </a:cubicBezTo>
                    <a:cubicBezTo>
                      <a:pt x="131" y="112"/>
                      <a:pt x="126" y="114"/>
                      <a:pt x="120" y="114"/>
                    </a:cubicBezTo>
                    <a:cubicBezTo>
                      <a:pt x="107" y="114"/>
                      <a:pt x="101" y="104"/>
                      <a:pt x="101" y="83"/>
                    </a:cubicBezTo>
                    <a:cubicBezTo>
                      <a:pt x="149" y="83"/>
                      <a:pt x="149" y="83"/>
                      <a:pt x="149" y="83"/>
                    </a:cubicBezTo>
                    <a:cubicBezTo>
                      <a:pt x="148" y="68"/>
                      <a:pt x="145" y="58"/>
                      <a:pt x="139" y="52"/>
                    </a:cubicBezTo>
                    <a:moveTo>
                      <a:pt x="19" y="63"/>
                    </a:moveTo>
                    <a:cubicBezTo>
                      <a:pt x="31" y="63"/>
                      <a:pt x="31" y="63"/>
                      <a:pt x="31" y="63"/>
                    </a:cubicBezTo>
                    <a:cubicBezTo>
                      <a:pt x="37" y="63"/>
                      <a:pt x="41" y="65"/>
                      <a:pt x="44" y="67"/>
                    </a:cubicBezTo>
                    <a:cubicBezTo>
                      <a:pt x="50" y="71"/>
                      <a:pt x="52" y="78"/>
                      <a:pt x="52" y="88"/>
                    </a:cubicBezTo>
                    <a:cubicBezTo>
                      <a:pt x="52" y="98"/>
                      <a:pt x="50" y="105"/>
                      <a:pt x="44" y="109"/>
                    </a:cubicBezTo>
                    <a:cubicBezTo>
                      <a:pt x="41" y="111"/>
                      <a:pt x="36" y="112"/>
                      <a:pt x="30" y="112"/>
                    </a:cubicBezTo>
                    <a:cubicBezTo>
                      <a:pt x="19" y="112"/>
                      <a:pt x="19" y="112"/>
                      <a:pt x="19" y="112"/>
                    </a:cubicBezTo>
                    <a:lnTo>
                      <a:pt x="19" y="63"/>
                    </a:lnTo>
                    <a:close/>
                    <a:moveTo>
                      <a:pt x="19" y="12"/>
                    </a:moveTo>
                    <a:cubicBezTo>
                      <a:pt x="27" y="12"/>
                      <a:pt x="27" y="12"/>
                      <a:pt x="27" y="12"/>
                    </a:cubicBezTo>
                    <a:cubicBezTo>
                      <a:pt x="31" y="12"/>
                      <a:pt x="34" y="12"/>
                      <a:pt x="36" y="13"/>
                    </a:cubicBezTo>
                    <a:cubicBezTo>
                      <a:pt x="39" y="13"/>
                      <a:pt x="41" y="14"/>
                      <a:pt x="43" y="15"/>
                    </a:cubicBezTo>
                    <a:cubicBezTo>
                      <a:pt x="48" y="19"/>
                      <a:pt x="50" y="25"/>
                      <a:pt x="50" y="34"/>
                    </a:cubicBezTo>
                    <a:cubicBezTo>
                      <a:pt x="50" y="41"/>
                      <a:pt x="49" y="47"/>
                      <a:pt x="46" y="51"/>
                    </a:cubicBezTo>
                    <a:cubicBezTo>
                      <a:pt x="43" y="55"/>
                      <a:pt x="38" y="58"/>
                      <a:pt x="30" y="58"/>
                    </a:cubicBezTo>
                    <a:cubicBezTo>
                      <a:pt x="19" y="58"/>
                      <a:pt x="19" y="58"/>
                      <a:pt x="19" y="58"/>
                    </a:cubicBezTo>
                    <a:lnTo>
                      <a:pt x="19" y="12"/>
                    </a:lnTo>
                    <a:close/>
                    <a:moveTo>
                      <a:pt x="0" y="118"/>
                    </a:moveTo>
                    <a:cubicBezTo>
                      <a:pt x="31" y="118"/>
                      <a:pt x="31" y="118"/>
                      <a:pt x="31" y="118"/>
                    </a:cubicBezTo>
                    <a:cubicBezTo>
                      <a:pt x="39" y="118"/>
                      <a:pt x="44" y="118"/>
                      <a:pt x="48" y="117"/>
                    </a:cubicBezTo>
                    <a:cubicBezTo>
                      <a:pt x="56" y="116"/>
                      <a:pt x="62" y="112"/>
                      <a:pt x="66" y="107"/>
                    </a:cubicBezTo>
                    <a:cubicBezTo>
                      <a:pt x="70" y="102"/>
                      <a:pt x="72" y="96"/>
                      <a:pt x="72" y="88"/>
                    </a:cubicBezTo>
                    <a:cubicBezTo>
                      <a:pt x="72" y="78"/>
                      <a:pt x="69" y="71"/>
                      <a:pt x="62" y="66"/>
                    </a:cubicBezTo>
                    <a:cubicBezTo>
                      <a:pt x="58" y="63"/>
                      <a:pt x="52" y="61"/>
                      <a:pt x="44" y="61"/>
                    </a:cubicBezTo>
                    <a:cubicBezTo>
                      <a:pt x="44" y="60"/>
                      <a:pt x="44" y="60"/>
                      <a:pt x="44" y="60"/>
                    </a:cubicBezTo>
                    <a:cubicBezTo>
                      <a:pt x="61" y="58"/>
                      <a:pt x="70" y="49"/>
                      <a:pt x="70" y="34"/>
                    </a:cubicBezTo>
                    <a:cubicBezTo>
                      <a:pt x="70" y="28"/>
                      <a:pt x="68" y="23"/>
                      <a:pt x="66" y="19"/>
                    </a:cubicBezTo>
                    <a:cubicBezTo>
                      <a:pt x="62" y="14"/>
                      <a:pt x="57" y="10"/>
                      <a:pt x="51" y="8"/>
                    </a:cubicBezTo>
                    <a:cubicBezTo>
                      <a:pt x="47" y="7"/>
                      <a:pt x="41" y="6"/>
                      <a:pt x="33" y="6"/>
                    </a:cubicBezTo>
                    <a:cubicBezTo>
                      <a:pt x="0" y="6"/>
                      <a:pt x="0" y="6"/>
                      <a:pt x="0" y="6"/>
                    </a:cubicBezTo>
                    <a:lnTo>
                      <a:pt x="0" y="11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8336380F-2DA7-4978-932C-F42C987087A6}"/>
                  </a:ext>
                </a:extLst>
              </p:cNvPr>
              <p:cNvSpPr>
                <a:spLocks noEditPoints="1"/>
              </p:cNvSpPr>
              <p:nvPr userDrawn="1"/>
            </p:nvSpPr>
            <p:spPr bwMode="auto">
              <a:xfrm>
                <a:off x="6669088" y="4232276"/>
                <a:ext cx="706438" cy="723900"/>
              </a:xfrm>
              <a:custGeom>
                <a:avLst/>
                <a:gdLst>
                  <a:gd name="T0" fmla="*/ 234 w 324"/>
                  <a:gd name="T1" fmla="*/ 223 h 331"/>
                  <a:gd name="T2" fmla="*/ 207 w 324"/>
                  <a:gd name="T3" fmla="*/ 270 h 331"/>
                  <a:gd name="T4" fmla="*/ 166 w 324"/>
                  <a:gd name="T5" fmla="*/ 300 h 331"/>
                  <a:gd name="T6" fmla="*/ 115 w 324"/>
                  <a:gd name="T7" fmla="*/ 311 h 331"/>
                  <a:gd name="T8" fmla="*/ 110 w 324"/>
                  <a:gd name="T9" fmla="*/ 311 h 331"/>
                  <a:gd name="T10" fmla="*/ 69 w 324"/>
                  <a:gd name="T11" fmla="*/ 307 h 331"/>
                  <a:gd name="T12" fmla="*/ 69 w 324"/>
                  <a:gd name="T13" fmla="*/ 24 h 331"/>
                  <a:gd name="T14" fmla="*/ 110 w 324"/>
                  <a:gd name="T15" fmla="*/ 21 h 331"/>
                  <a:gd name="T16" fmla="*/ 114 w 324"/>
                  <a:gd name="T17" fmla="*/ 21 h 331"/>
                  <a:gd name="T18" fmla="*/ 167 w 324"/>
                  <a:gd name="T19" fmla="*/ 31 h 331"/>
                  <a:gd name="T20" fmla="*/ 208 w 324"/>
                  <a:gd name="T21" fmla="*/ 62 h 331"/>
                  <a:gd name="T22" fmla="*/ 234 w 324"/>
                  <a:gd name="T23" fmla="*/ 109 h 331"/>
                  <a:gd name="T24" fmla="*/ 243 w 324"/>
                  <a:gd name="T25" fmla="*/ 160 h 331"/>
                  <a:gd name="T26" fmla="*/ 234 w 324"/>
                  <a:gd name="T27" fmla="*/ 223 h 331"/>
                  <a:gd name="T28" fmla="*/ 310 w 324"/>
                  <a:gd name="T29" fmla="*/ 98 h 331"/>
                  <a:gd name="T30" fmla="*/ 268 w 324"/>
                  <a:gd name="T31" fmla="*/ 45 h 331"/>
                  <a:gd name="T32" fmla="*/ 199 w 324"/>
                  <a:gd name="T33" fmla="*/ 12 h 331"/>
                  <a:gd name="T34" fmla="*/ 103 w 324"/>
                  <a:gd name="T35" fmla="*/ 0 h 331"/>
                  <a:gd name="T36" fmla="*/ 0 w 324"/>
                  <a:gd name="T37" fmla="*/ 0 h 331"/>
                  <a:gd name="T38" fmla="*/ 0 w 324"/>
                  <a:gd name="T39" fmla="*/ 67 h 331"/>
                  <a:gd name="T40" fmla="*/ 0 w 324"/>
                  <a:gd name="T41" fmla="*/ 331 h 331"/>
                  <a:gd name="T42" fmla="*/ 117 w 324"/>
                  <a:gd name="T43" fmla="*/ 331 h 331"/>
                  <a:gd name="T44" fmla="*/ 206 w 324"/>
                  <a:gd name="T45" fmla="*/ 319 h 331"/>
                  <a:gd name="T46" fmla="*/ 271 w 324"/>
                  <a:gd name="T47" fmla="*/ 283 h 331"/>
                  <a:gd name="T48" fmla="*/ 310 w 324"/>
                  <a:gd name="T49" fmla="*/ 228 h 331"/>
                  <a:gd name="T50" fmla="*/ 324 w 324"/>
                  <a:gd name="T51" fmla="*/ 158 h 331"/>
                  <a:gd name="T52" fmla="*/ 310 w 324"/>
                  <a:gd name="T53" fmla="*/ 9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4" h="331">
                    <a:moveTo>
                      <a:pt x="234" y="223"/>
                    </a:moveTo>
                    <a:cubicBezTo>
                      <a:pt x="227" y="242"/>
                      <a:pt x="218" y="257"/>
                      <a:pt x="207" y="270"/>
                    </a:cubicBezTo>
                    <a:cubicBezTo>
                      <a:pt x="196" y="283"/>
                      <a:pt x="182" y="293"/>
                      <a:pt x="166" y="300"/>
                    </a:cubicBezTo>
                    <a:cubicBezTo>
                      <a:pt x="151" y="307"/>
                      <a:pt x="134" y="311"/>
                      <a:pt x="115" y="311"/>
                    </a:cubicBezTo>
                    <a:cubicBezTo>
                      <a:pt x="110" y="311"/>
                      <a:pt x="110" y="311"/>
                      <a:pt x="110" y="311"/>
                    </a:cubicBezTo>
                    <a:cubicBezTo>
                      <a:pt x="98" y="311"/>
                      <a:pt x="73" y="308"/>
                      <a:pt x="69" y="307"/>
                    </a:cubicBezTo>
                    <a:cubicBezTo>
                      <a:pt x="69" y="24"/>
                      <a:pt x="69" y="24"/>
                      <a:pt x="69" y="24"/>
                    </a:cubicBezTo>
                    <a:cubicBezTo>
                      <a:pt x="73" y="24"/>
                      <a:pt x="104" y="21"/>
                      <a:pt x="110" y="21"/>
                    </a:cubicBezTo>
                    <a:cubicBezTo>
                      <a:pt x="114" y="21"/>
                      <a:pt x="114" y="21"/>
                      <a:pt x="114" y="21"/>
                    </a:cubicBezTo>
                    <a:cubicBezTo>
                      <a:pt x="133" y="21"/>
                      <a:pt x="151" y="24"/>
                      <a:pt x="167" y="31"/>
                    </a:cubicBezTo>
                    <a:cubicBezTo>
                      <a:pt x="182" y="38"/>
                      <a:pt x="196" y="49"/>
                      <a:pt x="208" y="62"/>
                    </a:cubicBezTo>
                    <a:cubicBezTo>
                      <a:pt x="219" y="75"/>
                      <a:pt x="228" y="91"/>
                      <a:pt x="234" y="109"/>
                    </a:cubicBezTo>
                    <a:cubicBezTo>
                      <a:pt x="240" y="128"/>
                      <a:pt x="243" y="138"/>
                      <a:pt x="243" y="160"/>
                    </a:cubicBezTo>
                    <a:cubicBezTo>
                      <a:pt x="243" y="183"/>
                      <a:pt x="240" y="204"/>
                      <a:pt x="234" y="223"/>
                    </a:cubicBezTo>
                    <a:moveTo>
                      <a:pt x="310" y="98"/>
                    </a:moveTo>
                    <a:cubicBezTo>
                      <a:pt x="301" y="77"/>
                      <a:pt x="287" y="60"/>
                      <a:pt x="268" y="45"/>
                    </a:cubicBezTo>
                    <a:cubicBezTo>
                      <a:pt x="250" y="31"/>
                      <a:pt x="226" y="19"/>
                      <a:pt x="199" y="12"/>
                    </a:cubicBezTo>
                    <a:cubicBezTo>
                      <a:pt x="171" y="4"/>
                      <a:pt x="139" y="0"/>
                      <a:pt x="103" y="0"/>
                    </a:cubicBezTo>
                    <a:cubicBezTo>
                      <a:pt x="0" y="0"/>
                      <a:pt x="0" y="0"/>
                      <a:pt x="0" y="0"/>
                    </a:cubicBezTo>
                    <a:cubicBezTo>
                      <a:pt x="0" y="67"/>
                      <a:pt x="0" y="67"/>
                      <a:pt x="0" y="67"/>
                    </a:cubicBezTo>
                    <a:cubicBezTo>
                      <a:pt x="0" y="331"/>
                      <a:pt x="0" y="331"/>
                      <a:pt x="0" y="331"/>
                    </a:cubicBezTo>
                    <a:cubicBezTo>
                      <a:pt x="117" y="331"/>
                      <a:pt x="117" y="331"/>
                      <a:pt x="117" y="331"/>
                    </a:cubicBezTo>
                    <a:cubicBezTo>
                      <a:pt x="150" y="331"/>
                      <a:pt x="180" y="327"/>
                      <a:pt x="206" y="319"/>
                    </a:cubicBezTo>
                    <a:cubicBezTo>
                      <a:pt x="232" y="310"/>
                      <a:pt x="253" y="298"/>
                      <a:pt x="271" y="283"/>
                    </a:cubicBezTo>
                    <a:cubicBezTo>
                      <a:pt x="288" y="268"/>
                      <a:pt x="301" y="250"/>
                      <a:pt x="310" y="228"/>
                    </a:cubicBezTo>
                    <a:cubicBezTo>
                      <a:pt x="319" y="207"/>
                      <a:pt x="324" y="184"/>
                      <a:pt x="324" y="158"/>
                    </a:cubicBezTo>
                    <a:cubicBezTo>
                      <a:pt x="324" y="132"/>
                      <a:pt x="319" y="119"/>
                      <a:pt x="310" y="98"/>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1F77257C-9BE0-4A90-AB67-822C540FA998}"/>
                  </a:ext>
                </a:extLst>
              </p:cNvPr>
              <p:cNvSpPr>
                <a:spLocks/>
              </p:cNvSpPr>
              <p:nvPr userDrawn="1"/>
            </p:nvSpPr>
            <p:spPr bwMode="auto">
              <a:xfrm>
                <a:off x="5900738" y="4232276"/>
                <a:ext cx="609600" cy="728663"/>
              </a:xfrm>
              <a:custGeom>
                <a:avLst/>
                <a:gdLst>
                  <a:gd name="T0" fmla="*/ 252 w 279"/>
                  <a:gd name="T1" fmla="*/ 228 h 333"/>
                  <a:gd name="T2" fmla="*/ 68 w 279"/>
                  <a:gd name="T3" fmla="*/ 31 h 333"/>
                  <a:gd name="T4" fmla="*/ 36 w 279"/>
                  <a:gd name="T5" fmla="*/ 8 h 333"/>
                  <a:gd name="T6" fmla="*/ 0 w 279"/>
                  <a:gd name="T7" fmla="*/ 0 h 333"/>
                  <a:gd name="T8" fmla="*/ 0 w 279"/>
                  <a:gd name="T9" fmla="*/ 62 h 333"/>
                  <a:gd name="T10" fmla="*/ 0 w 279"/>
                  <a:gd name="T11" fmla="*/ 331 h 333"/>
                  <a:gd name="T12" fmla="*/ 27 w 279"/>
                  <a:gd name="T13" fmla="*/ 331 h 333"/>
                  <a:gd name="T14" fmla="*/ 27 w 279"/>
                  <a:gd name="T15" fmla="*/ 86 h 333"/>
                  <a:gd name="T16" fmla="*/ 254 w 279"/>
                  <a:gd name="T17" fmla="*/ 333 h 333"/>
                  <a:gd name="T18" fmla="*/ 279 w 279"/>
                  <a:gd name="T19" fmla="*/ 333 h 333"/>
                  <a:gd name="T20" fmla="*/ 279 w 279"/>
                  <a:gd name="T21" fmla="*/ 0 h 333"/>
                  <a:gd name="T22" fmla="*/ 252 w 279"/>
                  <a:gd name="T23" fmla="*/ 0 h 333"/>
                  <a:gd name="T24" fmla="*/ 252 w 279"/>
                  <a:gd name="T25" fmla="*/ 22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333">
                    <a:moveTo>
                      <a:pt x="252" y="228"/>
                    </a:moveTo>
                    <a:cubicBezTo>
                      <a:pt x="68" y="31"/>
                      <a:pt x="68" y="31"/>
                      <a:pt x="68" y="31"/>
                    </a:cubicBezTo>
                    <a:cubicBezTo>
                      <a:pt x="60" y="21"/>
                      <a:pt x="49" y="13"/>
                      <a:pt x="36" y="8"/>
                    </a:cubicBezTo>
                    <a:cubicBezTo>
                      <a:pt x="27" y="4"/>
                      <a:pt x="14" y="1"/>
                      <a:pt x="0" y="0"/>
                    </a:cubicBezTo>
                    <a:cubicBezTo>
                      <a:pt x="0" y="11"/>
                      <a:pt x="0" y="56"/>
                      <a:pt x="0" y="62"/>
                    </a:cubicBezTo>
                    <a:cubicBezTo>
                      <a:pt x="0" y="331"/>
                      <a:pt x="0" y="331"/>
                      <a:pt x="0" y="331"/>
                    </a:cubicBezTo>
                    <a:cubicBezTo>
                      <a:pt x="27" y="331"/>
                      <a:pt x="27" y="331"/>
                      <a:pt x="27" y="331"/>
                    </a:cubicBezTo>
                    <a:cubicBezTo>
                      <a:pt x="27" y="86"/>
                      <a:pt x="27" y="86"/>
                      <a:pt x="27" y="86"/>
                    </a:cubicBezTo>
                    <a:cubicBezTo>
                      <a:pt x="254" y="333"/>
                      <a:pt x="254" y="333"/>
                      <a:pt x="254" y="333"/>
                    </a:cubicBezTo>
                    <a:cubicBezTo>
                      <a:pt x="279" y="333"/>
                      <a:pt x="279" y="333"/>
                      <a:pt x="279" y="333"/>
                    </a:cubicBezTo>
                    <a:cubicBezTo>
                      <a:pt x="279" y="0"/>
                      <a:pt x="279" y="0"/>
                      <a:pt x="279" y="0"/>
                    </a:cubicBezTo>
                    <a:cubicBezTo>
                      <a:pt x="252" y="0"/>
                      <a:pt x="252" y="0"/>
                      <a:pt x="252" y="0"/>
                    </a:cubicBezTo>
                    <a:lnTo>
                      <a:pt x="252" y="228"/>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a:extLst>
                  <a:ext uri="{FF2B5EF4-FFF2-40B4-BE49-F238E27FC236}">
                    <a16:creationId xmlns:a16="http://schemas.microsoft.com/office/drawing/2014/main" id="{09EC7A28-6768-4565-AF09-8C3FD01E3091}"/>
                  </a:ext>
                </a:extLst>
              </p:cNvPr>
              <p:cNvSpPr>
                <a:spLocks/>
              </p:cNvSpPr>
              <p:nvPr userDrawn="1"/>
            </p:nvSpPr>
            <p:spPr bwMode="auto">
              <a:xfrm>
                <a:off x="5591175" y="4232276"/>
                <a:ext cx="150813" cy="723900"/>
              </a:xfrm>
              <a:custGeom>
                <a:avLst/>
                <a:gdLst>
                  <a:gd name="T0" fmla="*/ 0 w 69"/>
                  <a:gd name="T1" fmla="*/ 264 h 331"/>
                  <a:gd name="T2" fmla="*/ 2 w 69"/>
                  <a:gd name="T3" fmla="*/ 297 h 331"/>
                  <a:gd name="T4" fmla="*/ 10 w 69"/>
                  <a:gd name="T5" fmla="*/ 317 h 331"/>
                  <a:gd name="T6" fmla="*/ 25 w 69"/>
                  <a:gd name="T7" fmla="*/ 328 h 331"/>
                  <a:gd name="T8" fmla="*/ 48 w 69"/>
                  <a:gd name="T9" fmla="*/ 331 h 331"/>
                  <a:gd name="T10" fmla="*/ 69 w 69"/>
                  <a:gd name="T11" fmla="*/ 331 h 331"/>
                  <a:gd name="T12" fmla="*/ 69 w 69"/>
                  <a:gd name="T13" fmla="*/ 264 h 331"/>
                  <a:gd name="T14" fmla="*/ 69 w 69"/>
                  <a:gd name="T15" fmla="*/ 0 h 331"/>
                  <a:gd name="T16" fmla="*/ 0 w 69"/>
                  <a:gd name="T17" fmla="*/ 0 h 331"/>
                  <a:gd name="T18" fmla="*/ 0 w 69"/>
                  <a:gd name="T19" fmla="*/ 26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331">
                    <a:moveTo>
                      <a:pt x="0" y="264"/>
                    </a:moveTo>
                    <a:cubicBezTo>
                      <a:pt x="0" y="277"/>
                      <a:pt x="0" y="288"/>
                      <a:pt x="2" y="297"/>
                    </a:cubicBezTo>
                    <a:cubicBezTo>
                      <a:pt x="3" y="305"/>
                      <a:pt x="6" y="312"/>
                      <a:pt x="10" y="317"/>
                    </a:cubicBezTo>
                    <a:cubicBezTo>
                      <a:pt x="13" y="323"/>
                      <a:pt x="18" y="326"/>
                      <a:pt x="25" y="328"/>
                    </a:cubicBezTo>
                    <a:cubicBezTo>
                      <a:pt x="31" y="330"/>
                      <a:pt x="39" y="331"/>
                      <a:pt x="48" y="331"/>
                    </a:cubicBezTo>
                    <a:cubicBezTo>
                      <a:pt x="69" y="331"/>
                      <a:pt x="69" y="331"/>
                      <a:pt x="69" y="331"/>
                    </a:cubicBezTo>
                    <a:cubicBezTo>
                      <a:pt x="69" y="331"/>
                      <a:pt x="69" y="279"/>
                      <a:pt x="69" y="264"/>
                    </a:cubicBezTo>
                    <a:cubicBezTo>
                      <a:pt x="69" y="0"/>
                      <a:pt x="69" y="0"/>
                      <a:pt x="69" y="0"/>
                    </a:cubicBezTo>
                    <a:cubicBezTo>
                      <a:pt x="0" y="0"/>
                      <a:pt x="0" y="0"/>
                      <a:pt x="0" y="0"/>
                    </a:cubicBezTo>
                    <a:lnTo>
                      <a:pt x="0" y="264"/>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a:extLst>
                  <a:ext uri="{FF2B5EF4-FFF2-40B4-BE49-F238E27FC236}">
                    <a16:creationId xmlns:a16="http://schemas.microsoft.com/office/drawing/2014/main" id="{919BA259-3259-4A99-A2EE-298827CDD87E}"/>
                  </a:ext>
                </a:extLst>
              </p:cNvPr>
              <p:cNvSpPr>
                <a:spLocks/>
              </p:cNvSpPr>
              <p:nvPr userDrawn="1"/>
            </p:nvSpPr>
            <p:spPr bwMode="auto">
              <a:xfrm>
                <a:off x="5021263" y="4232276"/>
                <a:ext cx="465138" cy="723900"/>
              </a:xfrm>
              <a:custGeom>
                <a:avLst/>
                <a:gdLst>
                  <a:gd name="T0" fmla="*/ 0 w 293"/>
                  <a:gd name="T1" fmla="*/ 0 h 456"/>
                  <a:gd name="T2" fmla="*/ 0 w 293"/>
                  <a:gd name="T3" fmla="*/ 456 h 456"/>
                  <a:gd name="T4" fmla="*/ 97 w 293"/>
                  <a:gd name="T5" fmla="*/ 456 h 456"/>
                  <a:gd name="T6" fmla="*/ 97 w 293"/>
                  <a:gd name="T7" fmla="*/ 231 h 456"/>
                  <a:gd name="T8" fmla="*/ 259 w 293"/>
                  <a:gd name="T9" fmla="*/ 231 h 456"/>
                  <a:gd name="T10" fmla="*/ 259 w 293"/>
                  <a:gd name="T11" fmla="*/ 200 h 456"/>
                  <a:gd name="T12" fmla="*/ 97 w 293"/>
                  <a:gd name="T13" fmla="*/ 200 h 456"/>
                  <a:gd name="T14" fmla="*/ 97 w 293"/>
                  <a:gd name="T15" fmla="*/ 31 h 456"/>
                  <a:gd name="T16" fmla="*/ 293 w 293"/>
                  <a:gd name="T17" fmla="*/ 31 h 456"/>
                  <a:gd name="T18" fmla="*/ 293 w 293"/>
                  <a:gd name="T19" fmla="*/ 0 h 456"/>
                  <a:gd name="T20" fmla="*/ 0 w 293"/>
                  <a:gd name="T21"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 h="456">
                    <a:moveTo>
                      <a:pt x="0" y="0"/>
                    </a:moveTo>
                    <a:lnTo>
                      <a:pt x="0" y="456"/>
                    </a:lnTo>
                    <a:lnTo>
                      <a:pt x="97" y="456"/>
                    </a:lnTo>
                    <a:lnTo>
                      <a:pt x="97" y="231"/>
                    </a:lnTo>
                    <a:lnTo>
                      <a:pt x="259" y="231"/>
                    </a:lnTo>
                    <a:lnTo>
                      <a:pt x="259" y="200"/>
                    </a:lnTo>
                    <a:lnTo>
                      <a:pt x="97" y="200"/>
                    </a:lnTo>
                    <a:lnTo>
                      <a:pt x="97" y="31"/>
                    </a:lnTo>
                    <a:lnTo>
                      <a:pt x="293" y="31"/>
                    </a:lnTo>
                    <a:lnTo>
                      <a:pt x="293" y="0"/>
                    </a:lnTo>
                    <a:lnTo>
                      <a:pt x="0" y="0"/>
                    </a:lnTo>
                    <a:close/>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a:extLst>
                  <a:ext uri="{FF2B5EF4-FFF2-40B4-BE49-F238E27FC236}">
                    <a16:creationId xmlns:a16="http://schemas.microsoft.com/office/drawing/2014/main" id="{CCBECFDD-8325-4F73-9888-08AEE1088CA3}"/>
                  </a:ext>
                </a:extLst>
              </p:cNvPr>
              <p:cNvSpPr>
                <a:spLocks noEditPoints="1"/>
              </p:cNvSpPr>
              <p:nvPr userDrawn="1"/>
            </p:nvSpPr>
            <p:spPr bwMode="auto">
              <a:xfrm>
                <a:off x="8216900" y="4232276"/>
                <a:ext cx="515938" cy="723900"/>
              </a:xfrm>
              <a:custGeom>
                <a:avLst/>
                <a:gdLst>
                  <a:gd name="T0" fmla="*/ 11 w 237"/>
                  <a:gd name="T1" fmla="*/ 331 h 331"/>
                  <a:gd name="T2" fmla="*/ 11 w 237"/>
                  <a:gd name="T3" fmla="*/ 331 h 331"/>
                  <a:gd name="T4" fmla="*/ 36 w 237"/>
                  <a:gd name="T5" fmla="*/ 283 h 331"/>
                  <a:gd name="T6" fmla="*/ 54 w 237"/>
                  <a:gd name="T7" fmla="*/ 264 h 331"/>
                  <a:gd name="T8" fmla="*/ 51 w 237"/>
                  <a:gd name="T9" fmla="*/ 254 h 331"/>
                  <a:gd name="T10" fmla="*/ 56 w 237"/>
                  <a:gd name="T11" fmla="*/ 244 h 331"/>
                  <a:gd name="T12" fmla="*/ 49 w 237"/>
                  <a:gd name="T13" fmla="*/ 222 h 331"/>
                  <a:gd name="T14" fmla="*/ 84 w 237"/>
                  <a:gd name="T15" fmla="*/ 194 h 331"/>
                  <a:gd name="T16" fmla="*/ 31 w 237"/>
                  <a:gd name="T17" fmla="*/ 94 h 331"/>
                  <a:gd name="T18" fmla="*/ 31 w 237"/>
                  <a:gd name="T19" fmla="*/ 88 h 331"/>
                  <a:gd name="T20" fmla="*/ 0 w 237"/>
                  <a:gd name="T21" fmla="*/ 0 h 331"/>
                  <a:gd name="T22" fmla="*/ 0 w 237"/>
                  <a:gd name="T23" fmla="*/ 0 h 331"/>
                  <a:gd name="T24" fmla="*/ 138 w 237"/>
                  <a:gd name="T25" fmla="*/ 0 h 331"/>
                  <a:gd name="T26" fmla="*/ 192 w 237"/>
                  <a:gd name="T27" fmla="*/ 110 h 331"/>
                  <a:gd name="T28" fmla="*/ 237 w 237"/>
                  <a:gd name="T29" fmla="*/ 192 h 331"/>
                  <a:gd name="T30" fmla="*/ 215 w 237"/>
                  <a:gd name="T31" fmla="*/ 214 h 331"/>
                  <a:gd name="T32" fmla="*/ 211 w 237"/>
                  <a:gd name="T33" fmla="*/ 232 h 331"/>
                  <a:gd name="T34" fmla="*/ 217 w 237"/>
                  <a:gd name="T35" fmla="*/ 246 h 331"/>
                  <a:gd name="T36" fmla="*/ 202 w 237"/>
                  <a:gd name="T37" fmla="*/ 259 h 331"/>
                  <a:gd name="T38" fmla="*/ 213 w 237"/>
                  <a:gd name="T39" fmla="*/ 271 h 331"/>
                  <a:gd name="T40" fmla="*/ 199 w 237"/>
                  <a:gd name="T41" fmla="*/ 292 h 331"/>
                  <a:gd name="T42" fmla="*/ 146 w 237"/>
                  <a:gd name="T43" fmla="*/ 331 h 331"/>
                  <a:gd name="T44" fmla="*/ 11 w 237"/>
                  <a:gd name="T45" fmla="*/ 331 h 331"/>
                  <a:gd name="T46" fmla="*/ 164 w 237"/>
                  <a:gd name="T47" fmla="*/ 81 h 331"/>
                  <a:gd name="T48" fmla="*/ 166 w 237"/>
                  <a:gd name="T49" fmla="*/ 74 h 331"/>
                  <a:gd name="T50" fmla="*/ 115 w 237"/>
                  <a:gd name="T51" fmla="*/ 70 h 331"/>
                  <a:gd name="T52" fmla="*/ 88 w 237"/>
                  <a:gd name="T53" fmla="*/ 76 h 331"/>
                  <a:gd name="T54" fmla="*/ 82 w 237"/>
                  <a:gd name="T55" fmla="*/ 78 h 331"/>
                  <a:gd name="T56" fmla="*/ 82 w 237"/>
                  <a:gd name="T57" fmla="*/ 86 h 331"/>
                  <a:gd name="T58" fmla="*/ 88 w 237"/>
                  <a:gd name="T59" fmla="*/ 90 h 331"/>
                  <a:gd name="T60" fmla="*/ 88 w 237"/>
                  <a:gd name="T61" fmla="*/ 90 h 331"/>
                  <a:gd name="T62" fmla="*/ 88 w 237"/>
                  <a:gd name="T63" fmla="*/ 90 h 331"/>
                  <a:gd name="T64" fmla="*/ 88 w 237"/>
                  <a:gd name="T65" fmla="*/ 90 h 331"/>
                  <a:gd name="T66" fmla="*/ 94 w 237"/>
                  <a:gd name="T67" fmla="*/ 90 h 331"/>
                  <a:gd name="T68" fmla="*/ 105 w 237"/>
                  <a:gd name="T69" fmla="*/ 88 h 331"/>
                  <a:gd name="T70" fmla="*/ 135 w 237"/>
                  <a:gd name="T71" fmla="*/ 82 h 331"/>
                  <a:gd name="T72" fmla="*/ 148 w 237"/>
                  <a:gd name="T73" fmla="*/ 81 h 331"/>
                  <a:gd name="T74" fmla="*/ 164 w 237"/>
                  <a:gd name="T75" fmla="*/ 81 h 331"/>
                  <a:gd name="T76" fmla="*/ 131 w 237"/>
                  <a:gd name="T77" fmla="*/ 121 h 331"/>
                  <a:gd name="T78" fmla="*/ 134 w 237"/>
                  <a:gd name="T79" fmla="*/ 134 h 331"/>
                  <a:gd name="T80" fmla="*/ 124 w 237"/>
                  <a:gd name="T81" fmla="*/ 133 h 331"/>
                  <a:gd name="T82" fmla="*/ 121 w 237"/>
                  <a:gd name="T83" fmla="*/ 136 h 331"/>
                  <a:gd name="T84" fmla="*/ 145 w 237"/>
                  <a:gd name="T85" fmla="*/ 142 h 331"/>
                  <a:gd name="T86" fmla="*/ 158 w 237"/>
                  <a:gd name="T87" fmla="*/ 137 h 331"/>
                  <a:gd name="T88" fmla="*/ 156 w 237"/>
                  <a:gd name="T89" fmla="*/ 134 h 331"/>
                  <a:gd name="T90" fmla="*/ 160 w 237"/>
                  <a:gd name="T91" fmla="*/ 122 h 331"/>
                  <a:gd name="T92" fmla="*/ 157 w 237"/>
                  <a:gd name="T93" fmla="*/ 108 h 331"/>
                  <a:gd name="T94" fmla="*/ 162 w 237"/>
                  <a:gd name="T95" fmla="*/ 104 h 331"/>
                  <a:gd name="T96" fmla="*/ 153 w 237"/>
                  <a:gd name="T97" fmla="*/ 97 h 331"/>
                  <a:gd name="T98" fmla="*/ 109 w 237"/>
                  <a:gd name="T99" fmla="*/ 116 h 331"/>
                  <a:gd name="T100" fmla="*/ 111 w 237"/>
                  <a:gd name="T101" fmla="*/ 120 h 331"/>
                  <a:gd name="T102" fmla="*/ 133 w 237"/>
                  <a:gd name="T103" fmla="*/ 113 h 331"/>
                  <a:gd name="T104" fmla="*/ 131 w 237"/>
                  <a:gd name="T105" fmla="*/ 121 h 331"/>
                  <a:gd name="T106" fmla="*/ 151 w 237"/>
                  <a:gd name="T107" fmla="*/ 120 h 331"/>
                  <a:gd name="T108" fmla="*/ 146 w 237"/>
                  <a:gd name="T109" fmla="*/ 113 h 331"/>
                  <a:gd name="T110" fmla="*/ 143 w 237"/>
                  <a:gd name="T111" fmla="*/ 121 h 331"/>
                  <a:gd name="T112" fmla="*/ 148 w 237"/>
                  <a:gd name="T113" fmla="*/ 129 h 331"/>
                  <a:gd name="T114" fmla="*/ 151 w 237"/>
                  <a:gd name="T115" fmla="*/ 12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331">
                    <a:moveTo>
                      <a:pt x="11" y="331"/>
                    </a:moveTo>
                    <a:cubicBezTo>
                      <a:pt x="10" y="331"/>
                      <a:pt x="11" y="331"/>
                      <a:pt x="11" y="331"/>
                    </a:cubicBezTo>
                    <a:cubicBezTo>
                      <a:pt x="22" y="326"/>
                      <a:pt x="34" y="291"/>
                      <a:pt x="36" y="283"/>
                    </a:cubicBezTo>
                    <a:cubicBezTo>
                      <a:pt x="38" y="279"/>
                      <a:pt x="54" y="268"/>
                      <a:pt x="54" y="264"/>
                    </a:cubicBezTo>
                    <a:cubicBezTo>
                      <a:pt x="54" y="260"/>
                      <a:pt x="51" y="254"/>
                      <a:pt x="51" y="254"/>
                    </a:cubicBezTo>
                    <a:cubicBezTo>
                      <a:pt x="51" y="254"/>
                      <a:pt x="56" y="249"/>
                      <a:pt x="56" y="244"/>
                    </a:cubicBezTo>
                    <a:cubicBezTo>
                      <a:pt x="56" y="239"/>
                      <a:pt x="49" y="222"/>
                      <a:pt x="49" y="222"/>
                    </a:cubicBezTo>
                    <a:cubicBezTo>
                      <a:pt x="68" y="212"/>
                      <a:pt x="84" y="212"/>
                      <a:pt x="84" y="194"/>
                    </a:cubicBezTo>
                    <a:cubicBezTo>
                      <a:pt x="84" y="162"/>
                      <a:pt x="32" y="135"/>
                      <a:pt x="31" y="94"/>
                    </a:cubicBezTo>
                    <a:cubicBezTo>
                      <a:pt x="31" y="93"/>
                      <a:pt x="31" y="89"/>
                      <a:pt x="31" y="88"/>
                    </a:cubicBezTo>
                    <a:cubicBezTo>
                      <a:pt x="31" y="22"/>
                      <a:pt x="5" y="3"/>
                      <a:pt x="0" y="0"/>
                    </a:cubicBezTo>
                    <a:cubicBezTo>
                      <a:pt x="0" y="0"/>
                      <a:pt x="0" y="0"/>
                      <a:pt x="0" y="0"/>
                    </a:cubicBezTo>
                    <a:cubicBezTo>
                      <a:pt x="138" y="0"/>
                      <a:pt x="138" y="0"/>
                      <a:pt x="138" y="0"/>
                    </a:cubicBezTo>
                    <a:cubicBezTo>
                      <a:pt x="138" y="0"/>
                      <a:pt x="192" y="38"/>
                      <a:pt x="192" y="110"/>
                    </a:cubicBezTo>
                    <a:cubicBezTo>
                      <a:pt x="192" y="139"/>
                      <a:pt x="237" y="169"/>
                      <a:pt x="237" y="192"/>
                    </a:cubicBezTo>
                    <a:cubicBezTo>
                      <a:pt x="237" y="206"/>
                      <a:pt x="218" y="211"/>
                      <a:pt x="215" y="214"/>
                    </a:cubicBezTo>
                    <a:cubicBezTo>
                      <a:pt x="213" y="216"/>
                      <a:pt x="211" y="224"/>
                      <a:pt x="211" y="232"/>
                    </a:cubicBezTo>
                    <a:cubicBezTo>
                      <a:pt x="211" y="241"/>
                      <a:pt x="217" y="240"/>
                      <a:pt x="217" y="246"/>
                    </a:cubicBezTo>
                    <a:cubicBezTo>
                      <a:pt x="217" y="254"/>
                      <a:pt x="202" y="259"/>
                      <a:pt x="202" y="259"/>
                    </a:cubicBezTo>
                    <a:cubicBezTo>
                      <a:pt x="202" y="259"/>
                      <a:pt x="213" y="267"/>
                      <a:pt x="213" y="271"/>
                    </a:cubicBezTo>
                    <a:cubicBezTo>
                      <a:pt x="213" y="277"/>
                      <a:pt x="199" y="283"/>
                      <a:pt x="199" y="292"/>
                    </a:cubicBezTo>
                    <a:cubicBezTo>
                      <a:pt x="199" y="313"/>
                      <a:pt x="179" y="331"/>
                      <a:pt x="146" y="331"/>
                    </a:cubicBezTo>
                    <a:cubicBezTo>
                      <a:pt x="116" y="331"/>
                      <a:pt x="25" y="331"/>
                      <a:pt x="11" y="331"/>
                    </a:cubicBezTo>
                    <a:moveTo>
                      <a:pt x="164" y="81"/>
                    </a:moveTo>
                    <a:cubicBezTo>
                      <a:pt x="170" y="80"/>
                      <a:pt x="168" y="76"/>
                      <a:pt x="166" y="74"/>
                    </a:cubicBezTo>
                    <a:cubicBezTo>
                      <a:pt x="154" y="64"/>
                      <a:pt x="131" y="67"/>
                      <a:pt x="115" y="70"/>
                    </a:cubicBezTo>
                    <a:cubicBezTo>
                      <a:pt x="106" y="72"/>
                      <a:pt x="97" y="74"/>
                      <a:pt x="88" y="76"/>
                    </a:cubicBezTo>
                    <a:cubicBezTo>
                      <a:pt x="86" y="77"/>
                      <a:pt x="83" y="77"/>
                      <a:pt x="82" y="78"/>
                    </a:cubicBezTo>
                    <a:cubicBezTo>
                      <a:pt x="79" y="80"/>
                      <a:pt x="81" y="84"/>
                      <a:pt x="82" y="86"/>
                    </a:cubicBezTo>
                    <a:cubicBezTo>
                      <a:pt x="83" y="87"/>
                      <a:pt x="85" y="89"/>
                      <a:pt x="88" y="90"/>
                    </a:cubicBezTo>
                    <a:cubicBezTo>
                      <a:pt x="88" y="90"/>
                      <a:pt x="88" y="90"/>
                      <a:pt x="88" y="90"/>
                    </a:cubicBezTo>
                    <a:cubicBezTo>
                      <a:pt x="88" y="90"/>
                      <a:pt x="88" y="90"/>
                      <a:pt x="88" y="90"/>
                    </a:cubicBezTo>
                    <a:cubicBezTo>
                      <a:pt x="88" y="90"/>
                      <a:pt x="88" y="90"/>
                      <a:pt x="88" y="90"/>
                    </a:cubicBezTo>
                    <a:cubicBezTo>
                      <a:pt x="90" y="91"/>
                      <a:pt x="92" y="91"/>
                      <a:pt x="94" y="90"/>
                    </a:cubicBezTo>
                    <a:cubicBezTo>
                      <a:pt x="98" y="89"/>
                      <a:pt x="102" y="89"/>
                      <a:pt x="105" y="88"/>
                    </a:cubicBezTo>
                    <a:cubicBezTo>
                      <a:pt x="115" y="85"/>
                      <a:pt x="125" y="83"/>
                      <a:pt x="135" y="82"/>
                    </a:cubicBezTo>
                    <a:cubicBezTo>
                      <a:pt x="139" y="81"/>
                      <a:pt x="144" y="81"/>
                      <a:pt x="148" y="81"/>
                    </a:cubicBezTo>
                    <a:cubicBezTo>
                      <a:pt x="153" y="80"/>
                      <a:pt x="159" y="81"/>
                      <a:pt x="164" y="81"/>
                    </a:cubicBezTo>
                    <a:moveTo>
                      <a:pt x="131" y="121"/>
                    </a:moveTo>
                    <a:cubicBezTo>
                      <a:pt x="131" y="132"/>
                      <a:pt x="134" y="134"/>
                      <a:pt x="134" y="134"/>
                    </a:cubicBezTo>
                    <a:cubicBezTo>
                      <a:pt x="134" y="134"/>
                      <a:pt x="126" y="133"/>
                      <a:pt x="124" y="133"/>
                    </a:cubicBezTo>
                    <a:cubicBezTo>
                      <a:pt x="123" y="133"/>
                      <a:pt x="121" y="133"/>
                      <a:pt x="121" y="136"/>
                    </a:cubicBezTo>
                    <a:cubicBezTo>
                      <a:pt x="121" y="141"/>
                      <a:pt x="136" y="142"/>
                      <a:pt x="145" y="142"/>
                    </a:cubicBezTo>
                    <a:cubicBezTo>
                      <a:pt x="154" y="142"/>
                      <a:pt x="158" y="140"/>
                      <a:pt x="158" y="137"/>
                    </a:cubicBezTo>
                    <a:cubicBezTo>
                      <a:pt x="158" y="135"/>
                      <a:pt x="156" y="134"/>
                      <a:pt x="156" y="134"/>
                    </a:cubicBezTo>
                    <a:cubicBezTo>
                      <a:pt x="156" y="134"/>
                      <a:pt x="160" y="129"/>
                      <a:pt x="160" y="122"/>
                    </a:cubicBezTo>
                    <a:cubicBezTo>
                      <a:pt x="160" y="115"/>
                      <a:pt x="157" y="108"/>
                      <a:pt x="157" y="108"/>
                    </a:cubicBezTo>
                    <a:cubicBezTo>
                      <a:pt x="157" y="108"/>
                      <a:pt x="162" y="107"/>
                      <a:pt x="162" y="104"/>
                    </a:cubicBezTo>
                    <a:cubicBezTo>
                      <a:pt x="162" y="101"/>
                      <a:pt x="161" y="97"/>
                      <a:pt x="153" y="97"/>
                    </a:cubicBezTo>
                    <a:cubicBezTo>
                      <a:pt x="142" y="97"/>
                      <a:pt x="109" y="104"/>
                      <a:pt x="109" y="116"/>
                    </a:cubicBezTo>
                    <a:cubicBezTo>
                      <a:pt x="109" y="117"/>
                      <a:pt x="109" y="120"/>
                      <a:pt x="111" y="120"/>
                    </a:cubicBezTo>
                    <a:cubicBezTo>
                      <a:pt x="115" y="120"/>
                      <a:pt x="133" y="113"/>
                      <a:pt x="133" y="113"/>
                    </a:cubicBezTo>
                    <a:cubicBezTo>
                      <a:pt x="133" y="113"/>
                      <a:pt x="131" y="117"/>
                      <a:pt x="131" y="121"/>
                    </a:cubicBezTo>
                    <a:moveTo>
                      <a:pt x="151" y="120"/>
                    </a:moveTo>
                    <a:cubicBezTo>
                      <a:pt x="151" y="116"/>
                      <a:pt x="148" y="112"/>
                      <a:pt x="146" y="113"/>
                    </a:cubicBezTo>
                    <a:cubicBezTo>
                      <a:pt x="143" y="113"/>
                      <a:pt x="142" y="117"/>
                      <a:pt x="143" y="121"/>
                    </a:cubicBezTo>
                    <a:cubicBezTo>
                      <a:pt x="143" y="126"/>
                      <a:pt x="146" y="129"/>
                      <a:pt x="148" y="129"/>
                    </a:cubicBezTo>
                    <a:cubicBezTo>
                      <a:pt x="151" y="128"/>
                      <a:pt x="152" y="124"/>
                      <a:pt x="151" y="120"/>
                    </a:cubicBezTo>
                  </a:path>
                </a:pathLst>
              </a:custGeom>
              <a:solidFill>
                <a:srgbClr val="779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a:extLst>
                  <a:ext uri="{FF2B5EF4-FFF2-40B4-BE49-F238E27FC236}">
                    <a16:creationId xmlns:a16="http://schemas.microsoft.com/office/drawing/2014/main" id="{0DAE21F5-AC1A-4A55-8199-1D494D297C8C}"/>
                  </a:ext>
                </a:extLst>
              </p:cNvPr>
              <p:cNvSpPr>
                <a:spLocks noEditPoints="1"/>
              </p:cNvSpPr>
              <p:nvPr userDrawn="1"/>
            </p:nvSpPr>
            <p:spPr bwMode="auto">
              <a:xfrm>
                <a:off x="7770813" y="4232276"/>
                <a:ext cx="598488" cy="723900"/>
              </a:xfrm>
              <a:custGeom>
                <a:avLst/>
                <a:gdLst>
                  <a:gd name="T0" fmla="*/ 274 w 274"/>
                  <a:gd name="T1" fmla="*/ 193 h 331"/>
                  <a:gd name="T2" fmla="*/ 244 w 274"/>
                  <a:gd name="T3" fmla="*/ 212 h 331"/>
                  <a:gd name="T4" fmla="*/ 243 w 274"/>
                  <a:gd name="T5" fmla="*/ 221 h 331"/>
                  <a:gd name="T6" fmla="*/ 249 w 274"/>
                  <a:gd name="T7" fmla="*/ 244 h 331"/>
                  <a:gd name="T8" fmla="*/ 240 w 274"/>
                  <a:gd name="T9" fmla="*/ 253 h 331"/>
                  <a:gd name="T10" fmla="*/ 245 w 274"/>
                  <a:gd name="T11" fmla="*/ 262 h 331"/>
                  <a:gd name="T12" fmla="*/ 228 w 274"/>
                  <a:gd name="T13" fmla="*/ 276 h 331"/>
                  <a:gd name="T14" fmla="*/ 188 w 274"/>
                  <a:gd name="T15" fmla="*/ 331 h 331"/>
                  <a:gd name="T16" fmla="*/ 51 w 274"/>
                  <a:gd name="T17" fmla="*/ 331 h 331"/>
                  <a:gd name="T18" fmla="*/ 51 w 274"/>
                  <a:gd name="T19" fmla="*/ 331 h 331"/>
                  <a:gd name="T20" fmla="*/ 70 w 274"/>
                  <a:gd name="T21" fmla="*/ 284 h 331"/>
                  <a:gd name="T22" fmla="*/ 84 w 274"/>
                  <a:gd name="T23" fmla="*/ 255 h 331"/>
                  <a:gd name="T24" fmla="*/ 81 w 274"/>
                  <a:gd name="T25" fmla="*/ 248 h 331"/>
                  <a:gd name="T26" fmla="*/ 91 w 274"/>
                  <a:gd name="T27" fmla="*/ 239 h 331"/>
                  <a:gd name="T28" fmla="*/ 83 w 274"/>
                  <a:gd name="T29" fmla="*/ 216 h 331"/>
                  <a:gd name="T30" fmla="*/ 110 w 274"/>
                  <a:gd name="T31" fmla="*/ 190 h 331"/>
                  <a:gd name="T32" fmla="*/ 54 w 274"/>
                  <a:gd name="T33" fmla="*/ 87 h 331"/>
                  <a:gd name="T34" fmla="*/ 54 w 274"/>
                  <a:gd name="T35" fmla="*/ 77 h 331"/>
                  <a:gd name="T36" fmla="*/ 1 w 274"/>
                  <a:gd name="T37" fmla="*/ 1 h 331"/>
                  <a:gd name="T38" fmla="*/ 1 w 274"/>
                  <a:gd name="T39" fmla="*/ 0 h 331"/>
                  <a:gd name="T40" fmla="*/ 173 w 274"/>
                  <a:gd name="T41" fmla="*/ 0 h 331"/>
                  <a:gd name="T42" fmla="*/ 221 w 274"/>
                  <a:gd name="T43" fmla="*/ 100 h 331"/>
                  <a:gd name="T44" fmla="*/ 274 w 274"/>
                  <a:gd name="T45" fmla="*/ 193 h 331"/>
                  <a:gd name="T46" fmla="*/ 173 w 274"/>
                  <a:gd name="T47" fmla="*/ 80 h 331"/>
                  <a:gd name="T48" fmla="*/ 199 w 274"/>
                  <a:gd name="T49" fmla="*/ 78 h 331"/>
                  <a:gd name="T50" fmla="*/ 167 w 274"/>
                  <a:gd name="T51" fmla="*/ 67 h 331"/>
                  <a:gd name="T52" fmla="*/ 115 w 274"/>
                  <a:gd name="T53" fmla="*/ 93 h 331"/>
                  <a:gd name="T54" fmla="*/ 119 w 274"/>
                  <a:gd name="T55" fmla="*/ 95 h 331"/>
                  <a:gd name="T56" fmla="*/ 173 w 274"/>
                  <a:gd name="T57" fmla="*/ 80 h 331"/>
                  <a:gd name="T58" fmla="*/ 192 w 274"/>
                  <a:gd name="T59" fmla="*/ 124 h 331"/>
                  <a:gd name="T60" fmla="*/ 188 w 274"/>
                  <a:gd name="T61" fmla="*/ 110 h 331"/>
                  <a:gd name="T62" fmla="*/ 192 w 274"/>
                  <a:gd name="T63" fmla="*/ 105 h 331"/>
                  <a:gd name="T64" fmla="*/ 185 w 274"/>
                  <a:gd name="T65" fmla="*/ 98 h 331"/>
                  <a:gd name="T66" fmla="*/ 136 w 274"/>
                  <a:gd name="T67" fmla="*/ 118 h 331"/>
                  <a:gd name="T68" fmla="*/ 139 w 274"/>
                  <a:gd name="T69" fmla="*/ 123 h 331"/>
                  <a:gd name="T70" fmla="*/ 163 w 274"/>
                  <a:gd name="T71" fmla="*/ 115 h 331"/>
                  <a:gd name="T72" fmla="*/ 160 w 274"/>
                  <a:gd name="T73" fmla="*/ 122 h 331"/>
                  <a:gd name="T74" fmla="*/ 164 w 274"/>
                  <a:gd name="T75" fmla="*/ 138 h 331"/>
                  <a:gd name="T76" fmla="*/ 151 w 274"/>
                  <a:gd name="T77" fmla="*/ 140 h 331"/>
                  <a:gd name="T78" fmla="*/ 173 w 274"/>
                  <a:gd name="T79" fmla="*/ 145 h 331"/>
                  <a:gd name="T80" fmla="*/ 188 w 274"/>
                  <a:gd name="T81" fmla="*/ 140 h 331"/>
                  <a:gd name="T82" fmla="*/ 186 w 274"/>
                  <a:gd name="T83" fmla="*/ 139 h 331"/>
                  <a:gd name="T84" fmla="*/ 192 w 274"/>
                  <a:gd name="T85" fmla="*/ 124 h 331"/>
                  <a:gd name="T86" fmla="*/ 179 w 274"/>
                  <a:gd name="T87" fmla="*/ 112 h 331"/>
                  <a:gd name="T88" fmla="*/ 175 w 274"/>
                  <a:gd name="T89" fmla="*/ 121 h 331"/>
                  <a:gd name="T90" fmla="*/ 180 w 274"/>
                  <a:gd name="T91" fmla="*/ 129 h 331"/>
                  <a:gd name="T92" fmla="*/ 184 w 274"/>
                  <a:gd name="T93" fmla="*/ 120 h 331"/>
                  <a:gd name="T94" fmla="*/ 179 w 274"/>
                  <a:gd name="T95" fmla="*/ 11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4" h="331">
                    <a:moveTo>
                      <a:pt x="274" y="193"/>
                    </a:moveTo>
                    <a:cubicBezTo>
                      <a:pt x="274" y="201"/>
                      <a:pt x="267" y="203"/>
                      <a:pt x="244" y="212"/>
                    </a:cubicBezTo>
                    <a:cubicBezTo>
                      <a:pt x="244" y="212"/>
                      <a:pt x="243" y="215"/>
                      <a:pt x="243" y="221"/>
                    </a:cubicBezTo>
                    <a:cubicBezTo>
                      <a:pt x="243" y="231"/>
                      <a:pt x="249" y="239"/>
                      <a:pt x="249" y="244"/>
                    </a:cubicBezTo>
                    <a:cubicBezTo>
                      <a:pt x="249" y="249"/>
                      <a:pt x="240" y="253"/>
                      <a:pt x="240" y="253"/>
                    </a:cubicBezTo>
                    <a:cubicBezTo>
                      <a:pt x="240" y="253"/>
                      <a:pt x="245" y="258"/>
                      <a:pt x="245" y="262"/>
                    </a:cubicBezTo>
                    <a:cubicBezTo>
                      <a:pt x="245" y="265"/>
                      <a:pt x="228" y="276"/>
                      <a:pt x="228" y="276"/>
                    </a:cubicBezTo>
                    <a:cubicBezTo>
                      <a:pt x="228" y="276"/>
                      <a:pt x="214" y="331"/>
                      <a:pt x="188" y="331"/>
                    </a:cubicBezTo>
                    <a:cubicBezTo>
                      <a:pt x="51" y="331"/>
                      <a:pt x="51" y="331"/>
                      <a:pt x="51" y="331"/>
                    </a:cubicBezTo>
                    <a:cubicBezTo>
                      <a:pt x="50" y="331"/>
                      <a:pt x="50" y="331"/>
                      <a:pt x="51" y="331"/>
                    </a:cubicBezTo>
                    <a:cubicBezTo>
                      <a:pt x="61" y="327"/>
                      <a:pt x="70" y="299"/>
                      <a:pt x="70" y="284"/>
                    </a:cubicBezTo>
                    <a:cubicBezTo>
                      <a:pt x="70" y="268"/>
                      <a:pt x="84" y="268"/>
                      <a:pt x="84" y="255"/>
                    </a:cubicBezTo>
                    <a:cubicBezTo>
                      <a:pt x="84" y="249"/>
                      <a:pt x="81" y="248"/>
                      <a:pt x="81" y="248"/>
                    </a:cubicBezTo>
                    <a:cubicBezTo>
                      <a:pt x="81" y="248"/>
                      <a:pt x="91" y="246"/>
                      <a:pt x="91" y="239"/>
                    </a:cubicBezTo>
                    <a:cubicBezTo>
                      <a:pt x="91" y="235"/>
                      <a:pt x="83" y="216"/>
                      <a:pt x="83" y="216"/>
                    </a:cubicBezTo>
                    <a:cubicBezTo>
                      <a:pt x="89" y="214"/>
                      <a:pt x="110" y="205"/>
                      <a:pt x="110" y="190"/>
                    </a:cubicBezTo>
                    <a:cubicBezTo>
                      <a:pt x="110" y="162"/>
                      <a:pt x="54" y="116"/>
                      <a:pt x="54" y="87"/>
                    </a:cubicBezTo>
                    <a:cubicBezTo>
                      <a:pt x="54" y="87"/>
                      <a:pt x="54" y="78"/>
                      <a:pt x="54" y="77"/>
                    </a:cubicBezTo>
                    <a:cubicBezTo>
                      <a:pt x="54" y="28"/>
                      <a:pt x="8" y="4"/>
                      <a:pt x="1" y="1"/>
                    </a:cubicBezTo>
                    <a:cubicBezTo>
                      <a:pt x="0" y="0"/>
                      <a:pt x="0" y="0"/>
                      <a:pt x="1" y="0"/>
                    </a:cubicBezTo>
                    <a:cubicBezTo>
                      <a:pt x="173" y="0"/>
                      <a:pt x="173" y="0"/>
                      <a:pt x="173" y="0"/>
                    </a:cubicBezTo>
                    <a:cubicBezTo>
                      <a:pt x="191" y="0"/>
                      <a:pt x="221" y="13"/>
                      <a:pt x="221" y="100"/>
                    </a:cubicBezTo>
                    <a:cubicBezTo>
                      <a:pt x="221" y="127"/>
                      <a:pt x="274" y="167"/>
                      <a:pt x="274" y="193"/>
                    </a:cubicBezTo>
                    <a:moveTo>
                      <a:pt x="173" y="80"/>
                    </a:moveTo>
                    <a:cubicBezTo>
                      <a:pt x="186" y="80"/>
                      <a:pt x="199" y="85"/>
                      <a:pt x="199" y="78"/>
                    </a:cubicBezTo>
                    <a:cubicBezTo>
                      <a:pt x="199" y="72"/>
                      <a:pt x="180" y="67"/>
                      <a:pt x="167" y="67"/>
                    </a:cubicBezTo>
                    <a:cubicBezTo>
                      <a:pt x="134" y="67"/>
                      <a:pt x="115" y="88"/>
                      <a:pt x="115" y="93"/>
                    </a:cubicBezTo>
                    <a:cubicBezTo>
                      <a:pt x="115" y="95"/>
                      <a:pt x="119" y="95"/>
                      <a:pt x="119" y="95"/>
                    </a:cubicBezTo>
                    <a:cubicBezTo>
                      <a:pt x="131" y="95"/>
                      <a:pt x="140" y="80"/>
                      <a:pt x="173" y="80"/>
                    </a:cubicBezTo>
                    <a:moveTo>
                      <a:pt x="192" y="124"/>
                    </a:moveTo>
                    <a:cubicBezTo>
                      <a:pt x="192" y="118"/>
                      <a:pt x="188" y="110"/>
                      <a:pt x="188" y="110"/>
                    </a:cubicBezTo>
                    <a:cubicBezTo>
                      <a:pt x="188" y="110"/>
                      <a:pt x="192" y="109"/>
                      <a:pt x="192" y="105"/>
                    </a:cubicBezTo>
                    <a:cubicBezTo>
                      <a:pt x="192" y="102"/>
                      <a:pt x="191" y="98"/>
                      <a:pt x="185" y="98"/>
                    </a:cubicBezTo>
                    <a:cubicBezTo>
                      <a:pt x="170" y="98"/>
                      <a:pt x="136" y="106"/>
                      <a:pt x="136" y="118"/>
                    </a:cubicBezTo>
                    <a:cubicBezTo>
                      <a:pt x="136" y="119"/>
                      <a:pt x="136" y="123"/>
                      <a:pt x="139" y="123"/>
                    </a:cubicBezTo>
                    <a:cubicBezTo>
                      <a:pt x="143" y="123"/>
                      <a:pt x="163" y="115"/>
                      <a:pt x="163" y="115"/>
                    </a:cubicBezTo>
                    <a:cubicBezTo>
                      <a:pt x="160" y="117"/>
                      <a:pt x="160" y="122"/>
                      <a:pt x="160" y="122"/>
                    </a:cubicBezTo>
                    <a:cubicBezTo>
                      <a:pt x="160" y="131"/>
                      <a:pt x="164" y="138"/>
                      <a:pt x="164" y="138"/>
                    </a:cubicBezTo>
                    <a:cubicBezTo>
                      <a:pt x="155" y="138"/>
                      <a:pt x="151" y="138"/>
                      <a:pt x="151" y="140"/>
                    </a:cubicBezTo>
                    <a:cubicBezTo>
                      <a:pt x="151" y="142"/>
                      <a:pt x="159" y="145"/>
                      <a:pt x="173" y="145"/>
                    </a:cubicBezTo>
                    <a:cubicBezTo>
                      <a:pt x="188" y="145"/>
                      <a:pt x="188" y="141"/>
                      <a:pt x="188" y="140"/>
                    </a:cubicBezTo>
                    <a:cubicBezTo>
                      <a:pt x="188" y="139"/>
                      <a:pt x="186" y="139"/>
                      <a:pt x="186" y="139"/>
                    </a:cubicBezTo>
                    <a:cubicBezTo>
                      <a:pt x="186" y="139"/>
                      <a:pt x="192" y="133"/>
                      <a:pt x="192" y="124"/>
                    </a:cubicBezTo>
                    <a:moveTo>
                      <a:pt x="179" y="112"/>
                    </a:moveTo>
                    <a:cubicBezTo>
                      <a:pt x="176" y="113"/>
                      <a:pt x="175" y="117"/>
                      <a:pt x="175" y="121"/>
                    </a:cubicBezTo>
                    <a:cubicBezTo>
                      <a:pt x="176" y="126"/>
                      <a:pt x="178" y="129"/>
                      <a:pt x="180" y="129"/>
                    </a:cubicBezTo>
                    <a:cubicBezTo>
                      <a:pt x="183" y="129"/>
                      <a:pt x="184" y="125"/>
                      <a:pt x="184" y="120"/>
                    </a:cubicBezTo>
                    <a:cubicBezTo>
                      <a:pt x="183" y="116"/>
                      <a:pt x="181" y="112"/>
                      <a:pt x="179" y="112"/>
                    </a:cubicBezTo>
                  </a:path>
                </a:pathLst>
              </a:custGeom>
              <a:solidFill>
                <a:srgbClr val="00B0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a:extLst>
                  <a:ext uri="{FF2B5EF4-FFF2-40B4-BE49-F238E27FC236}">
                    <a16:creationId xmlns:a16="http://schemas.microsoft.com/office/drawing/2014/main" id="{945E3E87-2E82-40AC-8FAB-256C0961C35F}"/>
                  </a:ext>
                </a:extLst>
              </p:cNvPr>
              <p:cNvSpPr>
                <a:spLocks noEditPoints="1"/>
              </p:cNvSpPr>
              <p:nvPr userDrawn="1"/>
            </p:nvSpPr>
            <p:spPr bwMode="auto">
              <a:xfrm>
                <a:off x="7442200" y="4232276"/>
                <a:ext cx="538163" cy="723900"/>
              </a:xfrm>
              <a:custGeom>
                <a:avLst/>
                <a:gdLst>
                  <a:gd name="T0" fmla="*/ 174 w 247"/>
                  <a:gd name="T1" fmla="*/ 331 h 331"/>
                  <a:gd name="T2" fmla="*/ 18 w 247"/>
                  <a:gd name="T3" fmla="*/ 331 h 331"/>
                  <a:gd name="T4" fmla="*/ 0 w 247"/>
                  <a:gd name="T5" fmla="*/ 0 h 331"/>
                  <a:gd name="T6" fmla="*/ 116 w 247"/>
                  <a:gd name="T7" fmla="*/ 0 h 331"/>
                  <a:gd name="T8" fmla="*/ 191 w 247"/>
                  <a:gd name="T9" fmla="*/ 75 h 331"/>
                  <a:gd name="T10" fmla="*/ 193 w 247"/>
                  <a:gd name="T11" fmla="*/ 102 h 331"/>
                  <a:gd name="T12" fmla="*/ 247 w 247"/>
                  <a:gd name="T13" fmla="*/ 189 h 331"/>
                  <a:gd name="T14" fmla="*/ 219 w 247"/>
                  <a:gd name="T15" fmla="*/ 208 h 331"/>
                  <a:gd name="T16" fmla="*/ 219 w 247"/>
                  <a:gd name="T17" fmla="*/ 213 h 331"/>
                  <a:gd name="T18" fmla="*/ 223 w 247"/>
                  <a:gd name="T19" fmla="*/ 235 h 331"/>
                  <a:gd name="T20" fmla="*/ 216 w 247"/>
                  <a:gd name="T21" fmla="*/ 241 h 331"/>
                  <a:gd name="T22" fmla="*/ 208 w 247"/>
                  <a:gd name="T23" fmla="*/ 243 h 331"/>
                  <a:gd name="T24" fmla="*/ 221 w 247"/>
                  <a:gd name="T25" fmla="*/ 252 h 331"/>
                  <a:gd name="T26" fmla="*/ 209 w 247"/>
                  <a:gd name="T27" fmla="*/ 281 h 331"/>
                  <a:gd name="T28" fmla="*/ 209 w 247"/>
                  <a:gd name="T29" fmla="*/ 285 h 331"/>
                  <a:gd name="T30" fmla="*/ 174 w 247"/>
                  <a:gd name="T31" fmla="*/ 331 h 331"/>
                  <a:gd name="T32" fmla="*/ 167 w 247"/>
                  <a:gd name="T33" fmla="*/ 85 h 331"/>
                  <a:gd name="T34" fmla="*/ 176 w 247"/>
                  <a:gd name="T35" fmla="*/ 73 h 331"/>
                  <a:gd name="T36" fmla="*/ 171 w 247"/>
                  <a:gd name="T37" fmla="*/ 71 h 331"/>
                  <a:gd name="T38" fmla="*/ 130 w 247"/>
                  <a:gd name="T39" fmla="*/ 69 h 331"/>
                  <a:gd name="T40" fmla="*/ 89 w 247"/>
                  <a:gd name="T41" fmla="*/ 84 h 331"/>
                  <a:gd name="T42" fmla="*/ 93 w 247"/>
                  <a:gd name="T43" fmla="*/ 87 h 331"/>
                  <a:gd name="T44" fmla="*/ 126 w 247"/>
                  <a:gd name="T45" fmla="*/ 83 h 331"/>
                  <a:gd name="T46" fmla="*/ 167 w 247"/>
                  <a:gd name="T47" fmla="*/ 85 h 331"/>
                  <a:gd name="T48" fmla="*/ 161 w 247"/>
                  <a:gd name="T49" fmla="*/ 145 h 331"/>
                  <a:gd name="T50" fmla="*/ 159 w 247"/>
                  <a:gd name="T51" fmla="*/ 143 h 331"/>
                  <a:gd name="T52" fmla="*/ 162 w 247"/>
                  <a:gd name="T53" fmla="*/ 130 h 331"/>
                  <a:gd name="T54" fmla="*/ 158 w 247"/>
                  <a:gd name="T55" fmla="*/ 117 h 331"/>
                  <a:gd name="T56" fmla="*/ 162 w 247"/>
                  <a:gd name="T57" fmla="*/ 112 h 331"/>
                  <a:gd name="T58" fmla="*/ 151 w 247"/>
                  <a:gd name="T59" fmla="*/ 106 h 331"/>
                  <a:gd name="T60" fmla="*/ 105 w 247"/>
                  <a:gd name="T61" fmla="*/ 127 h 331"/>
                  <a:gd name="T62" fmla="*/ 111 w 247"/>
                  <a:gd name="T63" fmla="*/ 131 h 331"/>
                  <a:gd name="T64" fmla="*/ 134 w 247"/>
                  <a:gd name="T65" fmla="*/ 124 h 331"/>
                  <a:gd name="T66" fmla="*/ 135 w 247"/>
                  <a:gd name="T67" fmla="*/ 127 h 331"/>
                  <a:gd name="T68" fmla="*/ 138 w 247"/>
                  <a:gd name="T69" fmla="*/ 142 h 331"/>
                  <a:gd name="T70" fmla="*/ 126 w 247"/>
                  <a:gd name="T71" fmla="*/ 144 h 331"/>
                  <a:gd name="T72" fmla="*/ 147 w 247"/>
                  <a:gd name="T73" fmla="*/ 150 h 331"/>
                  <a:gd name="T74" fmla="*/ 161 w 247"/>
                  <a:gd name="T75" fmla="*/ 145 h 331"/>
                  <a:gd name="T76" fmla="*/ 149 w 247"/>
                  <a:gd name="T77" fmla="*/ 121 h 331"/>
                  <a:gd name="T78" fmla="*/ 146 w 247"/>
                  <a:gd name="T79" fmla="*/ 130 h 331"/>
                  <a:gd name="T80" fmla="*/ 152 w 247"/>
                  <a:gd name="T81" fmla="*/ 137 h 331"/>
                  <a:gd name="T82" fmla="*/ 155 w 247"/>
                  <a:gd name="T83" fmla="*/ 128 h 331"/>
                  <a:gd name="T84" fmla="*/ 149 w 247"/>
                  <a:gd name="T85" fmla="*/ 12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7" h="331">
                    <a:moveTo>
                      <a:pt x="174" y="331"/>
                    </a:moveTo>
                    <a:cubicBezTo>
                      <a:pt x="140" y="331"/>
                      <a:pt x="18" y="331"/>
                      <a:pt x="18" y="331"/>
                    </a:cubicBezTo>
                    <a:cubicBezTo>
                      <a:pt x="81" y="166"/>
                      <a:pt x="0" y="139"/>
                      <a:pt x="0" y="0"/>
                    </a:cubicBezTo>
                    <a:cubicBezTo>
                      <a:pt x="116" y="0"/>
                      <a:pt x="116" y="0"/>
                      <a:pt x="116" y="0"/>
                    </a:cubicBezTo>
                    <a:cubicBezTo>
                      <a:pt x="150" y="0"/>
                      <a:pt x="191" y="45"/>
                      <a:pt x="191" y="75"/>
                    </a:cubicBezTo>
                    <a:cubicBezTo>
                      <a:pt x="191" y="75"/>
                      <a:pt x="191" y="87"/>
                      <a:pt x="193" y="102"/>
                    </a:cubicBezTo>
                    <a:cubicBezTo>
                      <a:pt x="195" y="117"/>
                      <a:pt x="247" y="170"/>
                      <a:pt x="247" y="189"/>
                    </a:cubicBezTo>
                    <a:cubicBezTo>
                      <a:pt x="247" y="198"/>
                      <a:pt x="219" y="208"/>
                      <a:pt x="219" y="208"/>
                    </a:cubicBezTo>
                    <a:cubicBezTo>
                      <a:pt x="219" y="208"/>
                      <a:pt x="219" y="210"/>
                      <a:pt x="219" y="213"/>
                    </a:cubicBezTo>
                    <a:cubicBezTo>
                      <a:pt x="219" y="220"/>
                      <a:pt x="223" y="230"/>
                      <a:pt x="223" y="235"/>
                    </a:cubicBezTo>
                    <a:cubicBezTo>
                      <a:pt x="223" y="235"/>
                      <a:pt x="222" y="240"/>
                      <a:pt x="216" y="241"/>
                    </a:cubicBezTo>
                    <a:cubicBezTo>
                      <a:pt x="216" y="241"/>
                      <a:pt x="209" y="242"/>
                      <a:pt x="208" y="243"/>
                    </a:cubicBezTo>
                    <a:cubicBezTo>
                      <a:pt x="208" y="244"/>
                      <a:pt x="221" y="243"/>
                      <a:pt x="221" y="252"/>
                    </a:cubicBezTo>
                    <a:cubicBezTo>
                      <a:pt x="221" y="262"/>
                      <a:pt x="209" y="260"/>
                      <a:pt x="209" y="281"/>
                    </a:cubicBezTo>
                    <a:cubicBezTo>
                      <a:pt x="209" y="281"/>
                      <a:pt x="209" y="283"/>
                      <a:pt x="209" y="285"/>
                    </a:cubicBezTo>
                    <a:cubicBezTo>
                      <a:pt x="209" y="312"/>
                      <a:pt x="189" y="331"/>
                      <a:pt x="174" y="331"/>
                    </a:cubicBezTo>
                    <a:moveTo>
                      <a:pt x="167" y="85"/>
                    </a:moveTo>
                    <a:cubicBezTo>
                      <a:pt x="173" y="85"/>
                      <a:pt x="176" y="79"/>
                      <a:pt x="176" y="73"/>
                    </a:cubicBezTo>
                    <a:cubicBezTo>
                      <a:pt x="176" y="72"/>
                      <a:pt x="175" y="71"/>
                      <a:pt x="171" y="71"/>
                    </a:cubicBezTo>
                    <a:cubicBezTo>
                      <a:pt x="163" y="71"/>
                      <a:pt x="149" y="69"/>
                      <a:pt x="130" y="69"/>
                    </a:cubicBezTo>
                    <a:cubicBezTo>
                      <a:pt x="96" y="69"/>
                      <a:pt x="89" y="81"/>
                      <a:pt x="89" y="84"/>
                    </a:cubicBezTo>
                    <a:cubicBezTo>
                      <a:pt x="89" y="87"/>
                      <a:pt x="93" y="87"/>
                      <a:pt x="93" y="87"/>
                    </a:cubicBezTo>
                    <a:cubicBezTo>
                      <a:pt x="99" y="87"/>
                      <a:pt x="108" y="83"/>
                      <a:pt x="126" y="83"/>
                    </a:cubicBezTo>
                    <a:cubicBezTo>
                      <a:pt x="144" y="83"/>
                      <a:pt x="167" y="85"/>
                      <a:pt x="167" y="85"/>
                    </a:cubicBezTo>
                    <a:moveTo>
                      <a:pt x="161" y="145"/>
                    </a:moveTo>
                    <a:cubicBezTo>
                      <a:pt x="161" y="143"/>
                      <a:pt x="159" y="143"/>
                      <a:pt x="159" y="143"/>
                    </a:cubicBezTo>
                    <a:cubicBezTo>
                      <a:pt x="159" y="143"/>
                      <a:pt x="162" y="137"/>
                      <a:pt x="162" y="130"/>
                    </a:cubicBezTo>
                    <a:cubicBezTo>
                      <a:pt x="162" y="124"/>
                      <a:pt x="158" y="118"/>
                      <a:pt x="158" y="117"/>
                    </a:cubicBezTo>
                    <a:cubicBezTo>
                      <a:pt x="158" y="116"/>
                      <a:pt x="162" y="115"/>
                      <a:pt x="162" y="112"/>
                    </a:cubicBezTo>
                    <a:cubicBezTo>
                      <a:pt x="162" y="110"/>
                      <a:pt x="158" y="106"/>
                      <a:pt x="151" y="106"/>
                    </a:cubicBezTo>
                    <a:cubicBezTo>
                      <a:pt x="126" y="106"/>
                      <a:pt x="105" y="122"/>
                      <a:pt x="105" y="127"/>
                    </a:cubicBezTo>
                    <a:cubicBezTo>
                      <a:pt x="105" y="129"/>
                      <a:pt x="106" y="131"/>
                      <a:pt x="111" y="131"/>
                    </a:cubicBezTo>
                    <a:cubicBezTo>
                      <a:pt x="121" y="131"/>
                      <a:pt x="133" y="124"/>
                      <a:pt x="134" y="124"/>
                    </a:cubicBezTo>
                    <a:cubicBezTo>
                      <a:pt x="134" y="124"/>
                      <a:pt x="135" y="124"/>
                      <a:pt x="135" y="127"/>
                    </a:cubicBezTo>
                    <a:cubicBezTo>
                      <a:pt x="135" y="134"/>
                      <a:pt x="138" y="142"/>
                      <a:pt x="138" y="142"/>
                    </a:cubicBezTo>
                    <a:cubicBezTo>
                      <a:pt x="138" y="142"/>
                      <a:pt x="126" y="140"/>
                      <a:pt x="126" y="144"/>
                    </a:cubicBezTo>
                    <a:cubicBezTo>
                      <a:pt x="126" y="148"/>
                      <a:pt x="136" y="150"/>
                      <a:pt x="147" y="150"/>
                    </a:cubicBezTo>
                    <a:cubicBezTo>
                      <a:pt x="159" y="150"/>
                      <a:pt x="161" y="146"/>
                      <a:pt x="161" y="145"/>
                    </a:cubicBezTo>
                    <a:moveTo>
                      <a:pt x="149" y="121"/>
                    </a:moveTo>
                    <a:cubicBezTo>
                      <a:pt x="147" y="121"/>
                      <a:pt x="145" y="125"/>
                      <a:pt x="146" y="130"/>
                    </a:cubicBezTo>
                    <a:cubicBezTo>
                      <a:pt x="147" y="134"/>
                      <a:pt x="150" y="137"/>
                      <a:pt x="152" y="137"/>
                    </a:cubicBezTo>
                    <a:cubicBezTo>
                      <a:pt x="154" y="136"/>
                      <a:pt x="156" y="132"/>
                      <a:pt x="155" y="128"/>
                    </a:cubicBezTo>
                    <a:cubicBezTo>
                      <a:pt x="154" y="124"/>
                      <a:pt x="151" y="120"/>
                      <a:pt x="149" y="121"/>
                    </a:cubicBezTo>
                  </a:path>
                </a:pathLst>
              </a:custGeom>
              <a:solidFill>
                <a:srgbClr val="5F2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7" name="Picture 26" descr="A drawing of a face&#10;&#10;Description automatically generated">
              <a:extLst>
                <a:ext uri="{FF2B5EF4-FFF2-40B4-BE49-F238E27FC236}">
                  <a16:creationId xmlns:a16="http://schemas.microsoft.com/office/drawing/2014/main" id="{7D1CA331-7C7F-43A8-A9B2-99BA0443C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15148" y="4424972"/>
              <a:ext cx="2152851" cy="1029913"/>
            </a:xfrm>
            <a:prstGeom prst="rect">
              <a:avLst/>
            </a:prstGeom>
          </p:spPr>
        </p:pic>
      </p:grpSp>
    </p:spTree>
    <p:extLst>
      <p:ext uri="{BB962C8B-B14F-4D97-AF65-F5344CB8AC3E}">
        <p14:creationId xmlns:p14="http://schemas.microsoft.com/office/powerpoint/2010/main" val="2896743304"/>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634E7-C28A-4E31-8F98-AC7EA5F7A88B}"/>
              </a:ext>
            </a:extLst>
          </p:cNvPr>
          <p:cNvSpPr>
            <a:spLocks noGrp="1"/>
          </p:cNvSpPr>
          <p:nvPr>
            <p:ph type="title"/>
          </p:nvPr>
        </p:nvSpPr>
        <p:spPr>
          <a:xfrm>
            <a:off x="710610" y="2261228"/>
            <a:ext cx="10770781" cy="2335544"/>
          </a:xfrm>
        </p:spPr>
        <p:txBody>
          <a:bodyPr/>
          <a:lstStyle>
            <a:lvl1pPr algn="ctr">
              <a:defRPr/>
            </a:lvl1pPr>
          </a:lstStyle>
          <a:p>
            <a:r>
              <a:rPr lang="en-US"/>
              <a:t>Click to edit Master title style</a:t>
            </a:r>
          </a:p>
        </p:txBody>
      </p:sp>
      <p:sp>
        <p:nvSpPr>
          <p:cNvPr id="4" name="Rectangle 3">
            <a:extLst>
              <a:ext uri="{FF2B5EF4-FFF2-40B4-BE49-F238E27FC236}">
                <a16:creationId xmlns:a16="http://schemas.microsoft.com/office/drawing/2014/main" id="{144CF3BA-5F58-4EF2-85FE-48758CD57A31}"/>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1786438"/>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4CF3BA-5F58-4EF2-85FE-48758CD57A31}"/>
              </a:ext>
            </a:extLst>
          </p:cNvPr>
          <p:cNvSpPr/>
          <p:nvPr userDrawn="1"/>
        </p:nvSpPr>
        <p:spPr>
          <a:xfrm>
            <a:off x="0" y="2346"/>
            <a:ext cx="12192000" cy="6855654"/>
          </a:xfrm>
          <a:prstGeom prst="rect">
            <a:avLst/>
          </a:prstGeom>
          <a:gradFill>
            <a:gsLst>
              <a:gs pos="3000">
                <a:srgbClr val="FF00FF"/>
              </a:gs>
              <a:gs pos="100000">
                <a:srgbClr val="FFFF0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D634E7-C28A-4E31-8F98-AC7EA5F7A88B}"/>
              </a:ext>
            </a:extLst>
          </p:cNvPr>
          <p:cNvSpPr>
            <a:spLocks noGrp="1"/>
          </p:cNvSpPr>
          <p:nvPr>
            <p:ph type="title"/>
          </p:nvPr>
        </p:nvSpPr>
        <p:spPr>
          <a:xfrm>
            <a:off x="710610" y="2261228"/>
            <a:ext cx="10770781" cy="2335544"/>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60193958"/>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4CF3BA-5F58-4EF2-85FE-48758CD57A31}"/>
              </a:ext>
            </a:extLst>
          </p:cNvPr>
          <p:cNvSpPr/>
          <p:nvPr userDrawn="1"/>
        </p:nvSpPr>
        <p:spPr>
          <a:xfrm>
            <a:off x="0" y="2346"/>
            <a:ext cx="12192000" cy="6855654"/>
          </a:xfrm>
          <a:prstGeom prst="rect">
            <a:avLst/>
          </a:prstGeom>
          <a:solidFill>
            <a:srgbClr val="8DC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D634E7-C28A-4E31-8F98-AC7EA5F7A88B}"/>
              </a:ext>
            </a:extLst>
          </p:cNvPr>
          <p:cNvSpPr>
            <a:spLocks noGrp="1"/>
          </p:cNvSpPr>
          <p:nvPr>
            <p:ph type="title"/>
          </p:nvPr>
        </p:nvSpPr>
        <p:spPr>
          <a:xfrm>
            <a:off x="710610" y="2261228"/>
            <a:ext cx="10770781" cy="2335544"/>
          </a:xfrm>
        </p:spPr>
        <p:txBody>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72300590"/>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Title &amp; Sub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53070-1865-44B8-81D1-4293E42ADDF3}"/>
              </a:ext>
            </a:extLst>
          </p:cNvPr>
          <p:cNvSpPr>
            <a:spLocks noGrp="1"/>
          </p:cNvSpPr>
          <p:nvPr>
            <p:ph type="title"/>
          </p:nvPr>
        </p:nvSpPr>
        <p:spPr>
          <a:xfrm>
            <a:off x="831850" y="768350"/>
            <a:ext cx="10515600" cy="840083"/>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4A378851-1030-476F-80C1-8885C47E2ABF}"/>
              </a:ext>
            </a:extLst>
          </p:cNvPr>
          <p:cNvSpPr>
            <a:spLocks noGrp="1"/>
          </p:cNvSpPr>
          <p:nvPr>
            <p:ph type="body" idx="1"/>
          </p:nvPr>
        </p:nvSpPr>
        <p:spPr>
          <a:xfrm>
            <a:off x="831850" y="1732112"/>
            <a:ext cx="10515600" cy="50072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Rectangle 8">
            <a:extLst>
              <a:ext uri="{FF2B5EF4-FFF2-40B4-BE49-F238E27FC236}">
                <a16:creationId xmlns:a16="http://schemas.microsoft.com/office/drawing/2014/main" id="{60E9F3DB-2884-4DA0-876D-A31839E73355}"/>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2217724"/>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26E5C-7290-4C3D-BE57-4DAE18BA1748}"/>
              </a:ext>
            </a:extLst>
          </p:cNvPr>
          <p:cNvSpPr>
            <a:spLocks noGrp="1"/>
          </p:cNvSpPr>
          <p:nvPr>
            <p:ph type="title"/>
          </p:nvPr>
        </p:nvSpPr>
        <p:spPr>
          <a:xfrm>
            <a:off x="838200" y="850605"/>
            <a:ext cx="10515600" cy="8400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A5EE32CF-2F75-445B-B649-3585D8890169}"/>
              </a:ext>
            </a:extLst>
          </p:cNvPr>
          <p:cNvSpPr>
            <a:spLocks noGrp="1"/>
          </p:cNvSpPr>
          <p:nvPr>
            <p:ph idx="1"/>
          </p:nvPr>
        </p:nvSpPr>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FAF6E66C-FE42-4749-9A97-B5CE0B825B99}"/>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4968842"/>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itle &amp;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5B3BE-9B44-454B-B370-8C0CC0AB52AE}"/>
              </a:ext>
            </a:extLst>
          </p:cNvPr>
          <p:cNvSpPr>
            <a:spLocks noGrp="1"/>
          </p:cNvSpPr>
          <p:nvPr>
            <p:ph type="title"/>
          </p:nvPr>
        </p:nvSpPr>
        <p:spPr>
          <a:xfrm>
            <a:off x="838200" y="850605"/>
            <a:ext cx="10515600" cy="8400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50745204-D467-4CE6-9F9D-95997C1B2DA9}"/>
              </a:ext>
            </a:extLst>
          </p:cNvPr>
          <p:cNvSpPr>
            <a:spLocks noGrp="1"/>
          </p:cNvSpPr>
          <p:nvPr>
            <p:ph sz="half" idx="1"/>
          </p:nvPr>
        </p:nvSpPr>
        <p:spPr>
          <a:xfrm>
            <a:off x="838200" y="1825625"/>
            <a:ext cx="5181600" cy="4351338"/>
          </a:xfrm>
        </p:spPr>
        <p:txBody>
          <a:bodyPr/>
          <a:lstStyle>
            <a:lvl1pPr>
              <a:lnSpc>
                <a:spcPct val="150000"/>
              </a:lnSpc>
              <a:defRPr sz="2400"/>
            </a:lvl1pPr>
            <a:lvl2pPr>
              <a:lnSpc>
                <a:spcPct val="150000"/>
              </a:lnSpc>
              <a:defRPr sz="2000"/>
            </a:lvl2pPr>
            <a:lvl3pPr>
              <a:lnSpc>
                <a:spcPct val="150000"/>
              </a:lnSpc>
              <a:defRPr sz="1600"/>
            </a:lvl3pPr>
            <a:lvl4pPr>
              <a:lnSpc>
                <a:spcPct val="150000"/>
              </a:lnSpc>
              <a:defRPr sz="1400"/>
            </a:lvl4pPr>
            <a:lvl5pPr>
              <a:lnSpc>
                <a:spcPct val="15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0536C7-235F-4D82-B841-105BFE576069}"/>
              </a:ext>
            </a:extLst>
          </p:cNvPr>
          <p:cNvSpPr>
            <a:spLocks noGrp="1"/>
          </p:cNvSpPr>
          <p:nvPr>
            <p:ph sz="half" idx="2"/>
          </p:nvPr>
        </p:nvSpPr>
        <p:spPr>
          <a:xfrm>
            <a:off x="6172200" y="1825625"/>
            <a:ext cx="5181600" cy="4351338"/>
          </a:xfrm>
        </p:spPr>
        <p:txBody>
          <a:bodyPr/>
          <a:lstStyle>
            <a:lvl1pPr>
              <a:lnSpc>
                <a:spcPct val="150000"/>
              </a:lnSpc>
              <a:defRPr sz="2400"/>
            </a:lvl1pPr>
            <a:lvl2pPr>
              <a:lnSpc>
                <a:spcPct val="150000"/>
              </a:lnSpc>
              <a:defRPr sz="2000"/>
            </a:lvl2pPr>
            <a:lvl3pPr>
              <a:lnSpc>
                <a:spcPct val="150000"/>
              </a:lnSpc>
              <a:defRPr sz="1600"/>
            </a:lvl3pPr>
            <a:lvl4pPr>
              <a:lnSpc>
                <a:spcPct val="150000"/>
              </a:lnSpc>
              <a:defRPr sz="1400"/>
            </a:lvl4pPr>
            <a:lvl5pPr>
              <a:lnSpc>
                <a:spcPct val="15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49F66DA6-1C40-4166-87BC-740FC3124054}"/>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0448831"/>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Title &amp; Content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B1C67-A1D9-4571-A8D1-B725F2586B15}"/>
              </a:ext>
            </a:extLst>
          </p:cNvPr>
          <p:cNvSpPr>
            <a:spLocks noGrp="1"/>
          </p:cNvSpPr>
          <p:nvPr>
            <p:ph type="title"/>
          </p:nvPr>
        </p:nvSpPr>
        <p:spPr>
          <a:xfrm>
            <a:off x="839788" y="866776"/>
            <a:ext cx="10515600" cy="823912"/>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DCA859-6A74-44A1-A4C3-D86AB405C4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111423-5814-485D-B9E1-9630BEAAF934}"/>
              </a:ext>
            </a:extLst>
          </p:cNvPr>
          <p:cNvSpPr>
            <a:spLocks noGrp="1"/>
          </p:cNvSpPr>
          <p:nvPr>
            <p:ph sz="half" idx="2"/>
          </p:nvPr>
        </p:nvSpPr>
        <p:spPr>
          <a:xfrm>
            <a:off x="839788" y="2505075"/>
            <a:ext cx="5157787" cy="3684588"/>
          </a:xfrm>
        </p:spPr>
        <p:txBody>
          <a:bodyPr/>
          <a:lstStyle>
            <a:lvl1pPr>
              <a:lnSpc>
                <a:spcPct val="150000"/>
              </a:lnSpc>
              <a:defRPr sz="2400"/>
            </a:lvl1pPr>
            <a:lvl2pPr>
              <a:lnSpc>
                <a:spcPct val="150000"/>
              </a:lnSpc>
              <a:defRPr sz="2000"/>
            </a:lvl2pPr>
            <a:lvl3pPr>
              <a:lnSpc>
                <a:spcPct val="150000"/>
              </a:lnSpc>
              <a:defRPr sz="1600"/>
            </a:lvl3pPr>
            <a:lvl4pPr>
              <a:lnSpc>
                <a:spcPct val="150000"/>
              </a:lnSpc>
              <a:defRPr sz="1400"/>
            </a:lvl4pPr>
            <a:lvl5pPr>
              <a:lnSpc>
                <a:spcPct val="15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3EC0ED-F579-4640-9034-7EF1305A87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A10C34-E136-4CA0-AA3F-FDF4FA90FE46}"/>
              </a:ext>
            </a:extLst>
          </p:cNvPr>
          <p:cNvSpPr>
            <a:spLocks noGrp="1"/>
          </p:cNvSpPr>
          <p:nvPr>
            <p:ph sz="quarter" idx="4"/>
          </p:nvPr>
        </p:nvSpPr>
        <p:spPr>
          <a:xfrm>
            <a:off x="6172200" y="2505075"/>
            <a:ext cx="5183188" cy="3684588"/>
          </a:xfrm>
        </p:spPr>
        <p:txBody>
          <a:bodyPr/>
          <a:lstStyle>
            <a:lvl1pPr>
              <a:lnSpc>
                <a:spcPct val="150000"/>
              </a:lnSpc>
              <a:defRPr sz="2400"/>
            </a:lvl1pPr>
            <a:lvl2pPr>
              <a:lnSpc>
                <a:spcPct val="150000"/>
              </a:lnSpc>
              <a:defRPr sz="2000"/>
            </a:lvl2pPr>
            <a:lvl3pPr>
              <a:lnSpc>
                <a:spcPct val="150000"/>
              </a:lnSpc>
              <a:defRPr sz="1600"/>
            </a:lvl3pPr>
            <a:lvl4pPr>
              <a:lnSpc>
                <a:spcPct val="150000"/>
              </a:lnSpc>
              <a:defRPr sz="1400"/>
            </a:lvl4pPr>
            <a:lvl5pPr>
              <a:lnSpc>
                <a:spcPct val="15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EBCDFCB-3D05-47A8-98AA-50527E878B15}"/>
              </a:ext>
            </a:extLst>
          </p:cNvPr>
          <p:cNvSpPr>
            <a:spLocks noGrp="1"/>
          </p:cNvSpPr>
          <p:nvPr>
            <p:ph type="dt" sz="half" idx="10"/>
          </p:nvPr>
        </p:nvSpPr>
        <p:spPr/>
        <p:txBody>
          <a:bodyPr/>
          <a:lstStyle/>
          <a:p>
            <a:fld id="{43297412-5E79-43B5-AF58-8AFFD8565574}" type="datetimeFigureOut">
              <a:rPr lang="en-US" smtClean="0"/>
              <a:t>5/21/20</a:t>
            </a:fld>
            <a:endParaRPr lang="en-US"/>
          </a:p>
        </p:txBody>
      </p:sp>
      <p:sp>
        <p:nvSpPr>
          <p:cNvPr id="8" name="Footer Placeholder 7">
            <a:extLst>
              <a:ext uri="{FF2B5EF4-FFF2-40B4-BE49-F238E27FC236}">
                <a16:creationId xmlns:a16="http://schemas.microsoft.com/office/drawing/2014/main" id="{C1A515EC-2FB2-431C-AEE9-243B7A80F5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F57EBF9-8289-4340-9FD1-EC5A7555A196}"/>
              </a:ext>
            </a:extLst>
          </p:cNvPr>
          <p:cNvSpPr>
            <a:spLocks noGrp="1"/>
          </p:cNvSpPr>
          <p:nvPr>
            <p:ph type="sldNum" sz="quarter" idx="12"/>
          </p:nvPr>
        </p:nvSpPr>
        <p:spPr/>
        <p:txBody>
          <a:bodyPr/>
          <a:lstStyle/>
          <a:p>
            <a:fld id="{3B617A09-B3FB-48FB-ACEC-ECEB6CE305A0}" type="slidenum">
              <a:rPr lang="en-US" smtClean="0"/>
              <a:t>‹#›</a:t>
            </a:fld>
            <a:endParaRPr lang="en-US"/>
          </a:p>
        </p:txBody>
      </p:sp>
      <p:sp>
        <p:nvSpPr>
          <p:cNvPr id="11" name="Rectangle 10">
            <a:extLst>
              <a:ext uri="{FF2B5EF4-FFF2-40B4-BE49-F238E27FC236}">
                <a16:creationId xmlns:a16="http://schemas.microsoft.com/office/drawing/2014/main" id="{0B645D4E-B048-4375-BE16-249B87892300}"/>
              </a:ext>
            </a:extLst>
          </p:cNvPr>
          <p:cNvSpPr/>
          <p:nvPr userDrawn="1"/>
        </p:nvSpPr>
        <p:spPr>
          <a:xfrm>
            <a:off x="0" y="2346"/>
            <a:ext cx="12192000" cy="262350"/>
          </a:xfrm>
          <a:prstGeom prst="rect">
            <a:avLst/>
          </a:prstGeom>
          <a:gradFill>
            <a:gsLst>
              <a:gs pos="3000">
                <a:srgbClr val="FF00FF"/>
              </a:gs>
              <a:gs pos="100000">
                <a:srgbClr val="FFF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5440304"/>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988B78-C4FD-4A0D-95CB-77980BC76B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50D1CBE-BBF6-4684-8785-CD38014AA4E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24DA22-E963-426E-A0C1-635A7D6CC1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297412-5E79-43B5-AF58-8AFFD8565574}" type="datetimeFigureOut">
              <a:rPr lang="en-US" smtClean="0"/>
              <a:t>5/21/20</a:t>
            </a:fld>
            <a:endParaRPr lang="en-US"/>
          </a:p>
        </p:txBody>
      </p:sp>
      <p:sp>
        <p:nvSpPr>
          <p:cNvPr id="5" name="Footer Placeholder 4">
            <a:extLst>
              <a:ext uri="{FF2B5EF4-FFF2-40B4-BE49-F238E27FC236}">
                <a16:creationId xmlns:a16="http://schemas.microsoft.com/office/drawing/2014/main" id="{E6D6DDF8-4EA6-4B68-805D-001A383ED5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506515-9996-40E2-AE29-9915A78C7B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617A09-B3FB-48FB-ACEC-ECEB6CE305A0}" type="slidenum">
              <a:rPr lang="en-US" smtClean="0"/>
              <a:t>‹#›</a:t>
            </a:fld>
            <a:endParaRPr lang="en-US"/>
          </a:p>
        </p:txBody>
      </p:sp>
    </p:spTree>
    <p:extLst>
      <p:ext uri="{BB962C8B-B14F-4D97-AF65-F5344CB8AC3E}">
        <p14:creationId xmlns:p14="http://schemas.microsoft.com/office/powerpoint/2010/main" val="380967885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4" r:id="rId3"/>
    <p:sldLayoutId id="2147483664" r:id="rId4"/>
    <p:sldLayoutId id="2147483665" r:id="rId5"/>
    <p:sldLayoutId id="2147483651" r:id="rId6"/>
    <p:sldLayoutId id="2147483650" r:id="rId7"/>
    <p:sldLayoutId id="2147483652" r:id="rId8"/>
    <p:sldLayoutId id="2147483653" r:id="rId9"/>
    <p:sldLayoutId id="2147483657" r:id="rId10"/>
    <p:sldLayoutId id="2147483659" r:id="rId11"/>
    <p:sldLayoutId id="2147483656" r:id="rId12"/>
    <p:sldLayoutId id="2147483658" r:id="rId13"/>
    <p:sldLayoutId id="2147483662" r:id="rId14"/>
    <p:sldLayoutId id="2147483655" r:id="rId15"/>
    <p:sldLayoutId id="214748366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hyperlink" Target="http://www.sanbi.ac.za/" TargetMode="Externa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hyperlink" Target="http://www.asbcb.org/" TargetMode="External"/><Relationship Id="rId5" Type="http://schemas.openxmlformats.org/officeDocument/2006/relationships/hyperlink" Target="http://h3abionet.org/" TargetMode="External"/><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5.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5.png"/><Relationship Id="rId5" Type="http://schemas.openxmlformats.org/officeDocument/2006/relationships/image" Target="../media/image8.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1.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audio" Target="../media/media5.m4a"/><Relationship Id="rId66" Type="http://schemas.openxmlformats.org/officeDocument/2006/relationships/image" Target="../media/image5.png"/><Relationship Id="rId5" Type="http://schemas.openxmlformats.org/officeDocument/2006/relationships/tags" Target="../tags/tag5.xml"/><Relationship Id="rId61" Type="http://schemas.openxmlformats.org/officeDocument/2006/relationships/tags" Target="../tags/tag59.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slideLayout" Target="../slideLayouts/slideLayout7.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0.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microsoft.com/office/2007/relationships/media" Target="../media/media5.m4a"/><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58.xml"/><Relationship Id="rId65" Type="http://schemas.openxmlformats.org/officeDocument/2006/relationships/notesSlide" Target="../notesSlides/notesSlide5.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hyperlink" Target="https://submit.ncbi.nlm.nih.gov/subs/sra/" TargetMode="External"/><Relationship Id="rId5" Type="http://schemas.openxmlformats.org/officeDocument/2006/relationships/hyperlink" Target="https://www.gisaid.org/" TargetMode="Externa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7.m4a"/><Relationship Id="rId1" Type="http://schemas.microsoft.com/office/2007/relationships/media" Target="../media/media7.m4a"/><Relationship Id="rId5" Type="http://schemas.openxmlformats.org/officeDocument/2006/relationships/image" Target="../media/image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136DB-C191-45CD-A7F2-37FDEAD63865}"/>
              </a:ext>
            </a:extLst>
          </p:cNvPr>
          <p:cNvSpPr>
            <a:spLocks noGrp="1"/>
          </p:cNvSpPr>
          <p:nvPr>
            <p:ph type="ctrTitle"/>
          </p:nvPr>
        </p:nvSpPr>
        <p:spPr/>
        <p:txBody>
          <a:bodyPr>
            <a:normAutofit fontScale="90000"/>
          </a:bodyPr>
          <a:lstStyle/>
          <a:p>
            <a:r>
              <a:rPr lang="en-US" dirty="0"/>
              <a:t>The role of pathogen genomics in COVID19 outbreak response</a:t>
            </a:r>
          </a:p>
        </p:txBody>
      </p:sp>
      <p:sp>
        <p:nvSpPr>
          <p:cNvPr id="3" name="Subtitle 2">
            <a:extLst>
              <a:ext uri="{FF2B5EF4-FFF2-40B4-BE49-F238E27FC236}">
                <a16:creationId xmlns:a16="http://schemas.microsoft.com/office/drawing/2014/main" id="{86243D00-A48B-4E24-B97B-C0E56CD00F9F}"/>
              </a:ext>
            </a:extLst>
          </p:cNvPr>
          <p:cNvSpPr>
            <a:spLocks noGrp="1"/>
          </p:cNvSpPr>
          <p:nvPr>
            <p:ph type="subTitle" idx="1"/>
          </p:nvPr>
        </p:nvSpPr>
        <p:spPr>
          <a:xfrm>
            <a:off x="1524000" y="2961777"/>
            <a:ext cx="8188712" cy="1509862"/>
          </a:xfrm>
        </p:spPr>
        <p:txBody>
          <a:bodyPr>
            <a:normAutofit fontScale="32500" lnSpcReduction="20000"/>
          </a:bodyPr>
          <a:lstStyle/>
          <a:p>
            <a:r>
              <a:rPr lang="en-US" sz="5000" dirty="0"/>
              <a:t>Alan </a:t>
            </a:r>
            <a:r>
              <a:rPr lang="en-US" sz="5000" dirty="0" err="1"/>
              <a:t>Christoffels</a:t>
            </a:r>
            <a:endParaRPr lang="en-US" sz="5000" dirty="0"/>
          </a:p>
          <a:p>
            <a:r>
              <a:rPr lang="en-US" sz="4000" dirty="0"/>
              <a:t>South African Medical Research Council Bioinformatics Unit, South African National Bioinformatics Institute, University of the Western Cape, South Africa, Secretariat: Public Health Alliance for Genomic Epidemiology</a:t>
            </a:r>
          </a:p>
        </p:txBody>
      </p:sp>
      <p:pic>
        <p:nvPicPr>
          <p:cNvPr id="5" name="Audio 4">
            <a:hlinkClick r:id="" action="ppaction://media"/>
            <a:extLst>
              <a:ext uri="{FF2B5EF4-FFF2-40B4-BE49-F238E27FC236}">
                <a16:creationId xmlns:a16="http://schemas.microsoft.com/office/drawing/2014/main" id="{5066E087-F7EA-6D4B-BC5B-3F0DCCFDCFF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26800" y="5892800"/>
            <a:ext cx="812800" cy="812800"/>
          </a:xfrm>
          <a:prstGeom prst="rect">
            <a:avLst/>
          </a:prstGeom>
        </p:spPr>
      </p:pic>
      <p:sp>
        <p:nvSpPr>
          <p:cNvPr id="6" name="TextBox 5">
            <a:extLst>
              <a:ext uri="{FF2B5EF4-FFF2-40B4-BE49-F238E27FC236}">
                <a16:creationId xmlns:a16="http://schemas.microsoft.com/office/drawing/2014/main" id="{81EF4FB2-7DC6-F545-85D9-E24CB25058C0}"/>
              </a:ext>
            </a:extLst>
          </p:cNvPr>
          <p:cNvSpPr txBox="1"/>
          <p:nvPr/>
        </p:nvSpPr>
        <p:spPr>
          <a:xfrm>
            <a:off x="263951" y="81070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500333334"/>
      </p:ext>
    </p:extLst>
  </p:cSld>
  <p:clrMapOvr>
    <a:masterClrMapping/>
  </p:clrMapOvr>
  <p:transition spd="slow" advTm="1893">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p:txBody>
          <a:bodyPr>
            <a:normAutofit/>
          </a:bodyPr>
          <a:lstStyle/>
          <a:p>
            <a:pPr marL="0" indent="0">
              <a:buNone/>
            </a:pPr>
            <a:r>
              <a:rPr lang="en-ZA" sz="2400" b="1" dirty="0"/>
              <a:t>Who oversees the development of these data standards?</a:t>
            </a:r>
            <a:endParaRPr lang="en-ZA" sz="2400" dirty="0"/>
          </a:p>
          <a:p>
            <a:pPr marL="0" indent="0">
              <a:buNone/>
            </a:pPr>
            <a:r>
              <a:rPr lang="en-ZA" dirty="0"/>
              <a:t>Public Health Alliance for Genomic Epidemiology (PHA4GE)</a:t>
            </a:r>
          </a:p>
        </p:txBody>
      </p:sp>
      <p:sp>
        <p:nvSpPr>
          <p:cNvPr id="4" name="TextBox 3">
            <a:extLst>
              <a:ext uri="{FF2B5EF4-FFF2-40B4-BE49-F238E27FC236}">
                <a16:creationId xmlns:a16="http://schemas.microsoft.com/office/drawing/2014/main" id="{CCE6BB2B-F365-9744-9092-4A35EE5B9C8E}"/>
              </a:ext>
            </a:extLst>
          </p:cNvPr>
          <p:cNvSpPr txBox="1"/>
          <p:nvPr/>
        </p:nvSpPr>
        <p:spPr>
          <a:xfrm>
            <a:off x="-769434" y="3958683"/>
            <a:ext cx="184731" cy="369332"/>
          </a:xfrm>
          <a:prstGeom prst="rect">
            <a:avLst/>
          </a:prstGeom>
          <a:noFill/>
        </p:spPr>
        <p:txBody>
          <a:bodyPr wrap="none" rtlCol="0">
            <a:spAutoFit/>
          </a:bodyPr>
          <a:lstStyle/>
          <a:p>
            <a:endParaRPr lang="en-US" dirty="0"/>
          </a:p>
        </p:txBody>
      </p:sp>
      <p:sp>
        <p:nvSpPr>
          <p:cNvPr id="67" name="Hexagon 66">
            <a:extLst>
              <a:ext uri="{FF2B5EF4-FFF2-40B4-BE49-F238E27FC236}">
                <a16:creationId xmlns:a16="http://schemas.microsoft.com/office/drawing/2014/main" id="{5C817179-78E1-1D46-8A6D-950EF1C90BDD}"/>
              </a:ext>
            </a:extLst>
          </p:cNvPr>
          <p:cNvSpPr/>
          <p:nvPr/>
        </p:nvSpPr>
        <p:spPr>
          <a:xfrm rot="5400000">
            <a:off x="1115996" y="3359352"/>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TextBox 72">
            <a:extLst>
              <a:ext uri="{FF2B5EF4-FFF2-40B4-BE49-F238E27FC236}">
                <a16:creationId xmlns:a16="http://schemas.microsoft.com/office/drawing/2014/main" id="{D26C24DA-049A-EE49-9DD3-0257CE7865A0}"/>
              </a:ext>
            </a:extLst>
          </p:cNvPr>
          <p:cNvSpPr txBox="1"/>
          <p:nvPr/>
        </p:nvSpPr>
        <p:spPr>
          <a:xfrm>
            <a:off x="1596860" y="3897342"/>
            <a:ext cx="684803" cy="369332"/>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Data</a:t>
            </a:r>
          </a:p>
        </p:txBody>
      </p:sp>
      <p:sp>
        <p:nvSpPr>
          <p:cNvPr id="75" name="TextBox 74">
            <a:extLst>
              <a:ext uri="{FF2B5EF4-FFF2-40B4-BE49-F238E27FC236}">
                <a16:creationId xmlns:a16="http://schemas.microsoft.com/office/drawing/2014/main" id="{DFCAA406-696A-D44D-A7BC-A0C42EE042B6}"/>
              </a:ext>
            </a:extLst>
          </p:cNvPr>
          <p:cNvSpPr txBox="1"/>
          <p:nvPr/>
        </p:nvSpPr>
        <p:spPr>
          <a:xfrm>
            <a:off x="3502160" y="5964366"/>
            <a:ext cx="1428597" cy="646331"/>
          </a:xfrm>
          <a:prstGeom prst="rect">
            <a:avLst/>
          </a:prstGeom>
          <a:noFill/>
        </p:spPr>
        <p:txBody>
          <a:bodyPr wrap="none" rtlCol="0">
            <a:spAutoFit/>
          </a:bodyPr>
          <a:lstStyle/>
          <a:p>
            <a:pPr algn="ctr"/>
            <a:r>
              <a:rPr lang="en-US" dirty="0">
                <a:solidFill>
                  <a:schemeClr val="bg1"/>
                </a:solidFill>
                <a:latin typeface="Arial" panose="020B0604020202020204" pitchFamily="34" charset="0"/>
                <a:cs typeface="Arial" panose="020B0604020202020204" pitchFamily="34" charset="0"/>
              </a:rPr>
              <a:t>Users &amp;</a:t>
            </a:r>
          </a:p>
          <a:p>
            <a:pPr algn="ctr"/>
            <a:r>
              <a:rPr lang="en-US" dirty="0">
                <a:solidFill>
                  <a:schemeClr val="bg1"/>
                </a:solidFill>
                <a:latin typeface="Arial" panose="020B0604020202020204" pitchFamily="34" charset="0"/>
                <a:cs typeface="Arial" panose="020B0604020202020204" pitchFamily="34" charset="0"/>
              </a:rPr>
              <a:t>Applications</a:t>
            </a:r>
          </a:p>
        </p:txBody>
      </p:sp>
      <p:sp>
        <p:nvSpPr>
          <p:cNvPr id="76" name="TextBox 75">
            <a:extLst>
              <a:ext uri="{FF2B5EF4-FFF2-40B4-BE49-F238E27FC236}">
                <a16:creationId xmlns:a16="http://schemas.microsoft.com/office/drawing/2014/main" id="{C13F9387-3E03-7748-9588-8D15F4485142}"/>
              </a:ext>
            </a:extLst>
          </p:cNvPr>
          <p:cNvSpPr txBox="1"/>
          <p:nvPr/>
        </p:nvSpPr>
        <p:spPr>
          <a:xfrm>
            <a:off x="7694667" y="4916895"/>
            <a:ext cx="1232069" cy="923330"/>
          </a:xfrm>
          <a:prstGeom prst="rect">
            <a:avLst/>
          </a:prstGeom>
          <a:noFill/>
        </p:spPr>
        <p:txBody>
          <a:bodyPr wrap="none" rtlCol="0">
            <a:spAutoFit/>
          </a:bodyPr>
          <a:lstStyle/>
          <a:p>
            <a:pPr algn="ctr"/>
            <a:r>
              <a:rPr lang="en-US" dirty="0">
                <a:solidFill>
                  <a:schemeClr val="bg1"/>
                </a:solidFill>
                <a:latin typeface="Arial" panose="020B0604020202020204" pitchFamily="34" charset="0"/>
                <a:cs typeface="Arial" panose="020B0604020202020204" pitchFamily="34" charset="0"/>
              </a:rPr>
              <a:t>Training &amp;</a:t>
            </a:r>
          </a:p>
          <a:p>
            <a:pPr algn="ctr"/>
            <a:r>
              <a:rPr lang="en-US" dirty="0">
                <a:solidFill>
                  <a:schemeClr val="bg1"/>
                </a:solidFill>
                <a:latin typeface="Arial" panose="020B0604020202020204" pitchFamily="34" charset="0"/>
                <a:cs typeface="Arial" panose="020B0604020202020204" pitchFamily="34" charset="0"/>
              </a:rPr>
              <a:t>Workforce</a:t>
            </a:r>
          </a:p>
          <a:p>
            <a:pPr algn="ctr"/>
            <a:r>
              <a:rPr lang="en-US" dirty="0">
                <a:solidFill>
                  <a:schemeClr val="bg1"/>
                </a:solidFill>
                <a:latin typeface="Arial" panose="020B0604020202020204" pitchFamily="34" charset="0"/>
                <a:cs typeface="Arial" panose="020B0604020202020204" pitchFamily="34" charset="0"/>
              </a:rPr>
              <a:t>Dev</a:t>
            </a:r>
          </a:p>
        </p:txBody>
      </p:sp>
      <p:sp>
        <p:nvSpPr>
          <p:cNvPr id="78" name="TextBox 77">
            <a:extLst>
              <a:ext uri="{FF2B5EF4-FFF2-40B4-BE49-F238E27FC236}">
                <a16:creationId xmlns:a16="http://schemas.microsoft.com/office/drawing/2014/main" id="{16BC1E0F-A332-1949-BEBA-9F44EF6B75EC}"/>
              </a:ext>
            </a:extLst>
          </p:cNvPr>
          <p:cNvSpPr txBox="1"/>
          <p:nvPr/>
        </p:nvSpPr>
        <p:spPr>
          <a:xfrm>
            <a:off x="10699480" y="2461550"/>
            <a:ext cx="979756" cy="646331"/>
          </a:xfrm>
          <a:prstGeom prst="rect">
            <a:avLst/>
          </a:prstGeom>
          <a:noFill/>
        </p:spPr>
        <p:txBody>
          <a:bodyPr wrap="none" rtlCol="0">
            <a:spAutoFit/>
          </a:bodyPr>
          <a:lstStyle/>
          <a:p>
            <a:pPr algn="ctr"/>
            <a:r>
              <a:rPr lang="en-US" dirty="0">
                <a:solidFill>
                  <a:schemeClr val="bg1"/>
                </a:solidFill>
                <a:latin typeface="Arial" panose="020B0604020202020204" pitchFamily="34" charset="0"/>
                <a:cs typeface="Arial" panose="020B0604020202020204" pitchFamily="34" charset="0"/>
              </a:rPr>
              <a:t>Data</a:t>
            </a:r>
          </a:p>
          <a:p>
            <a:pPr algn="ctr"/>
            <a:r>
              <a:rPr lang="en-US" dirty="0">
                <a:solidFill>
                  <a:schemeClr val="bg1"/>
                </a:solidFill>
                <a:latin typeface="Arial" panose="020B0604020202020204" pitchFamily="34" charset="0"/>
                <a:cs typeface="Arial" panose="020B0604020202020204" pitchFamily="34" charset="0"/>
              </a:rPr>
              <a:t>Sharing</a:t>
            </a:r>
          </a:p>
        </p:txBody>
      </p:sp>
      <p:pic>
        <p:nvPicPr>
          <p:cNvPr id="79" name="Picture 2" descr="http://wethedata.org/wp-content/uploads/2013/01/twitter-releases-q3-q4-2012-transparency-report.jpg">
            <a:extLst>
              <a:ext uri="{FF2B5EF4-FFF2-40B4-BE49-F238E27FC236}">
                <a16:creationId xmlns:a16="http://schemas.microsoft.com/office/drawing/2014/main" id="{4FBF4B87-DE95-9647-A170-2A136C2EF15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41796" y="5643952"/>
            <a:ext cx="314024" cy="257175"/>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C3E86C31-CB9F-A346-A601-FB3111AB31BD}"/>
              </a:ext>
            </a:extLst>
          </p:cNvPr>
          <p:cNvSpPr txBox="1"/>
          <p:nvPr/>
        </p:nvSpPr>
        <p:spPr>
          <a:xfrm>
            <a:off x="10106725" y="5526317"/>
            <a:ext cx="1149674" cy="369332"/>
          </a:xfrm>
          <a:prstGeom prst="rect">
            <a:avLst/>
          </a:prstGeom>
          <a:noFill/>
        </p:spPr>
        <p:txBody>
          <a:bodyPr wrap="none" rtlCol="0">
            <a:spAutoFit/>
          </a:bodyPr>
          <a:lstStyle/>
          <a:p>
            <a:r>
              <a:rPr lang="en-US" dirty="0"/>
              <a:t>@pha4ge</a:t>
            </a:r>
          </a:p>
        </p:txBody>
      </p:sp>
      <p:sp>
        <p:nvSpPr>
          <p:cNvPr id="81" name="Hexagon 80">
            <a:extLst>
              <a:ext uri="{FF2B5EF4-FFF2-40B4-BE49-F238E27FC236}">
                <a16:creationId xmlns:a16="http://schemas.microsoft.com/office/drawing/2014/main" id="{815A129E-7E55-5740-B24E-F1A10262EC6D}"/>
              </a:ext>
            </a:extLst>
          </p:cNvPr>
          <p:cNvSpPr/>
          <p:nvPr/>
        </p:nvSpPr>
        <p:spPr>
          <a:xfrm rot="5400000">
            <a:off x="2832288" y="3380188"/>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9D12DA59-50B1-174A-83A0-7545A076CF91}"/>
              </a:ext>
            </a:extLst>
          </p:cNvPr>
          <p:cNvSpPr txBox="1"/>
          <p:nvPr/>
        </p:nvSpPr>
        <p:spPr>
          <a:xfrm>
            <a:off x="3081860" y="3795420"/>
            <a:ext cx="1184940" cy="646331"/>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Infra-</a:t>
            </a:r>
          </a:p>
          <a:p>
            <a:pPr algn="ctr"/>
            <a:r>
              <a:rPr lang="en-US" b="1" dirty="0">
                <a:solidFill>
                  <a:schemeClr val="bg1"/>
                </a:solidFill>
                <a:latin typeface="Arial" panose="020B0604020202020204" pitchFamily="34" charset="0"/>
                <a:cs typeface="Arial" panose="020B0604020202020204" pitchFamily="34" charset="0"/>
              </a:rPr>
              <a:t>structure</a:t>
            </a:r>
          </a:p>
        </p:txBody>
      </p:sp>
      <p:sp>
        <p:nvSpPr>
          <p:cNvPr id="83" name="Hexagon 82">
            <a:extLst>
              <a:ext uri="{FF2B5EF4-FFF2-40B4-BE49-F238E27FC236}">
                <a16:creationId xmlns:a16="http://schemas.microsoft.com/office/drawing/2014/main" id="{8FA3A1AC-814E-1147-93D1-8F957D204D66}"/>
              </a:ext>
            </a:extLst>
          </p:cNvPr>
          <p:cNvSpPr/>
          <p:nvPr/>
        </p:nvSpPr>
        <p:spPr>
          <a:xfrm rot="5400000">
            <a:off x="4568164" y="3387625"/>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a:extLst>
              <a:ext uri="{FF2B5EF4-FFF2-40B4-BE49-F238E27FC236}">
                <a16:creationId xmlns:a16="http://schemas.microsoft.com/office/drawing/2014/main" id="{A3EA705B-557F-1346-B119-4512390CBC28}"/>
              </a:ext>
            </a:extLst>
          </p:cNvPr>
          <p:cNvSpPr txBox="1"/>
          <p:nvPr/>
        </p:nvSpPr>
        <p:spPr>
          <a:xfrm>
            <a:off x="4864446" y="3883656"/>
            <a:ext cx="1133644" cy="646331"/>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Analysis</a:t>
            </a:r>
          </a:p>
          <a:p>
            <a:pPr algn="ctr"/>
            <a:r>
              <a:rPr lang="en-US" b="1" dirty="0">
                <a:solidFill>
                  <a:schemeClr val="bg1"/>
                </a:solidFill>
                <a:latin typeface="Arial" panose="020B0604020202020204" pitchFamily="34" charset="0"/>
                <a:cs typeface="Arial" panose="020B0604020202020204" pitchFamily="34" charset="0"/>
              </a:rPr>
              <a:t>Methods</a:t>
            </a:r>
          </a:p>
        </p:txBody>
      </p:sp>
      <p:sp>
        <p:nvSpPr>
          <p:cNvPr id="85" name="Hexagon 84">
            <a:extLst>
              <a:ext uri="{FF2B5EF4-FFF2-40B4-BE49-F238E27FC236}">
                <a16:creationId xmlns:a16="http://schemas.microsoft.com/office/drawing/2014/main" id="{718267D5-8611-CE43-A62E-CDC9DE4A5CBD}"/>
              </a:ext>
            </a:extLst>
          </p:cNvPr>
          <p:cNvSpPr/>
          <p:nvPr/>
        </p:nvSpPr>
        <p:spPr>
          <a:xfrm rot="5400000">
            <a:off x="6299885" y="3373587"/>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a:extLst>
              <a:ext uri="{FF2B5EF4-FFF2-40B4-BE49-F238E27FC236}">
                <a16:creationId xmlns:a16="http://schemas.microsoft.com/office/drawing/2014/main" id="{45C19F22-6189-B441-A4A1-933A7CA9F7C0}"/>
              </a:ext>
            </a:extLst>
          </p:cNvPr>
          <p:cNvSpPr txBox="1"/>
          <p:nvPr/>
        </p:nvSpPr>
        <p:spPr>
          <a:xfrm>
            <a:off x="6469146" y="3773969"/>
            <a:ext cx="1338828" cy="646331"/>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Sequence</a:t>
            </a:r>
          </a:p>
          <a:p>
            <a:pPr algn="ctr"/>
            <a:r>
              <a:rPr lang="en-US" b="1" dirty="0">
                <a:solidFill>
                  <a:schemeClr val="bg1"/>
                </a:solidFill>
                <a:latin typeface="Arial" panose="020B0604020202020204" pitchFamily="34" charset="0"/>
                <a:cs typeface="Arial" panose="020B0604020202020204" pitchFamily="34" charset="0"/>
              </a:rPr>
              <a:t>Databases</a:t>
            </a:r>
          </a:p>
        </p:txBody>
      </p:sp>
      <p:sp>
        <p:nvSpPr>
          <p:cNvPr id="87" name="Hexagon 86">
            <a:extLst>
              <a:ext uri="{FF2B5EF4-FFF2-40B4-BE49-F238E27FC236}">
                <a16:creationId xmlns:a16="http://schemas.microsoft.com/office/drawing/2014/main" id="{0FC62EF7-4375-364E-9310-8FA72C45ABC4}"/>
              </a:ext>
            </a:extLst>
          </p:cNvPr>
          <p:cNvSpPr/>
          <p:nvPr/>
        </p:nvSpPr>
        <p:spPr>
          <a:xfrm rot="5400000">
            <a:off x="1956835" y="4808024"/>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F35688D0-1ABE-2F49-B82F-13CE6E286CEB}"/>
              </a:ext>
            </a:extLst>
          </p:cNvPr>
          <p:cNvSpPr txBox="1"/>
          <p:nvPr/>
        </p:nvSpPr>
        <p:spPr>
          <a:xfrm>
            <a:off x="2206727" y="5432377"/>
            <a:ext cx="1082412" cy="369332"/>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Training</a:t>
            </a:r>
          </a:p>
        </p:txBody>
      </p:sp>
      <p:sp>
        <p:nvSpPr>
          <p:cNvPr id="89" name="Hexagon 88">
            <a:extLst>
              <a:ext uri="{FF2B5EF4-FFF2-40B4-BE49-F238E27FC236}">
                <a16:creationId xmlns:a16="http://schemas.microsoft.com/office/drawing/2014/main" id="{FE9A03C7-961B-8D4C-B4B8-3FF1E5D8433F}"/>
              </a:ext>
            </a:extLst>
          </p:cNvPr>
          <p:cNvSpPr/>
          <p:nvPr/>
        </p:nvSpPr>
        <p:spPr>
          <a:xfrm rot="5400000">
            <a:off x="3712792" y="4831028"/>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TextBox 89">
            <a:extLst>
              <a:ext uri="{FF2B5EF4-FFF2-40B4-BE49-F238E27FC236}">
                <a16:creationId xmlns:a16="http://schemas.microsoft.com/office/drawing/2014/main" id="{523184C5-EE5A-1C4C-A151-C92BD7019126}"/>
              </a:ext>
            </a:extLst>
          </p:cNvPr>
          <p:cNvSpPr txBox="1"/>
          <p:nvPr/>
        </p:nvSpPr>
        <p:spPr>
          <a:xfrm>
            <a:off x="4090959" y="5399622"/>
            <a:ext cx="825867" cy="369332"/>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Users</a:t>
            </a:r>
          </a:p>
        </p:txBody>
      </p:sp>
      <p:sp>
        <p:nvSpPr>
          <p:cNvPr id="91" name="TextBox 90">
            <a:extLst>
              <a:ext uri="{FF2B5EF4-FFF2-40B4-BE49-F238E27FC236}">
                <a16:creationId xmlns:a16="http://schemas.microsoft.com/office/drawing/2014/main" id="{130FE7DD-0BC5-C44F-9D28-DE5AAE68C86B}"/>
              </a:ext>
            </a:extLst>
          </p:cNvPr>
          <p:cNvSpPr txBox="1"/>
          <p:nvPr/>
        </p:nvSpPr>
        <p:spPr>
          <a:xfrm>
            <a:off x="5316093" y="5971803"/>
            <a:ext cx="1428597" cy="646331"/>
          </a:xfrm>
          <a:prstGeom prst="rect">
            <a:avLst/>
          </a:prstGeom>
          <a:noFill/>
        </p:spPr>
        <p:txBody>
          <a:bodyPr wrap="none" rtlCol="0">
            <a:spAutoFit/>
          </a:bodyPr>
          <a:lstStyle/>
          <a:p>
            <a:pPr algn="ctr"/>
            <a:r>
              <a:rPr lang="en-US" dirty="0">
                <a:solidFill>
                  <a:schemeClr val="bg1"/>
                </a:solidFill>
                <a:latin typeface="Arial" panose="020B0604020202020204" pitchFamily="34" charset="0"/>
                <a:cs typeface="Arial" panose="020B0604020202020204" pitchFamily="34" charset="0"/>
              </a:rPr>
              <a:t>Users &amp;</a:t>
            </a:r>
          </a:p>
          <a:p>
            <a:pPr algn="ctr"/>
            <a:r>
              <a:rPr lang="en-US" dirty="0">
                <a:solidFill>
                  <a:schemeClr val="bg1"/>
                </a:solidFill>
                <a:latin typeface="Arial" panose="020B0604020202020204" pitchFamily="34" charset="0"/>
                <a:cs typeface="Arial" panose="020B0604020202020204" pitchFamily="34" charset="0"/>
              </a:rPr>
              <a:t>Applications</a:t>
            </a:r>
          </a:p>
        </p:txBody>
      </p:sp>
      <p:sp>
        <p:nvSpPr>
          <p:cNvPr id="92" name="Hexagon 91">
            <a:extLst>
              <a:ext uri="{FF2B5EF4-FFF2-40B4-BE49-F238E27FC236}">
                <a16:creationId xmlns:a16="http://schemas.microsoft.com/office/drawing/2014/main" id="{048839CC-BD87-DB49-9470-8B686E9A55E2}"/>
              </a:ext>
            </a:extLst>
          </p:cNvPr>
          <p:cNvSpPr/>
          <p:nvPr/>
        </p:nvSpPr>
        <p:spPr>
          <a:xfrm rot="5400000">
            <a:off x="5448668" y="4827315"/>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TextBox 92">
            <a:extLst>
              <a:ext uri="{FF2B5EF4-FFF2-40B4-BE49-F238E27FC236}">
                <a16:creationId xmlns:a16="http://schemas.microsoft.com/office/drawing/2014/main" id="{F4379B45-5967-AF44-A072-6A54716712D3}"/>
              </a:ext>
            </a:extLst>
          </p:cNvPr>
          <p:cNvSpPr txBox="1"/>
          <p:nvPr/>
        </p:nvSpPr>
        <p:spPr>
          <a:xfrm>
            <a:off x="5667991" y="5103794"/>
            <a:ext cx="1261885" cy="923330"/>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Quality</a:t>
            </a:r>
          </a:p>
          <a:p>
            <a:pPr algn="ctr"/>
            <a:r>
              <a:rPr lang="en-US" b="1" dirty="0">
                <a:solidFill>
                  <a:schemeClr val="bg1"/>
                </a:solidFill>
                <a:latin typeface="Arial" panose="020B0604020202020204" pitchFamily="34" charset="0"/>
                <a:cs typeface="Arial" panose="020B0604020202020204" pitchFamily="34" charset="0"/>
              </a:rPr>
              <a:t>Control,</a:t>
            </a:r>
          </a:p>
          <a:p>
            <a:pPr algn="ctr"/>
            <a:r>
              <a:rPr lang="en-US" b="1" dirty="0">
                <a:solidFill>
                  <a:schemeClr val="bg1"/>
                </a:solidFill>
                <a:latin typeface="Arial" panose="020B0604020202020204" pitchFamily="34" charset="0"/>
                <a:cs typeface="Arial" panose="020B0604020202020204" pitchFamily="34" charset="0"/>
              </a:rPr>
              <a:t>validation</a:t>
            </a:r>
          </a:p>
        </p:txBody>
      </p:sp>
      <p:sp>
        <p:nvSpPr>
          <p:cNvPr id="94" name="TextBox 93">
            <a:extLst>
              <a:ext uri="{FF2B5EF4-FFF2-40B4-BE49-F238E27FC236}">
                <a16:creationId xmlns:a16="http://schemas.microsoft.com/office/drawing/2014/main" id="{095831F8-D9BE-1342-9604-648679AA5A7C}"/>
              </a:ext>
            </a:extLst>
          </p:cNvPr>
          <p:cNvSpPr txBox="1"/>
          <p:nvPr/>
        </p:nvSpPr>
        <p:spPr>
          <a:xfrm>
            <a:off x="7085418" y="5923485"/>
            <a:ext cx="1428597" cy="646331"/>
          </a:xfrm>
          <a:prstGeom prst="rect">
            <a:avLst/>
          </a:prstGeom>
          <a:noFill/>
        </p:spPr>
        <p:txBody>
          <a:bodyPr wrap="none" rtlCol="0">
            <a:spAutoFit/>
          </a:bodyPr>
          <a:lstStyle/>
          <a:p>
            <a:pPr algn="ctr"/>
            <a:r>
              <a:rPr lang="en-US" dirty="0">
                <a:solidFill>
                  <a:schemeClr val="bg1"/>
                </a:solidFill>
                <a:latin typeface="Arial" panose="020B0604020202020204" pitchFamily="34" charset="0"/>
                <a:cs typeface="Arial" panose="020B0604020202020204" pitchFamily="34" charset="0"/>
              </a:rPr>
              <a:t>Users &amp;</a:t>
            </a:r>
          </a:p>
          <a:p>
            <a:pPr algn="ctr"/>
            <a:r>
              <a:rPr lang="en-US" dirty="0">
                <a:solidFill>
                  <a:schemeClr val="bg1"/>
                </a:solidFill>
                <a:latin typeface="Arial" panose="020B0604020202020204" pitchFamily="34" charset="0"/>
                <a:cs typeface="Arial" panose="020B0604020202020204" pitchFamily="34" charset="0"/>
              </a:rPr>
              <a:t>Applications</a:t>
            </a:r>
          </a:p>
        </p:txBody>
      </p:sp>
      <p:sp>
        <p:nvSpPr>
          <p:cNvPr id="95" name="Hexagon 94">
            <a:extLst>
              <a:ext uri="{FF2B5EF4-FFF2-40B4-BE49-F238E27FC236}">
                <a16:creationId xmlns:a16="http://schemas.microsoft.com/office/drawing/2014/main" id="{ED023D46-BA4F-D84D-9DA5-9A3DA4BFBA7B}"/>
              </a:ext>
            </a:extLst>
          </p:cNvPr>
          <p:cNvSpPr/>
          <p:nvPr/>
        </p:nvSpPr>
        <p:spPr>
          <a:xfrm rot="5400000">
            <a:off x="7195691" y="4812448"/>
            <a:ext cx="1638400" cy="1539033"/>
          </a:xfrm>
          <a:prstGeom prst="hexagon">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TextBox 95">
            <a:extLst>
              <a:ext uri="{FF2B5EF4-FFF2-40B4-BE49-F238E27FC236}">
                <a16:creationId xmlns:a16="http://schemas.microsoft.com/office/drawing/2014/main" id="{0C7169BB-F54D-7944-B80A-A94DE5D97103}"/>
              </a:ext>
            </a:extLst>
          </p:cNvPr>
          <p:cNvSpPr txBox="1"/>
          <p:nvPr/>
        </p:nvSpPr>
        <p:spPr>
          <a:xfrm>
            <a:off x="7222656" y="5155833"/>
            <a:ext cx="1646605" cy="923330"/>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Data sharing,</a:t>
            </a:r>
          </a:p>
          <a:p>
            <a:pPr algn="ctr"/>
            <a:r>
              <a:rPr lang="en-US" b="1" dirty="0">
                <a:solidFill>
                  <a:schemeClr val="bg1"/>
                </a:solidFill>
                <a:latin typeface="Arial" panose="020B0604020202020204" pitchFamily="34" charset="0"/>
                <a:cs typeface="Arial" panose="020B0604020202020204" pitchFamily="34" charset="0"/>
              </a:rPr>
              <a:t>And</a:t>
            </a:r>
          </a:p>
          <a:p>
            <a:pPr algn="ctr"/>
            <a:r>
              <a:rPr lang="en-US" b="1" dirty="0">
                <a:solidFill>
                  <a:schemeClr val="bg1"/>
                </a:solidFill>
                <a:latin typeface="Arial" panose="020B0604020202020204" pitchFamily="34" charset="0"/>
                <a:cs typeface="Arial" panose="020B0604020202020204" pitchFamily="34" charset="0"/>
              </a:rPr>
              <a:t>Ethics</a:t>
            </a:r>
          </a:p>
        </p:txBody>
      </p:sp>
      <p:sp>
        <p:nvSpPr>
          <p:cNvPr id="97" name="TextBox 96">
            <a:extLst>
              <a:ext uri="{FF2B5EF4-FFF2-40B4-BE49-F238E27FC236}">
                <a16:creationId xmlns:a16="http://schemas.microsoft.com/office/drawing/2014/main" id="{CEA879D3-24D2-464B-B4F3-802E8960CD1D}"/>
              </a:ext>
            </a:extLst>
          </p:cNvPr>
          <p:cNvSpPr txBox="1"/>
          <p:nvPr/>
        </p:nvSpPr>
        <p:spPr>
          <a:xfrm>
            <a:off x="9615326" y="5912888"/>
            <a:ext cx="2203104" cy="369332"/>
          </a:xfrm>
          <a:prstGeom prst="rect">
            <a:avLst/>
          </a:prstGeom>
          <a:noFill/>
        </p:spPr>
        <p:txBody>
          <a:bodyPr wrap="none" rtlCol="0">
            <a:spAutoFit/>
          </a:bodyPr>
          <a:lstStyle/>
          <a:p>
            <a:r>
              <a:rPr lang="en-US" dirty="0"/>
              <a:t>https://pha4ge.org/</a:t>
            </a:r>
          </a:p>
        </p:txBody>
      </p:sp>
      <p:pic>
        <p:nvPicPr>
          <p:cNvPr id="5" name="Audio 4">
            <a:hlinkClick r:id="" action="ppaction://media"/>
            <a:extLst>
              <a:ext uri="{FF2B5EF4-FFF2-40B4-BE49-F238E27FC236}">
                <a16:creationId xmlns:a16="http://schemas.microsoft.com/office/drawing/2014/main" id="{D1DEA5BD-B1EC-C54F-92EC-2C704C81B04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159809923"/>
      </p:ext>
    </p:extLst>
  </p:cSld>
  <p:clrMapOvr>
    <a:masterClrMapping/>
  </p:clrMapOvr>
  <p:transition spd="slow" advTm="62752">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p:txBody>
          <a:bodyPr>
            <a:normAutofit fontScale="55000" lnSpcReduction="20000"/>
          </a:bodyPr>
          <a:lstStyle/>
          <a:p>
            <a:pPr marL="0" indent="0">
              <a:buNone/>
            </a:pPr>
            <a:r>
              <a:rPr lang="en-ZA" sz="4400" b="1" dirty="0"/>
              <a:t>How do I acquire skills in genomics in Africa?</a:t>
            </a:r>
            <a:endParaRPr lang="en-ZA" sz="4400" dirty="0"/>
          </a:p>
          <a:p>
            <a:pPr marL="0" indent="0">
              <a:buNone/>
            </a:pPr>
            <a:r>
              <a:rPr lang="en-ZA" dirty="0"/>
              <a:t>Bioinformatics training across Africa:</a:t>
            </a:r>
          </a:p>
          <a:p>
            <a:r>
              <a:rPr lang="en-ZA" dirty="0"/>
              <a:t>H3Africa Bioinformatics Network with a focus on human genomics</a:t>
            </a:r>
          </a:p>
          <a:p>
            <a:pPr lvl="1"/>
            <a:r>
              <a:rPr lang="en-ZA" u="sng" dirty="0">
                <a:hlinkClick r:id="rId5"/>
              </a:rPr>
              <a:t>http://h3abionet.org</a:t>
            </a:r>
            <a:endParaRPr lang="en-ZA" dirty="0"/>
          </a:p>
          <a:p>
            <a:r>
              <a:rPr lang="en-ZA" dirty="0"/>
              <a:t>The African Society for Bioinformatics and Computational Biology</a:t>
            </a:r>
          </a:p>
          <a:p>
            <a:pPr lvl="1"/>
            <a:r>
              <a:rPr lang="en-ZA" dirty="0"/>
              <a:t>Human, animal and agriculture</a:t>
            </a:r>
          </a:p>
          <a:p>
            <a:pPr lvl="1"/>
            <a:r>
              <a:rPr lang="en-ZA" u="sng" dirty="0">
                <a:hlinkClick r:id="rId6"/>
              </a:rPr>
              <a:t>http://www.asbcb.org</a:t>
            </a:r>
            <a:endParaRPr lang="en-ZA" dirty="0"/>
          </a:p>
          <a:p>
            <a:r>
              <a:rPr lang="en-ZA" dirty="0"/>
              <a:t>Africa CDC’s Pathogen Genomics Intelligence Initiative</a:t>
            </a:r>
          </a:p>
          <a:p>
            <a:pPr lvl="1"/>
            <a:r>
              <a:rPr lang="en-ZA" dirty="0"/>
              <a:t>Facilitate training of bioinformaticians and systems engineers via the South African National Bioinformatics Institute</a:t>
            </a:r>
          </a:p>
          <a:p>
            <a:pPr lvl="2"/>
            <a:r>
              <a:rPr lang="en-ZA" u="sng" dirty="0">
                <a:hlinkClick r:id="rId7"/>
              </a:rPr>
              <a:t>http://www.sanbi.ac.za</a:t>
            </a:r>
            <a:endParaRPr lang="en-ZA" dirty="0"/>
          </a:p>
          <a:p>
            <a:pPr marL="0" indent="0">
              <a:buNone/>
            </a:pPr>
            <a:endParaRPr lang="en-ZA" dirty="0"/>
          </a:p>
        </p:txBody>
      </p:sp>
      <p:pic>
        <p:nvPicPr>
          <p:cNvPr id="5" name="Audio 4">
            <a:hlinkClick r:id="" action="ppaction://media"/>
            <a:extLst>
              <a:ext uri="{FF2B5EF4-FFF2-40B4-BE49-F238E27FC236}">
                <a16:creationId xmlns:a16="http://schemas.microsoft.com/office/drawing/2014/main" id="{CA7ACAFD-B660-7743-8E4D-068370AE2843}"/>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1085511026"/>
      </p:ext>
    </p:extLst>
  </p:cSld>
  <p:clrMapOvr>
    <a:masterClrMapping/>
  </p:clrMapOvr>
  <p:transition spd="slow" advTm="80306">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p:txBody>
          <a:bodyPr>
            <a:normAutofit fontScale="85000" lnSpcReduction="20000"/>
          </a:bodyPr>
          <a:lstStyle/>
          <a:p>
            <a:r>
              <a:rPr lang="en-US" b="1" dirty="0"/>
              <a:t>What is genomics?</a:t>
            </a:r>
          </a:p>
          <a:p>
            <a:endParaRPr lang="en-US" dirty="0"/>
          </a:p>
          <a:p>
            <a:pPr marL="0" lvl="1" indent="0">
              <a:buNone/>
            </a:pPr>
            <a:r>
              <a:rPr lang="en-GB" dirty="0"/>
              <a:t>Genome </a:t>
            </a:r>
          </a:p>
          <a:p>
            <a:pPr marL="342900" lvl="1" indent="-342900"/>
            <a:r>
              <a:rPr lang="en-ZA" dirty="0"/>
              <a:t>is an organism’s complete set of DNA organised as genetic messages. It includes all the information that is needed to construct an organism and to keep this organism functional. </a:t>
            </a:r>
          </a:p>
          <a:p>
            <a:pPr marL="0" lvl="1" indent="0">
              <a:buNone/>
            </a:pPr>
            <a:r>
              <a:rPr lang="en-GB" dirty="0"/>
              <a:t>Genomics</a:t>
            </a:r>
          </a:p>
          <a:p>
            <a:pPr marL="342900" lvl="1" indent="-342900"/>
            <a:r>
              <a:rPr lang="en-GB" dirty="0"/>
              <a:t>represent a branch of molecular biology that deals with t</a:t>
            </a:r>
            <a:r>
              <a:rPr lang="en-ZA" dirty="0"/>
              <a:t>he structure, function, changes in DNA, and mapping of genomes. </a:t>
            </a:r>
            <a:endParaRPr lang="en-US" dirty="0"/>
          </a:p>
        </p:txBody>
      </p:sp>
      <p:pic>
        <p:nvPicPr>
          <p:cNvPr id="5" name="Audio 4">
            <a:hlinkClick r:id="" action="ppaction://media"/>
            <a:extLst>
              <a:ext uri="{FF2B5EF4-FFF2-40B4-BE49-F238E27FC236}">
                <a16:creationId xmlns:a16="http://schemas.microsoft.com/office/drawing/2014/main" id="{9AE012F7-9B71-4341-9DBB-7F814686E84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2583024792"/>
      </p:ext>
    </p:extLst>
  </p:cSld>
  <p:clrMapOvr>
    <a:masterClrMapping/>
  </p:clrMapOvr>
  <p:transition spd="slow" advTm="26392">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p:txBody>
          <a:bodyPr>
            <a:normAutofit/>
          </a:bodyPr>
          <a:lstStyle/>
          <a:p>
            <a:pPr marL="0" indent="0">
              <a:buNone/>
            </a:pPr>
            <a:r>
              <a:rPr lang="en-ZA" sz="2400" b="1" dirty="0"/>
              <a:t>How do we identify this genome material?</a:t>
            </a:r>
          </a:p>
          <a:p>
            <a:pPr marL="0" indent="0">
              <a:buNone/>
            </a:pPr>
            <a:endParaRPr lang="en-ZA" dirty="0"/>
          </a:p>
        </p:txBody>
      </p:sp>
      <p:pic>
        <p:nvPicPr>
          <p:cNvPr id="4" name="Picture 3" descr="HiSeq2000.jpg">
            <a:extLst>
              <a:ext uri="{FF2B5EF4-FFF2-40B4-BE49-F238E27FC236}">
                <a16:creationId xmlns:a16="http://schemas.microsoft.com/office/drawing/2014/main" id="{92A72BCA-93DD-FC42-8F20-62F1127D3F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7841" y="2958541"/>
            <a:ext cx="3139261" cy="2342371"/>
          </a:xfrm>
          <a:prstGeom prst="rect">
            <a:avLst/>
          </a:prstGeom>
        </p:spPr>
      </p:pic>
      <p:pic>
        <p:nvPicPr>
          <p:cNvPr id="5" name="Picture 4" descr="minion_syringge.jpg">
            <a:extLst>
              <a:ext uri="{FF2B5EF4-FFF2-40B4-BE49-F238E27FC236}">
                <a16:creationId xmlns:a16="http://schemas.microsoft.com/office/drawing/2014/main" id="{336ADD05-2C18-324C-8544-82AD7B3379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0578" y="2871467"/>
            <a:ext cx="1884959" cy="2516518"/>
          </a:xfrm>
          <a:prstGeom prst="rect">
            <a:avLst/>
          </a:prstGeom>
        </p:spPr>
      </p:pic>
      <p:sp>
        <p:nvSpPr>
          <p:cNvPr id="6" name="TextBox 5">
            <a:extLst>
              <a:ext uri="{FF2B5EF4-FFF2-40B4-BE49-F238E27FC236}">
                <a16:creationId xmlns:a16="http://schemas.microsoft.com/office/drawing/2014/main" id="{2029132A-442D-AD49-B952-C4D348C345AE}"/>
              </a:ext>
            </a:extLst>
          </p:cNvPr>
          <p:cNvSpPr txBox="1"/>
          <p:nvPr/>
        </p:nvSpPr>
        <p:spPr>
          <a:xfrm>
            <a:off x="936704" y="5341436"/>
            <a:ext cx="2940485" cy="369332"/>
          </a:xfrm>
          <a:prstGeom prst="rect">
            <a:avLst/>
          </a:prstGeom>
          <a:noFill/>
        </p:spPr>
        <p:txBody>
          <a:bodyPr wrap="none" rtlCol="0">
            <a:spAutoFit/>
          </a:bodyPr>
          <a:lstStyle/>
          <a:p>
            <a:r>
              <a:rPr lang="en-US" dirty="0" err="1"/>
              <a:t>HiSeq</a:t>
            </a:r>
            <a:r>
              <a:rPr lang="en-US" dirty="0"/>
              <a:t> Sequencing Platform</a:t>
            </a:r>
          </a:p>
        </p:txBody>
      </p:sp>
      <p:sp>
        <p:nvSpPr>
          <p:cNvPr id="7" name="TextBox 6">
            <a:extLst>
              <a:ext uri="{FF2B5EF4-FFF2-40B4-BE49-F238E27FC236}">
                <a16:creationId xmlns:a16="http://schemas.microsoft.com/office/drawing/2014/main" id="{3E2B75FE-6EAC-4043-BC45-98E5000BE1A5}"/>
              </a:ext>
            </a:extLst>
          </p:cNvPr>
          <p:cNvSpPr txBox="1"/>
          <p:nvPr/>
        </p:nvSpPr>
        <p:spPr>
          <a:xfrm>
            <a:off x="4642481" y="5435849"/>
            <a:ext cx="4428969" cy="369332"/>
          </a:xfrm>
          <a:prstGeom prst="rect">
            <a:avLst/>
          </a:prstGeom>
          <a:noFill/>
        </p:spPr>
        <p:txBody>
          <a:bodyPr wrap="none" rtlCol="0">
            <a:spAutoFit/>
          </a:bodyPr>
          <a:lstStyle/>
          <a:p>
            <a:r>
              <a:rPr lang="en-US" dirty="0"/>
              <a:t>Minion sequencing from Oxford Nanopore</a:t>
            </a:r>
          </a:p>
        </p:txBody>
      </p:sp>
      <p:sp>
        <p:nvSpPr>
          <p:cNvPr id="8" name="Right Arrow 7">
            <a:extLst>
              <a:ext uri="{FF2B5EF4-FFF2-40B4-BE49-F238E27FC236}">
                <a16:creationId xmlns:a16="http://schemas.microsoft.com/office/drawing/2014/main" id="{F5C68F7C-D75B-CF47-8CBD-525274BF4DE6}"/>
              </a:ext>
            </a:extLst>
          </p:cNvPr>
          <p:cNvSpPr/>
          <p:nvPr/>
        </p:nvSpPr>
        <p:spPr>
          <a:xfrm>
            <a:off x="997841" y="5921298"/>
            <a:ext cx="8073609" cy="25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8364C9A-B8AA-2F42-94D7-2D58C4FBC477}"/>
              </a:ext>
            </a:extLst>
          </p:cNvPr>
          <p:cNvSpPr txBox="1"/>
          <p:nvPr/>
        </p:nvSpPr>
        <p:spPr>
          <a:xfrm>
            <a:off x="2865866" y="6166937"/>
            <a:ext cx="4810419" cy="369332"/>
          </a:xfrm>
          <a:prstGeom prst="rect">
            <a:avLst/>
          </a:prstGeom>
          <a:noFill/>
        </p:spPr>
        <p:txBody>
          <a:bodyPr wrap="none" rtlCol="0">
            <a:spAutoFit/>
          </a:bodyPr>
          <a:lstStyle/>
          <a:p>
            <a:r>
              <a:rPr lang="en-US" dirty="0"/>
              <a:t>Reduction in size of the sequencing machines</a:t>
            </a:r>
          </a:p>
        </p:txBody>
      </p:sp>
      <p:pic>
        <p:nvPicPr>
          <p:cNvPr id="15" name="Audio 14">
            <a:hlinkClick r:id="" action="ppaction://media"/>
            <a:extLst>
              <a:ext uri="{FF2B5EF4-FFF2-40B4-BE49-F238E27FC236}">
                <a16:creationId xmlns:a16="http://schemas.microsoft.com/office/drawing/2014/main" id="{93CFE072-023C-3849-9006-4CAA00AC0F25}"/>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1047803725"/>
      </p:ext>
    </p:extLst>
  </p:cSld>
  <p:clrMapOvr>
    <a:masterClrMapping/>
  </p:clrMapOvr>
  <p:transition spd="slow" advTm="49623">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a:xfrm>
            <a:off x="838200" y="1825625"/>
            <a:ext cx="10515600" cy="761458"/>
          </a:xfrm>
        </p:spPr>
        <p:txBody>
          <a:bodyPr>
            <a:normAutofit/>
          </a:bodyPr>
          <a:lstStyle/>
          <a:p>
            <a:pPr marL="0" indent="0">
              <a:buNone/>
            </a:pPr>
            <a:r>
              <a:rPr lang="en-ZA" sz="2400" b="1" dirty="0"/>
              <a:t>How does this sequencing apply to COVID19?</a:t>
            </a:r>
            <a:endParaRPr lang="en-ZA" sz="2400" dirty="0"/>
          </a:p>
          <a:p>
            <a:pPr marL="0" indent="0">
              <a:buNone/>
            </a:pPr>
            <a:endParaRPr lang="en-ZA" dirty="0"/>
          </a:p>
          <a:p>
            <a:pPr marL="0" indent="0">
              <a:buNone/>
            </a:pPr>
            <a:endParaRPr lang="en-ZA" dirty="0"/>
          </a:p>
        </p:txBody>
      </p:sp>
      <p:sp>
        <p:nvSpPr>
          <p:cNvPr id="6" name="TextBox 5">
            <a:extLst>
              <a:ext uri="{FF2B5EF4-FFF2-40B4-BE49-F238E27FC236}">
                <a16:creationId xmlns:a16="http://schemas.microsoft.com/office/drawing/2014/main" id="{865B90D7-8FC0-544A-AB9E-E9E5EE045303}"/>
              </a:ext>
            </a:extLst>
          </p:cNvPr>
          <p:cNvSpPr txBox="1"/>
          <p:nvPr/>
        </p:nvSpPr>
        <p:spPr>
          <a:xfrm>
            <a:off x="704385" y="2911345"/>
            <a:ext cx="3182281" cy="369332"/>
          </a:xfrm>
          <a:prstGeom prst="rect">
            <a:avLst/>
          </a:prstGeom>
          <a:noFill/>
        </p:spPr>
        <p:txBody>
          <a:bodyPr wrap="none" rtlCol="0">
            <a:spAutoFit/>
          </a:bodyPr>
          <a:lstStyle/>
          <a:p>
            <a:r>
              <a:rPr lang="en-US" b="1" dirty="0"/>
              <a:t>Unique human fingerprint</a:t>
            </a:r>
          </a:p>
        </p:txBody>
      </p:sp>
      <p:sp>
        <p:nvSpPr>
          <p:cNvPr id="7" name="Text Placeholder 2">
            <a:extLst>
              <a:ext uri="{FF2B5EF4-FFF2-40B4-BE49-F238E27FC236}">
                <a16:creationId xmlns:a16="http://schemas.microsoft.com/office/drawing/2014/main" id="{9F673058-472A-C141-8123-EDE9DD4EB099}"/>
              </a:ext>
            </a:extLst>
          </p:cNvPr>
          <p:cNvSpPr txBox="1">
            <a:spLocks/>
          </p:cNvSpPr>
          <p:nvPr/>
        </p:nvSpPr>
        <p:spPr>
          <a:xfrm>
            <a:off x="7876051" y="4596627"/>
            <a:ext cx="3099359" cy="2679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dirty="0">
                <a:solidFill>
                  <a:schemeClr val="accent1"/>
                </a:solidFill>
              </a:rPr>
              <a:t>TCTTCAAATGCGTACCAAA</a:t>
            </a:r>
          </a:p>
          <a:p>
            <a:endParaRPr lang="en-US" sz="1400" dirty="0">
              <a:solidFill>
                <a:schemeClr val="accent1"/>
              </a:solidFill>
            </a:endParaRPr>
          </a:p>
        </p:txBody>
      </p:sp>
      <p:sp>
        <p:nvSpPr>
          <p:cNvPr id="8" name="TextBox 7">
            <a:extLst>
              <a:ext uri="{FF2B5EF4-FFF2-40B4-BE49-F238E27FC236}">
                <a16:creationId xmlns:a16="http://schemas.microsoft.com/office/drawing/2014/main" id="{37775341-7C18-224C-ABB0-87520DF7036F}"/>
              </a:ext>
            </a:extLst>
          </p:cNvPr>
          <p:cNvSpPr txBox="1"/>
          <p:nvPr/>
        </p:nvSpPr>
        <p:spPr>
          <a:xfrm>
            <a:off x="8173421" y="4137090"/>
            <a:ext cx="2328010" cy="307777"/>
          </a:xfrm>
          <a:prstGeom prst="rect">
            <a:avLst/>
          </a:prstGeom>
          <a:noFill/>
        </p:spPr>
        <p:txBody>
          <a:bodyPr wrap="none" rtlCol="0">
            <a:spAutoFit/>
          </a:bodyPr>
          <a:lstStyle/>
          <a:p>
            <a:r>
              <a:rPr lang="en-US" sz="1400" dirty="0">
                <a:solidFill>
                  <a:schemeClr val="accent1"/>
                </a:solidFill>
              </a:rPr>
              <a:t>TCA</a:t>
            </a:r>
            <a:r>
              <a:rPr lang="en-US" sz="1400" dirty="0"/>
              <a:t>A</a:t>
            </a:r>
            <a:r>
              <a:rPr lang="en-US" sz="1400" dirty="0">
                <a:solidFill>
                  <a:schemeClr val="accent1"/>
                </a:solidFill>
              </a:rPr>
              <a:t>ATG</a:t>
            </a:r>
            <a:r>
              <a:rPr lang="en-US" sz="1400" dirty="0"/>
              <a:t>C</a:t>
            </a:r>
            <a:r>
              <a:rPr lang="en-US" sz="1400" dirty="0">
                <a:solidFill>
                  <a:schemeClr val="accent1"/>
                </a:solidFill>
              </a:rPr>
              <a:t>GTACCAAA</a:t>
            </a:r>
            <a:r>
              <a:rPr lang="en-US" sz="1400" dirty="0"/>
              <a:t>C</a:t>
            </a:r>
            <a:r>
              <a:rPr lang="en-US" sz="1400" dirty="0">
                <a:solidFill>
                  <a:schemeClr val="accent1"/>
                </a:solidFill>
              </a:rPr>
              <a:t>CTG</a:t>
            </a:r>
          </a:p>
        </p:txBody>
      </p:sp>
      <p:sp>
        <p:nvSpPr>
          <p:cNvPr id="9" name="TextBox 8">
            <a:extLst>
              <a:ext uri="{FF2B5EF4-FFF2-40B4-BE49-F238E27FC236}">
                <a16:creationId xmlns:a16="http://schemas.microsoft.com/office/drawing/2014/main" id="{AE65974B-154B-DA4C-B9A5-BBE8B30609D8}"/>
              </a:ext>
            </a:extLst>
          </p:cNvPr>
          <p:cNvSpPr txBox="1"/>
          <p:nvPr/>
        </p:nvSpPr>
        <p:spPr>
          <a:xfrm>
            <a:off x="8080491" y="4300642"/>
            <a:ext cx="2306593" cy="307777"/>
          </a:xfrm>
          <a:prstGeom prst="rect">
            <a:avLst/>
          </a:prstGeom>
          <a:noFill/>
        </p:spPr>
        <p:txBody>
          <a:bodyPr wrap="none" rtlCol="0">
            <a:spAutoFit/>
          </a:bodyPr>
          <a:lstStyle/>
          <a:p>
            <a:r>
              <a:rPr lang="en-US" sz="1400" dirty="0">
                <a:solidFill>
                  <a:schemeClr val="accent1"/>
                </a:solidFill>
              </a:rPr>
              <a:t>TTCAAATG</a:t>
            </a:r>
            <a:r>
              <a:rPr lang="en-US" sz="1400" dirty="0"/>
              <a:t>C</a:t>
            </a:r>
            <a:r>
              <a:rPr lang="en-US" sz="1400" dirty="0">
                <a:solidFill>
                  <a:schemeClr val="accent1"/>
                </a:solidFill>
              </a:rPr>
              <a:t>GTAC</a:t>
            </a:r>
            <a:r>
              <a:rPr lang="en-US" sz="1400" dirty="0"/>
              <a:t>C</a:t>
            </a:r>
            <a:r>
              <a:rPr lang="en-US" sz="1400" dirty="0">
                <a:solidFill>
                  <a:schemeClr val="accent1"/>
                </a:solidFill>
              </a:rPr>
              <a:t>AAACCT</a:t>
            </a:r>
          </a:p>
        </p:txBody>
      </p:sp>
      <p:sp>
        <p:nvSpPr>
          <p:cNvPr id="10" name="TextBox 9">
            <a:extLst>
              <a:ext uri="{FF2B5EF4-FFF2-40B4-BE49-F238E27FC236}">
                <a16:creationId xmlns:a16="http://schemas.microsoft.com/office/drawing/2014/main" id="{D8BBCBC2-7335-EE41-B2D8-A64E4D29695F}"/>
              </a:ext>
            </a:extLst>
          </p:cNvPr>
          <p:cNvSpPr txBox="1"/>
          <p:nvPr/>
        </p:nvSpPr>
        <p:spPr>
          <a:xfrm>
            <a:off x="7864900" y="4641520"/>
            <a:ext cx="2195794" cy="307777"/>
          </a:xfrm>
          <a:prstGeom prst="rect">
            <a:avLst/>
          </a:prstGeom>
          <a:noFill/>
        </p:spPr>
        <p:txBody>
          <a:bodyPr wrap="none" rtlCol="0">
            <a:spAutoFit/>
          </a:bodyPr>
          <a:lstStyle/>
          <a:p>
            <a:r>
              <a:rPr lang="en-US" sz="1400" dirty="0">
                <a:solidFill>
                  <a:schemeClr val="accent1"/>
                </a:solidFill>
              </a:rPr>
              <a:t>TCTTCA</a:t>
            </a:r>
            <a:r>
              <a:rPr lang="en-US" sz="1400" dirty="0"/>
              <a:t>A</a:t>
            </a:r>
            <a:r>
              <a:rPr lang="en-US" sz="1400" dirty="0">
                <a:solidFill>
                  <a:schemeClr val="accent1"/>
                </a:solidFill>
              </a:rPr>
              <a:t>ATG</a:t>
            </a:r>
            <a:r>
              <a:rPr lang="en-US" sz="1400" dirty="0"/>
              <a:t>C</a:t>
            </a:r>
            <a:r>
              <a:rPr lang="en-US" sz="1400" dirty="0">
                <a:solidFill>
                  <a:schemeClr val="accent1"/>
                </a:solidFill>
              </a:rPr>
              <a:t>GTA</a:t>
            </a:r>
            <a:r>
              <a:rPr lang="en-US" sz="1400" dirty="0"/>
              <a:t>C</a:t>
            </a:r>
            <a:r>
              <a:rPr lang="en-US" sz="1400" dirty="0">
                <a:solidFill>
                  <a:schemeClr val="accent1"/>
                </a:solidFill>
              </a:rPr>
              <a:t>CAAA</a:t>
            </a:r>
          </a:p>
        </p:txBody>
      </p:sp>
      <p:sp>
        <p:nvSpPr>
          <p:cNvPr id="11" name="TextBox 10">
            <a:extLst>
              <a:ext uri="{FF2B5EF4-FFF2-40B4-BE49-F238E27FC236}">
                <a16:creationId xmlns:a16="http://schemas.microsoft.com/office/drawing/2014/main" id="{90020983-6984-FA4A-AED8-968B8D5B2973}"/>
              </a:ext>
            </a:extLst>
          </p:cNvPr>
          <p:cNvSpPr txBox="1"/>
          <p:nvPr/>
        </p:nvSpPr>
        <p:spPr>
          <a:xfrm>
            <a:off x="7307201" y="2967970"/>
            <a:ext cx="3853172" cy="646331"/>
          </a:xfrm>
          <a:prstGeom prst="rect">
            <a:avLst/>
          </a:prstGeom>
          <a:noFill/>
        </p:spPr>
        <p:txBody>
          <a:bodyPr wrap="square" rtlCol="0">
            <a:spAutoFit/>
          </a:bodyPr>
          <a:lstStyle/>
          <a:p>
            <a:r>
              <a:rPr lang="en-US" dirty="0"/>
              <a:t>Mutations (black letters) give each each virus a unique fingerprint</a:t>
            </a:r>
          </a:p>
        </p:txBody>
      </p:sp>
      <p:sp>
        <p:nvSpPr>
          <p:cNvPr id="15" name="TextBox 14">
            <a:extLst>
              <a:ext uri="{FF2B5EF4-FFF2-40B4-BE49-F238E27FC236}">
                <a16:creationId xmlns:a16="http://schemas.microsoft.com/office/drawing/2014/main" id="{27F1235F-876F-C046-A6A5-EF42B1BA553F}"/>
              </a:ext>
            </a:extLst>
          </p:cNvPr>
          <p:cNvSpPr txBox="1"/>
          <p:nvPr/>
        </p:nvSpPr>
        <p:spPr>
          <a:xfrm>
            <a:off x="416376" y="5482366"/>
            <a:ext cx="3884846" cy="923330"/>
          </a:xfrm>
          <a:prstGeom prst="rect">
            <a:avLst/>
          </a:prstGeom>
          <a:noFill/>
        </p:spPr>
        <p:txBody>
          <a:bodyPr wrap="none" rtlCol="0">
            <a:spAutoFit/>
          </a:bodyPr>
          <a:lstStyle/>
          <a:p>
            <a:r>
              <a:rPr lang="en-US" dirty="0"/>
              <a:t>Human genome=3 billion characters</a:t>
            </a:r>
          </a:p>
          <a:p>
            <a:r>
              <a:rPr lang="en-US" dirty="0"/>
              <a:t>= 20,000 books stacked up</a:t>
            </a:r>
          </a:p>
          <a:p>
            <a:r>
              <a:rPr lang="en-US" dirty="0"/>
              <a:t>Each book = 1500 letters</a:t>
            </a:r>
          </a:p>
        </p:txBody>
      </p:sp>
      <p:sp>
        <p:nvSpPr>
          <p:cNvPr id="16" name="TextBox 15">
            <a:extLst>
              <a:ext uri="{FF2B5EF4-FFF2-40B4-BE49-F238E27FC236}">
                <a16:creationId xmlns:a16="http://schemas.microsoft.com/office/drawing/2014/main" id="{3650FB1E-6552-2648-AF6E-29D11FFDA822}"/>
              </a:ext>
            </a:extLst>
          </p:cNvPr>
          <p:cNvSpPr txBox="1"/>
          <p:nvPr/>
        </p:nvSpPr>
        <p:spPr>
          <a:xfrm>
            <a:off x="7130091" y="5413641"/>
            <a:ext cx="4414670" cy="923330"/>
          </a:xfrm>
          <a:prstGeom prst="rect">
            <a:avLst/>
          </a:prstGeom>
          <a:noFill/>
        </p:spPr>
        <p:txBody>
          <a:bodyPr wrap="none" rtlCol="0">
            <a:spAutoFit/>
          </a:bodyPr>
          <a:lstStyle/>
          <a:p>
            <a:r>
              <a:rPr lang="en-US" dirty="0"/>
              <a:t>Corona virus genome =29,000 characters</a:t>
            </a:r>
          </a:p>
          <a:p>
            <a:r>
              <a:rPr lang="en-US" dirty="0"/>
              <a:t>= 19 books stacked up.</a:t>
            </a:r>
          </a:p>
          <a:p>
            <a:r>
              <a:rPr lang="en-US" dirty="0"/>
              <a:t>Each book = 1500 letters</a:t>
            </a:r>
          </a:p>
        </p:txBody>
      </p:sp>
      <p:pic>
        <p:nvPicPr>
          <p:cNvPr id="13" name="Picture 12">
            <a:extLst>
              <a:ext uri="{FF2B5EF4-FFF2-40B4-BE49-F238E27FC236}">
                <a16:creationId xmlns:a16="http://schemas.microsoft.com/office/drawing/2014/main" id="{F4866F2B-058A-984E-AE65-F1B966EF9C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94046" y="3604939"/>
            <a:ext cx="1193800" cy="1612900"/>
          </a:xfrm>
          <a:prstGeom prst="rect">
            <a:avLst/>
          </a:prstGeom>
        </p:spPr>
      </p:pic>
      <p:pic>
        <p:nvPicPr>
          <p:cNvPr id="22" name="Audio 21">
            <a:hlinkClick r:id="" action="ppaction://media"/>
            <a:extLst>
              <a:ext uri="{FF2B5EF4-FFF2-40B4-BE49-F238E27FC236}">
                <a16:creationId xmlns:a16="http://schemas.microsoft.com/office/drawing/2014/main" id="{84C458ED-1D46-CE45-B0A5-1932BFAEF3C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226800" y="5892800"/>
            <a:ext cx="812800" cy="812800"/>
          </a:xfrm>
          <a:prstGeom prst="rect">
            <a:avLst/>
          </a:prstGeom>
        </p:spPr>
      </p:pic>
      <p:pic>
        <p:nvPicPr>
          <p:cNvPr id="23" name="Picture 22" descr="Screen shot 2012-03-29 at 4.21.19 PM.png">
            <a:extLst>
              <a:ext uri="{FF2B5EF4-FFF2-40B4-BE49-F238E27FC236}">
                <a16:creationId xmlns:a16="http://schemas.microsoft.com/office/drawing/2014/main" id="{5D9E8964-9924-5C4B-9E25-C00F65B6154B}"/>
              </a:ext>
            </a:extLst>
          </p:cNvPr>
          <p:cNvPicPr>
            <a:picLocks noChangeAspect="1"/>
          </p:cNvPicPr>
          <p:nvPr/>
        </p:nvPicPr>
        <p:blipFill>
          <a:blip r:embed="rId7"/>
          <a:stretch>
            <a:fillRect/>
          </a:stretch>
        </p:blipFill>
        <p:spPr>
          <a:xfrm>
            <a:off x="4666416" y="4019610"/>
            <a:ext cx="2064176" cy="1551595"/>
          </a:xfrm>
          <a:prstGeom prst="rect">
            <a:avLst/>
          </a:prstGeom>
        </p:spPr>
      </p:pic>
    </p:spTree>
    <p:extLst>
      <p:ext uri="{BB962C8B-B14F-4D97-AF65-F5344CB8AC3E}">
        <p14:creationId xmlns:p14="http://schemas.microsoft.com/office/powerpoint/2010/main" val="69577588"/>
      </p:ext>
    </p:extLst>
  </p:cSld>
  <p:clrMapOvr>
    <a:masterClrMapping/>
  </p:clrMapOvr>
  <p:transition spd="slow" advTm="84454">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a:xfrm>
            <a:off x="492505" y="1825625"/>
            <a:ext cx="10515600" cy="705702"/>
          </a:xfrm>
        </p:spPr>
        <p:txBody>
          <a:bodyPr>
            <a:normAutofit/>
          </a:bodyPr>
          <a:lstStyle/>
          <a:p>
            <a:pPr marL="0" indent="0">
              <a:buNone/>
            </a:pPr>
            <a:r>
              <a:rPr lang="en-ZA" sz="2400" b="1" dirty="0"/>
              <a:t>Sequencing Capacity in Africa</a:t>
            </a:r>
            <a:endParaRPr lang="en-ZA" sz="2400" dirty="0"/>
          </a:p>
        </p:txBody>
      </p:sp>
      <p:cxnSp>
        <p:nvCxnSpPr>
          <p:cNvPr id="7" name="Straight Connector 6">
            <a:extLst>
              <a:ext uri="{FF2B5EF4-FFF2-40B4-BE49-F238E27FC236}">
                <a16:creationId xmlns:a16="http://schemas.microsoft.com/office/drawing/2014/main" id="{796DDFCB-5973-1F4C-B9B1-C185EFB14A2E}"/>
              </a:ext>
            </a:extLst>
          </p:cNvPr>
          <p:cNvCxnSpPr>
            <a:cxnSpLocks/>
          </p:cNvCxnSpPr>
          <p:nvPr/>
        </p:nvCxnSpPr>
        <p:spPr>
          <a:xfrm flipV="1">
            <a:off x="7734212" y="2488867"/>
            <a:ext cx="0" cy="382608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5720CBE-EFB8-2A4C-9774-C2A103773C42}"/>
              </a:ext>
            </a:extLst>
          </p:cNvPr>
          <p:cNvGrpSpPr/>
          <p:nvPr/>
        </p:nvGrpSpPr>
        <p:grpSpPr>
          <a:xfrm>
            <a:off x="7541450" y="2049273"/>
            <a:ext cx="338910" cy="254182"/>
            <a:chOff x="5370691" y="860827"/>
            <a:chExt cx="338910" cy="338909"/>
          </a:xfrm>
        </p:grpSpPr>
        <p:sp>
          <p:nvSpPr>
            <p:cNvPr id="9" name="Oval 8">
              <a:extLst>
                <a:ext uri="{FF2B5EF4-FFF2-40B4-BE49-F238E27FC236}">
                  <a16:creationId xmlns:a16="http://schemas.microsoft.com/office/drawing/2014/main" id="{DE680A4A-0433-9C4D-9547-CEA30BC2BD24}"/>
                </a:ext>
              </a:extLst>
            </p:cNvPr>
            <p:cNvSpPr/>
            <p:nvPr/>
          </p:nvSpPr>
          <p:spPr bwMode="gray">
            <a:xfrm>
              <a:off x="5370691" y="860827"/>
              <a:ext cx="338910" cy="338909"/>
            </a:xfrm>
            <a:prstGeom prst="ellipse">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000000"/>
                </a:solidFill>
              </a:endParaRPr>
            </a:p>
          </p:txBody>
        </p:sp>
        <p:sp>
          <p:nvSpPr>
            <p:cNvPr id="10" name="Chevron 9">
              <a:extLst>
                <a:ext uri="{FF2B5EF4-FFF2-40B4-BE49-F238E27FC236}">
                  <a16:creationId xmlns:a16="http://schemas.microsoft.com/office/drawing/2014/main" id="{FAC94129-CD33-1342-B1A9-8B572F1CCBB6}"/>
                </a:ext>
              </a:extLst>
            </p:cNvPr>
            <p:cNvSpPr/>
            <p:nvPr/>
          </p:nvSpPr>
          <p:spPr bwMode="gray">
            <a:xfrm>
              <a:off x="5430824" y="939035"/>
              <a:ext cx="124729" cy="164200"/>
            </a:xfrm>
            <a:prstGeom prst="chevron">
              <a:avLst>
                <a:gd name="adj" fmla="val 37528"/>
              </a:avLst>
            </a:prstGeom>
            <a:solidFill>
              <a:srgbClr val="FFC000"/>
            </a:solidFill>
            <a:ln w="19050">
              <a:noFill/>
            </a:ln>
            <a:effectLst/>
          </p:spPr>
          <p:txBody>
            <a:bodyPr wrap="square" lIns="54864" tIns="54864" rIns="54864" bIns="54864" anchor="ctr" anchorCtr="1">
              <a:noAutofit/>
            </a:bodyPr>
            <a:lstStyle/>
            <a:p>
              <a:pPr defTabSz="671513"/>
              <a:endParaRPr lang="en-US" sz="1050" dirty="0">
                <a:solidFill>
                  <a:srgbClr val="FFFFFF"/>
                </a:solidFill>
                <a:latin typeface="Arial"/>
                <a:cs typeface="Arial" charset="0"/>
              </a:endParaRPr>
            </a:p>
          </p:txBody>
        </p:sp>
        <p:sp>
          <p:nvSpPr>
            <p:cNvPr id="11" name="Chevron 10">
              <a:extLst>
                <a:ext uri="{FF2B5EF4-FFF2-40B4-BE49-F238E27FC236}">
                  <a16:creationId xmlns:a16="http://schemas.microsoft.com/office/drawing/2014/main" id="{7729B324-5443-3941-A6D3-9AEBA896498F}"/>
                </a:ext>
              </a:extLst>
            </p:cNvPr>
            <p:cNvSpPr/>
            <p:nvPr/>
          </p:nvSpPr>
          <p:spPr bwMode="gray">
            <a:xfrm>
              <a:off x="5520777" y="918344"/>
              <a:ext cx="156163" cy="205582"/>
            </a:xfrm>
            <a:prstGeom prst="chevron">
              <a:avLst>
                <a:gd name="adj" fmla="val 37528"/>
              </a:avLst>
            </a:prstGeom>
            <a:solidFill>
              <a:srgbClr val="002060"/>
            </a:solidFill>
            <a:ln w="19050">
              <a:noFill/>
            </a:ln>
            <a:effectLst/>
          </p:spPr>
          <p:txBody>
            <a:bodyPr wrap="square" lIns="54864" tIns="54864" rIns="54864" bIns="54864" anchor="ctr" anchorCtr="1">
              <a:noAutofit/>
            </a:bodyPr>
            <a:lstStyle/>
            <a:p>
              <a:pPr defTabSz="671513"/>
              <a:endParaRPr lang="en-US" sz="1050" dirty="0">
                <a:solidFill>
                  <a:srgbClr val="FFFFFF"/>
                </a:solidFill>
                <a:latin typeface="Arial"/>
                <a:cs typeface="Arial" charset="0"/>
              </a:endParaRPr>
            </a:p>
          </p:txBody>
        </p:sp>
      </p:grpSp>
      <p:sp>
        <p:nvSpPr>
          <p:cNvPr id="12" name="Freeform 201">
            <a:extLst>
              <a:ext uri="{FF2B5EF4-FFF2-40B4-BE49-F238E27FC236}">
                <a16:creationId xmlns:a16="http://schemas.microsoft.com/office/drawing/2014/main" id="{86CC2A23-6DDA-904C-A9E8-0022070D0452}"/>
              </a:ext>
            </a:extLst>
          </p:cNvPr>
          <p:cNvSpPr>
            <a:spLocks/>
          </p:cNvSpPr>
          <p:nvPr>
            <p:custDataLst>
              <p:tags r:id="rId1"/>
            </p:custDataLst>
          </p:nvPr>
        </p:nvSpPr>
        <p:spPr bwMode="gray">
          <a:xfrm>
            <a:off x="5097816" y="3944821"/>
            <a:ext cx="759808" cy="425183"/>
          </a:xfrm>
          <a:custGeom>
            <a:avLst/>
            <a:gdLst>
              <a:gd name="T0" fmla="*/ 445 w 516"/>
              <a:gd name="T1" fmla="*/ 339 h 385"/>
              <a:gd name="T2" fmla="*/ 394 w 516"/>
              <a:gd name="T3" fmla="*/ 376 h 385"/>
              <a:gd name="T4" fmla="*/ 346 w 516"/>
              <a:gd name="T5" fmla="*/ 382 h 385"/>
              <a:gd name="T6" fmla="*/ 324 w 516"/>
              <a:gd name="T7" fmla="*/ 384 h 385"/>
              <a:gd name="T8" fmla="*/ 291 w 516"/>
              <a:gd name="T9" fmla="*/ 385 h 385"/>
              <a:gd name="T10" fmla="*/ 256 w 516"/>
              <a:gd name="T11" fmla="*/ 360 h 385"/>
              <a:gd name="T12" fmla="*/ 219 w 516"/>
              <a:gd name="T13" fmla="*/ 345 h 385"/>
              <a:gd name="T14" fmla="*/ 186 w 516"/>
              <a:gd name="T15" fmla="*/ 352 h 385"/>
              <a:gd name="T16" fmla="*/ 148 w 516"/>
              <a:gd name="T17" fmla="*/ 327 h 385"/>
              <a:gd name="T18" fmla="*/ 133 w 516"/>
              <a:gd name="T19" fmla="*/ 312 h 385"/>
              <a:gd name="T20" fmla="*/ 99 w 516"/>
              <a:gd name="T21" fmla="*/ 277 h 385"/>
              <a:gd name="T22" fmla="*/ 85 w 516"/>
              <a:gd name="T23" fmla="*/ 246 h 385"/>
              <a:gd name="T24" fmla="*/ 54 w 516"/>
              <a:gd name="T25" fmla="*/ 222 h 385"/>
              <a:gd name="T26" fmla="*/ 34 w 516"/>
              <a:gd name="T27" fmla="*/ 192 h 385"/>
              <a:gd name="T28" fmla="*/ 1 w 516"/>
              <a:gd name="T29" fmla="*/ 175 h 385"/>
              <a:gd name="T30" fmla="*/ 22 w 516"/>
              <a:gd name="T31" fmla="*/ 130 h 385"/>
              <a:gd name="T32" fmla="*/ 39 w 516"/>
              <a:gd name="T33" fmla="*/ 93 h 385"/>
              <a:gd name="T34" fmla="*/ 102 w 516"/>
              <a:gd name="T35" fmla="*/ 112 h 385"/>
              <a:gd name="T36" fmla="*/ 163 w 516"/>
              <a:gd name="T37" fmla="*/ 120 h 385"/>
              <a:gd name="T38" fmla="*/ 204 w 516"/>
              <a:gd name="T39" fmla="*/ 124 h 385"/>
              <a:gd name="T40" fmla="*/ 223 w 516"/>
              <a:gd name="T41" fmla="*/ 111 h 385"/>
              <a:gd name="T42" fmla="*/ 256 w 516"/>
              <a:gd name="T43" fmla="*/ 84 h 385"/>
              <a:gd name="T44" fmla="*/ 315 w 516"/>
              <a:gd name="T45" fmla="*/ 112 h 385"/>
              <a:gd name="T46" fmla="*/ 363 w 516"/>
              <a:gd name="T47" fmla="*/ 60 h 385"/>
              <a:gd name="T48" fmla="*/ 352 w 516"/>
              <a:gd name="T49" fmla="*/ 13 h 385"/>
              <a:gd name="T50" fmla="*/ 396 w 516"/>
              <a:gd name="T51" fmla="*/ 46 h 385"/>
              <a:gd name="T52" fmla="*/ 429 w 516"/>
              <a:gd name="T53" fmla="*/ 84 h 385"/>
              <a:gd name="T54" fmla="*/ 432 w 516"/>
              <a:gd name="T55" fmla="*/ 124 h 385"/>
              <a:gd name="T56" fmla="*/ 402 w 516"/>
              <a:gd name="T57" fmla="*/ 171 h 385"/>
              <a:gd name="T58" fmla="*/ 412 w 516"/>
              <a:gd name="T59" fmla="*/ 202 h 385"/>
              <a:gd name="T60" fmla="*/ 450 w 516"/>
              <a:gd name="T61" fmla="*/ 243 h 385"/>
              <a:gd name="T62" fmla="*/ 474 w 516"/>
              <a:gd name="T63" fmla="*/ 289 h 385"/>
              <a:gd name="T64" fmla="*/ 489 w 516"/>
              <a:gd name="T65" fmla="*/ 309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6" h="385">
                <a:moveTo>
                  <a:pt x="508" y="339"/>
                </a:moveTo>
                <a:lnTo>
                  <a:pt x="445" y="339"/>
                </a:lnTo>
                <a:cubicBezTo>
                  <a:pt x="437" y="347"/>
                  <a:pt x="429" y="352"/>
                  <a:pt x="420" y="358"/>
                </a:cubicBezTo>
                <a:cubicBezTo>
                  <a:pt x="416" y="369"/>
                  <a:pt x="405" y="374"/>
                  <a:pt x="394" y="376"/>
                </a:cubicBezTo>
                <a:cubicBezTo>
                  <a:pt x="387" y="371"/>
                  <a:pt x="384" y="372"/>
                  <a:pt x="375" y="373"/>
                </a:cubicBezTo>
                <a:cubicBezTo>
                  <a:pt x="370" y="381"/>
                  <a:pt x="356" y="380"/>
                  <a:pt x="346" y="382"/>
                </a:cubicBezTo>
                <a:cubicBezTo>
                  <a:pt x="341" y="379"/>
                  <a:pt x="337" y="377"/>
                  <a:pt x="334" y="372"/>
                </a:cubicBezTo>
                <a:cubicBezTo>
                  <a:pt x="326" y="373"/>
                  <a:pt x="325" y="376"/>
                  <a:pt x="324" y="384"/>
                </a:cubicBezTo>
                <a:cubicBezTo>
                  <a:pt x="319" y="381"/>
                  <a:pt x="316" y="379"/>
                  <a:pt x="310" y="378"/>
                </a:cubicBezTo>
                <a:cubicBezTo>
                  <a:pt x="300" y="379"/>
                  <a:pt x="298" y="380"/>
                  <a:pt x="291" y="385"/>
                </a:cubicBezTo>
                <a:cubicBezTo>
                  <a:pt x="286" y="384"/>
                  <a:pt x="282" y="382"/>
                  <a:pt x="277" y="381"/>
                </a:cubicBezTo>
                <a:cubicBezTo>
                  <a:pt x="276" y="375"/>
                  <a:pt x="262" y="361"/>
                  <a:pt x="256" y="360"/>
                </a:cubicBezTo>
                <a:cubicBezTo>
                  <a:pt x="248" y="354"/>
                  <a:pt x="247" y="344"/>
                  <a:pt x="241" y="336"/>
                </a:cubicBezTo>
                <a:cubicBezTo>
                  <a:pt x="231" y="337"/>
                  <a:pt x="227" y="341"/>
                  <a:pt x="219" y="345"/>
                </a:cubicBezTo>
                <a:cubicBezTo>
                  <a:pt x="216" y="351"/>
                  <a:pt x="214" y="346"/>
                  <a:pt x="208" y="345"/>
                </a:cubicBezTo>
                <a:cubicBezTo>
                  <a:pt x="197" y="339"/>
                  <a:pt x="193" y="347"/>
                  <a:pt x="186" y="352"/>
                </a:cubicBezTo>
                <a:cubicBezTo>
                  <a:pt x="178" y="351"/>
                  <a:pt x="171" y="352"/>
                  <a:pt x="165" y="346"/>
                </a:cubicBezTo>
                <a:cubicBezTo>
                  <a:pt x="158" y="339"/>
                  <a:pt x="160" y="329"/>
                  <a:pt x="148" y="327"/>
                </a:cubicBezTo>
                <a:cubicBezTo>
                  <a:pt x="147" y="325"/>
                  <a:pt x="147" y="323"/>
                  <a:pt x="145" y="322"/>
                </a:cubicBezTo>
                <a:cubicBezTo>
                  <a:pt x="143" y="320"/>
                  <a:pt x="138" y="318"/>
                  <a:pt x="133" y="312"/>
                </a:cubicBezTo>
                <a:cubicBezTo>
                  <a:pt x="130" y="296"/>
                  <a:pt x="132" y="288"/>
                  <a:pt x="115" y="285"/>
                </a:cubicBezTo>
                <a:cubicBezTo>
                  <a:pt x="111" y="278"/>
                  <a:pt x="107" y="279"/>
                  <a:pt x="99" y="277"/>
                </a:cubicBezTo>
                <a:cubicBezTo>
                  <a:pt x="100" y="270"/>
                  <a:pt x="100" y="268"/>
                  <a:pt x="93" y="265"/>
                </a:cubicBezTo>
                <a:cubicBezTo>
                  <a:pt x="89" y="257"/>
                  <a:pt x="98" y="248"/>
                  <a:pt x="85" y="246"/>
                </a:cubicBezTo>
                <a:cubicBezTo>
                  <a:pt x="76" y="239"/>
                  <a:pt x="76" y="227"/>
                  <a:pt x="64" y="225"/>
                </a:cubicBezTo>
                <a:cubicBezTo>
                  <a:pt x="61" y="223"/>
                  <a:pt x="57" y="224"/>
                  <a:pt x="54" y="222"/>
                </a:cubicBezTo>
                <a:cubicBezTo>
                  <a:pt x="51" y="220"/>
                  <a:pt x="51" y="216"/>
                  <a:pt x="48" y="214"/>
                </a:cubicBezTo>
                <a:cubicBezTo>
                  <a:pt x="50" y="201"/>
                  <a:pt x="47" y="195"/>
                  <a:pt x="34" y="192"/>
                </a:cubicBezTo>
                <a:cubicBezTo>
                  <a:pt x="22" y="186"/>
                  <a:pt x="28" y="184"/>
                  <a:pt x="10" y="181"/>
                </a:cubicBezTo>
                <a:cubicBezTo>
                  <a:pt x="7" y="178"/>
                  <a:pt x="1" y="179"/>
                  <a:pt x="1" y="175"/>
                </a:cubicBezTo>
                <a:cubicBezTo>
                  <a:pt x="0" y="162"/>
                  <a:pt x="2" y="154"/>
                  <a:pt x="13" y="151"/>
                </a:cubicBezTo>
                <a:cubicBezTo>
                  <a:pt x="16" y="143"/>
                  <a:pt x="18" y="137"/>
                  <a:pt x="22" y="130"/>
                </a:cubicBezTo>
                <a:cubicBezTo>
                  <a:pt x="23" y="122"/>
                  <a:pt x="23" y="115"/>
                  <a:pt x="27" y="108"/>
                </a:cubicBezTo>
                <a:cubicBezTo>
                  <a:pt x="29" y="99"/>
                  <a:pt x="32" y="98"/>
                  <a:pt x="39" y="93"/>
                </a:cubicBezTo>
                <a:cubicBezTo>
                  <a:pt x="48" y="78"/>
                  <a:pt x="53" y="85"/>
                  <a:pt x="75" y="87"/>
                </a:cubicBezTo>
                <a:cubicBezTo>
                  <a:pt x="85" y="90"/>
                  <a:pt x="93" y="107"/>
                  <a:pt x="102" y="112"/>
                </a:cubicBezTo>
                <a:cubicBezTo>
                  <a:pt x="104" y="128"/>
                  <a:pt x="116" y="119"/>
                  <a:pt x="129" y="117"/>
                </a:cubicBezTo>
                <a:cubicBezTo>
                  <a:pt x="140" y="117"/>
                  <a:pt x="154" y="114"/>
                  <a:pt x="163" y="120"/>
                </a:cubicBezTo>
                <a:cubicBezTo>
                  <a:pt x="168" y="123"/>
                  <a:pt x="167" y="126"/>
                  <a:pt x="174" y="127"/>
                </a:cubicBezTo>
                <a:cubicBezTo>
                  <a:pt x="184" y="127"/>
                  <a:pt x="196" y="131"/>
                  <a:pt x="204" y="124"/>
                </a:cubicBezTo>
                <a:cubicBezTo>
                  <a:pt x="206" y="123"/>
                  <a:pt x="204" y="120"/>
                  <a:pt x="205" y="118"/>
                </a:cubicBezTo>
                <a:cubicBezTo>
                  <a:pt x="207" y="110"/>
                  <a:pt x="216" y="112"/>
                  <a:pt x="223" y="111"/>
                </a:cubicBezTo>
                <a:cubicBezTo>
                  <a:pt x="237" y="108"/>
                  <a:pt x="225" y="98"/>
                  <a:pt x="240" y="96"/>
                </a:cubicBezTo>
                <a:cubicBezTo>
                  <a:pt x="244" y="93"/>
                  <a:pt x="256" y="84"/>
                  <a:pt x="256" y="84"/>
                </a:cubicBezTo>
                <a:lnTo>
                  <a:pt x="297" y="112"/>
                </a:lnTo>
                <a:lnTo>
                  <a:pt x="315" y="112"/>
                </a:lnTo>
                <a:lnTo>
                  <a:pt x="343" y="78"/>
                </a:lnTo>
                <a:lnTo>
                  <a:pt x="363" y="60"/>
                </a:lnTo>
                <a:lnTo>
                  <a:pt x="366" y="25"/>
                </a:lnTo>
                <a:lnTo>
                  <a:pt x="352" y="13"/>
                </a:lnTo>
                <a:cubicBezTo>
                  <a:pt x="379" y="12"/>
                  <a:pt x="379" y="19"/>
                  <a:pt x="382" y="0"/>
                </a:cubicBezTo>
                <a:cubicBezTo>
                  <a:pt x="402" y="3"/>
                  <a:pt x="388" y="30"/>
                  <a:pt x="396" y="46"/>
                </a:cubicBezTo>
                <a:cubicBezTo>
                  <a:pt x="397" y="62"/>
                  <a:pt x="398" y="74"/>
                  <a:pt x="415" y="76"/>
                </a:cubicBezTo>
                <a:cubicBezTo>
                  <a:pt x="420" y="79"/>
                  <a:pt x="424" y="82"/>
                  <a:pt x="429" y="84"/>
                </a:cubicBezTo>
                <a:cubicBezTo>
                  <a:pt x="430" y="91"/>
                  <a:pt x="430" y="97"/>
                  <a:pt x="427" y="103"/>
                </a:cubicBezTo>
                <a:cubicBezTo>
                  <a:pt x="425" y="112"/>
                  <a:pt x="427" y="117"/>
                  <a:pt x="432" y="124"/>
                </a:cubicBezTo>
                <a:cubicBezTo>
                  <a:pt x="433" y="148"/>
                  <a:pt x="444" y="162"/>
                  <a:pt x="424" y="166"/>
                </a:cubicBezTo>
                <a:cubicBezTo>
                  <a:pt x="418" y="177"/>
                  <a:pt x="413" y="172"/>
                  <a:pt x="402" y="171"/>
                </a:cubicBezTo>
                <a:cubicBezTo>
                  <a:pt x="388" y="173"/>
                  <a:pt x="390" y="179"/>
                  <a:pt x="388" y="192"/>
                </a:cubicBezTo>
                <a:cubicBezTo>
                  <a:pt x="392" y="211"/>
                  <a:pt x="386" y="201"/>
                  <a:pt x="412" y="202"/>
                </a:cubicBezTo>
                <a:cubicBezTo>
                  <a:pt x="420" y="207"/>
                  <a:pt x="424" y="220"/>
                  <a:pt x="432" y="225"/>
                </a:cubicBezTo>
                <a:cubicBezTo>
                  <a:pt x="437" y="232"/>
                  <a:pt x="442" y="238"/>
                  <a:pt x="450" y="243"/>
                </a:cubicBezTo>
                <a:cubicBezTo>
                  <a:pt x="455" y="250"/>
                  <a:pt x="464" y="252"/>
                  <a:pt x="469" y="259"/>
                </a:cubicBezTo>
                <a:cubicBezTo>
                  <a:pt x="472" y="286"/>
                  <a:pt x="468" y="277"/>
                  <a:pt x="474" y="289"/>
                </a:cubicBezTo>
                <a:cubicBezTo>
                  <a:pt x="475" y="296"/>
                  <a:pt x="477" y="297"/>
                  <a:pt x="483" y="300"/>
                </a:cubicBezTo>
                <a:cubicBezTo>
                  <a:pt x="485" y="303"/>
                  <a:pt x="485" y="308"/>
                  <a:pt x="489" y="309"/>
                </a:cubicBezTo>
                <a:cubicBezTo>
                  <a:pt x="516" y="313"/>
                  <a:pt x="503" y="286"/>
                  <a:pt x="508" y="339"/>
                </a:cubicBez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13" name="Freeform 202">
            <a:extLst>
              <a:ext uri="{FF2B5EF4-FFF2-40B4-BE49-F238E27FC236}">
                <a16:creationId xmlns:a16="http://schemas.microsoft.com/office/drawing/2014/main" id="{18AB0FF4-3A98-FC41-9FA1-B96D87903472}"/>
              </a:ext>
            </a:extLst>
          </p:cNvPr>
          <p:cNvSpPr>
            <a:spLocks/>
          </p:cNvSpPr>
          <p:nvPr>
            <p:custDataLst>
              <p:tags r:id="rId2"/>
            </p:custDataLst>
          </p:nvPr>
        </p:nvSpPr>
        <p:spPr bwMode="gray">
          <a:xfrm>
            <a:off x="4949094" y="3392628"/>
            <a:ext cx="1067560" cy="729990"/>
          </a:xfrm>
          <a:custGeom>
            <a:avLst/>
            <a:gdLst>
              <a:gd name="T0" fmla="*/ 96 w 725"/>
              <a:gd name="T1" fmla="*/ 348 h 661"/>
              <a:gd name="T2" fmla="*/ 138 w 725"/>
              <a:gd name="T3" fmla="*/ 149 h 661"/>
              <a:gd name="T4" fmla="*/ 465 w 725"/>
              <a:gd name="T5" fmla="*/ 59 h 661"/>
              <a:gd name="T6" fmla="*/ 509 w 725"/>
              <a:gd name="T7" fmla="*/ 72 h 661"/>
              <a:gd name="T8" fmla="*/ 537 w 725"/>
              <a:gd name="T9" fmla="*/ 56 h 661"/>
              <a:gd name="T10" fmla="*/ 566 w 725"/>
              <a:gd name="T11" fmla="*/ 29 h 661"/>
              <a:gd name="T12" fmla="*/ 596 w 725"/>
              <a:gd name="T13" fmla="*/ 3 h 661"/>
              <a:gd name="T14" fmla="*/ 620 w 725"/>
              <a:gd name="T15" fmla="*/ 24 h 661"/>
              <a:gd name="T16" fmla="*/ 633 w 725"/>
              <a:gd name="T17" fmla="*/ 36 h 661"/>
              <a:gd name="T18" fmla="*/ 659 w 725"/>
              <a:gd name="T19" fmla="*/ 78 h 661"/>
              <a:gd name="T20" fmla="*/ 669 w 725"/>
              <a:gd name="T21" fmla="*/ 147 h 661"/>
              <a:gd name="T22" fmla="*/ 694 w 725"/>
              <a:gd name="T23" fmla="*/ 215 h 661"/>
              <a:gd name="T24" fmla="*/ 725 w 725"/>
              <a:gd name="T25" fmla="*/ 242 h 661"/>
              <a:gd name="T26" fmla="*/ 678 w 725"/>
              <a:gd name="T27" fmla="*/ 276 h 661"/>
              <a:gd name="T28" fmla="*/ 653 w 725"/>
              <a:gd name="T29" fmla="*/ 321 h 661"/>
              <a:gd name="T30" fmla="*/ 633 w 725"/>
              <a:gd name="T31" fmla="*/ 378 h 661"/>
              <a:gd name="T32" fmla="*/ 605 w 725"/>
              <a:gd name="T33" fmla="*/ 483 h 661"/>
              <a:gd name="T34" fmla="*/ 584 w 725"/>
              <a:gd name="T35" fmla="*/ 518 h 661"/>
              <a:gd name="T36" fmla="*/ 569 w 725"/>
              <a:gd name="T37" fmla="*/ 552 h 661"/>
              <a:gd name="T38" fmla="*/ 543 w 725"/>
              <a:gd name="T39" fmla="*/ 582 h 661"/>
              <a:gd name="T40" fmla="*/ 527 w 725"/>
              <a:gd name="T41" fmla="*/ 608 h 661"/>
              <a:gd name="T42" fmla="*/ 501 w 725"/>
              <a:gd name="T43" fmla="*/ 561 h 661"/>
              <a:gd name="T44" fmla="*/ 483 w 725"/>
              <a:gd name="T45" fmla="*/ 501 h 661"/>
              <a:gd name="T46" fmla="*/ 452 w 725"/>
              <a:gd name="T47" fmla="*/ 515 h 661"/>
              <a:gd name="T48" fmla="*/ 467 w 725"/>
              <a:gd name="T49" fmla="*/ 560 h 661"/>
              <a:gd name="T50" fmla="*/ 416 w 725"/>
              <a:gd name="T51" fmla="*/ 612 h 661"/>
              <a:gd name="T52" fmla="*/ 359 w 725"/>
              <a:gd name="T53" fmla="*/ 585 h 661"/>
              <a:gd name="T54" fmla="*/ 329 w 725"/>
              <a:gd name="T55" fmla="*/ 609 h 661"/>
              <a:gd name="T56" fmla="*/ 293 w 725"/>
              <a:gd name="T57" fmla="*/ 627 h 661"/>
              <a:gd name="T58" fmla="*/ 203 w 725"/>
              <a:gd name="T59" fmla="*/ 620 h 661"/>
              <a:gd name="T60" fmla="*/ 134 w 725"/>
              <a:gd name="T61" fmla="*/ 597 h 661"/>
              <a:gd name="T62" fmla="*/ 104 w 725"/>
              <a:gd name="T63" fmla="*/ 659 h 661"/>
              <a:gd name="T64" fmla="*/ 80 w 725"/>
              <a:gd name="T65" fmla="*/ 626 h 661"/>
              <a:gd name="T66" fmla="*/ 57 w 725"/>
              <a:gd name="T67" fmla="*/ 578 h 661"/>
              <a:gd name="T68" fmla="*/ 47 w 725"/>
              <a:gd name="T69" fmla="*/ 540 h 661"/>
              <a:gd name="T70" fmla="*/ 30 w 725"/>
              <a:gd name="T71" fmla="*/ 522 h 661"/>
              <a:gd name="T72" fmla="*/ 5 w 725"/>
              <a:gd name="T73" fmla="*/ 483 h 661"/>
              <a:gd name="T74" fmla="*/ 17 w 725"/>
              <a:gd name="T75" fmla="*/ 444 h 661"/>
              <a:gd name="T76" fmla="*/ 30 w 725"/>
              <a:gd name="T77" fmla="*/ 420 h 661"/>
              <a:gd name="T78" fmla="*/ 44 w 725"/>
              <a:gd name="T79" fmla="*/ 37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5" h="661">
                <a:moveTo>
                  <a:pt x="53" y="345"/>
                </a:moveTo>
                <a:lnTo>
                  <a:pt x="96" y="348"/>
                </a:lnTo>
                <a:lnTo>
                  <a:pt x="95" y="146"/>
                </a:lnTo>
                <a:lnTo>
                  <a:pt x="138" y="149"/>
                </a:lnTo>
                <a:lnTo>
                  <a:pt x="137" y="59"/>
                </a:lnTo>
                <a:lnTo>
                  <a:pt x="465" y="59"/>
                </a:lnTo>
                <a:lnTo>
                  <a:pt x="495" y="54"/>
                </a:lnTo>
                <a:lnTo>
                  <a:pt x="509" y="72"/>
                </a:lnTo>
                <a:lnTo>
                  <a:pt x="531" y="69"/>
                </a:lnTo>
                <a:cubicBezTo>
                  <a:pt x="530" y="61"/>
                  <a:pt x="531" y="60"/>
                  <a:pt x="537" y="56"/>
                </a:cubicBezTo>
                <a:cubicBezTo>
                  <a:pt x="542" y="42"/>
                  <a:pt x="540" y="42"/>
                  <a:pt x="558" y="41"/>
                </a:cubicBezTo>
                <a:cubicBezTo>
                  <a:pt x="565" y="38"/>
                  <a:pt x="563" y="35"/>
                  <a:pt x="566" y="29"/>
                </a:cubicBezTo>
                <a:cubicBezTo>
                  <a:pt x="568" y="20"/>
                  <a:pt x="572" y="18"/>
                  <a:pt x="581" y="17"/>
                </a:cubicBezTo>
                <a:cubicBezTo>
                  <a:pt x="586" y="15"/>
                  <a:pt x="587" y="0"/>
                  <a:pt x="596" y="3"/>
                </a:cubicBezTo>
                <a:cubicBezTo>
                  <a:pt x="600" y="4"/>
                  <a:pt x="600" y="20"/>
                  <a:pt x="604" y="23"/>
                </a:cubicBezTo>
                <a:cubicBezTo>
                  <a:pt x="608" y="26"/>
                  <a:pt x="616" y="25"/>
                  <a:pt x="620" y="24"/>
                </a:cubicBezTo>
                <a:cubicBezTo>
                  <a:pt x="624" y="23"/>
                  <a:pt x="627" y="13"/>
                  <a:pt x="629" y="15"/>
                </a:cubicBezTo>
                <a:cubicBezTo>
                  <a:pt x="631" y="17"/>
                  <a:pt x="629" y="28"/>
                  <a:pt x="633" y="36"/>
                </a:cubicBezTo>
                <a:cubicBezTo>
                  <a:pt x="645" y="44"/>
                  <a:pt x="649" y="55"/>
                  <a:pt x="653" y="62"/>
                </a:cubicBezTo>
                <a:cubicBezTo>
                  <a:pt x="657" y="67"/>
                  <a:pt x="656" y="72"/>
                  <a:pt x="659" y="78"/>
                </a:cubicBezTo>
                <a:cubicBezTo>
                  <a:pt x="661" y="86"/>
                  <a:pt x="664" y="94"/>
                  <a:pt x="666" y="105"/>
                </a:cubicBezTo>
                <a:cubicBezTo>
                  <a:pt x="668" y="116"/>
                  <a:pt x="668" y="132"/>
                  <a:pt x="669" y="147"/>
                </a:cubicBezTo>
                <a:cubicBezTo>
                  <a:pt x="672" y="160"/>
                  <a:pt x="669" y="184"/>
                  <a:pt x="673" y="194"/>
                </a:cubicBezTo>
                <a:cubicBezTo>
                  <a:pt x="677" y="205"/>
                  <a:pt x="688" y="209"/>
                  <a:pt x="694" y="215"/>
                </a:cubicBezTo>
                <a:cubicBezTo>
                  <a:pt x="700" y="223"/>
                  <a:pt x="699" y="226"/>
                  <a:pt x="710" y="228"/>
                </a:cubicBezTo>
                <a:cubicBezTo>
                  <a:pt x="717" y="233"/>
                  <a:pt x="720" y="234"/>
                  <a:pt x="725" y="242"/>
                </a:cubicBezTo>
                <a:cubicBezTo>
                  <a:pt x="719" y="254"/>
                  <a:pt x="710" y="267"/>
                  <a:pt x="696" y="270"/>
                </a:cubicBezTo>
                <a:cubicBezTo>
                  <a:pt x="690" y="273"/>
                  <a:pt x="684" y="275"/>
                  <a:pt x="678" y="276"/>
                </a:cubicBezTo>
                <a:cubicBezTo>
                  <a:pt x="677" y="288"/>
                  <a:pt x="666" y="281"/>
                  <a:pt x="657" y="287"/>
                </a:cubicBezTo>
                <a:cubicBezTo>
                  <a:pt x="650" y="296"/>
                  <a:pt x="662" y="314"/>
                  <a:pt x="653" y="321"/>
                </a:cubicBezTo>
                <a:cubicBezTo>
                  <a:pt x="647" y="335"/>
                  <a:pt x="648" y="347"/>
                  <a:pt x="639" y="360"/>
                </a:cubicBezTo>
                <a:cubicBezTo>
                  <a:pt x="638" y="366"/>
                  <a:pt x="636" y="372"/>
                  <a:pt x="633" y="378"/>
                </a:cubicBezTo>
                <a:cubicBezTo>
                  <a:pt x="639" y="394"/>
                  <a:pt x="644" y="441"/>
                  <a:pt x="629" y="452"/>
                </a:cubicBezTo>
                <a:cubicBezTo>
                  <a:pt x="618" y="473"/>
                  <a:pt x="635" y="479"/>
                  <a:pt x="605" y="483"/>
                </a:cubicBezTo>
                <a:cubicBezTo>
                  <a:pt x="599" y="493"/>
                  <a:pt x="598" y="504"/>
                  <a:pt x="588" y="509"/>
                </a:cubicBezTo>
                <a:cubicBezTo>
                  <a:pt x="586" y="512"/>
                  <a:pt x="586" y="515"/>
                  <a:pt x="584" y="518"/>
                </a:cubicBezTo>
                <a:cubicBezTo>
                  <a:pt x="582" y="521"/>
                  <a:pt x="575" y="525"/>
                  <a:pt x="575" y="525"/>
                </a:cubicBezTo>
                <a:cubicBezTo>
                  <a:pt x="574" y="535"/>
                  <a:pt x="575" y="544"/>
                  <a:pt x="569" y="552"/>
                </a:cubicBezTo>
                <a:cubicBezTo>
                  <a:pt x="567" y="569"/>
                  <a:pt x="568" y="569"/>
                  <a:pt x="552" y="570"/>
                </a:cubicBezTo>
                <a:cubicBezTo>
                  <a:pt x="551" y="577"/>
                  <a:pt x="549" y="578"/>
                  <a:pt x="543" y="582"/>
                </a:cubicBezTo>
                <a:cubicBezTo>
                  <a:pt x="541" y="594"/>
                  <a:pt x="542" y="605"/>
                  <a:pt x="537" y="617"/>
                </a:cubicBezTo>
                <a:cubicBezTo>
                  <a:pt x="534" y="621"/>
                  <a:pt x="531" y="615"/>
                  <a:pt x="527" y="608"/>
                </a:cubicBezTo>
                <a:cubicBezTo>
                  <a:pt x="535" y="595"/>
                  <a:pt x="526" y="581"/>
                  <a:pt x="513" y="578"/>
                </a:cubicBezTo>
                <a:cubicBezTo>
                  <a:pt x="507" y="574"/>
                  <a:pt x="504" y="568"/>
                  <a:pt x="501" y="561"/>
                </a:cubicBezTo>
                <a:cubicBezTo>
                  <a:pt x="500" y="549"/>
                  <a:pt x="502" y="545"/>
                  <a:pt x="495" y="536"/>
                </a:cubicBezTo>
                <a:cubicBezTo>
                  <a:pt x="495" y="533"/>
                  <a:pt x="506" y="488"/>
                  <a:pt x="483" y="501"/>
                </a:cubicBezTo>
                <a:cubicBezTo>
                  <a:pt x="479" y="503"/>
                  <a:pt x="484" y="514"/>
                  <a:pt x="476" y="515"/>
                </a:cubicBezTo>
                <a:cubicBezTo>
                  <a:pt x="468" y="516"/>
                  <a:pt x="460" y="515"/>
                  <a:pt x="452" y="515"/>
                </a:cubicBezTo>
                <a:lnTo>
                  <a:pt x="467" y="527"/>
                </a:lnTo>
                <a:lnTo>
                  <a:pt x="467" y="560"/>
                </a:lnTo>
                <a:lnTo>
                  <a:pt x="444" y="579"/>
                </a:lnTo>
                <a:lnTo>
                  <a:pt x="416" y="612"/>
                </a:lnTo>
                <a:lnTo>
                  <a:pt x="399" y="614"/>
                </a:lnTo>
                <a:lnTo>
                  <a:pt x="359" y="585"/>
                </a:lnTo>
                <a:cubicBezTo>
                  <a:pt x="352" y="589"/>
                  <a:pt x="344" y="590"/>
                  <a:pt x="339" y="596"/>
                </a:cubicBezTo>
                <a:cubicBezTo>
                  <a:pt x="324" y="613"/>
                  <a:pt x="352" y="606"/>
                  <a:pt x="329" y="609"/>
                </a:cubicBezTo>
                <a:cubicBezTo>
                  <a:pt x="323" y="613"/>
                  <a:pt x="316" y="614"/>
                  <a:pt x="309" y="615"/>
                </a:cubicBezTo>
                <a:cubicBezTo>
                  <a:pt x="307" y="625"/>
                  <a:pt x="303" y="626"/>
                  <a:pt x="293" y="627"/>
                </a:cubicBezTo>
                <a:cubicBezTo>
                  <a:pt x="285" y="630"/>
                  <a:pt x="281" y="630"/>
                  <a:pt x="272" y="629"/>
                </a:cubicBezTo>
                <a:cubicBezTo>
                  <a:pt x="262" y="605"/>
                  <a:pt x="222" y="620"/>
                  <a:pt x="203" y="620"/>
                </a:cubicBezTo>
                <a:cubicBezTo>
                  <a:pt x="198" y="608"/>
                  <a:pt x="185" y="591"/>
                  <a:pt x="174" y="584"/>
                </a:cubicBezTo>
                <a:cubicBezTo>
                  <a:pt x="125" y="586"/>
                  <a:pt x="154" y="582"/>
                  <a:pt x="134" y="597"/>
                </a:cubicBezTo>
                <a:cubicBezTo>
                  <a:pt x="128" y="608"/>
                  <a:pt x="128" y="619"/>
                  <a:pt x="123" y="630"/>
                </a:cubicBezTo>
                <a:cubicBezTo>
                  <a:pt x="122" y="640"/>
                  <a:pt x="112" y="653"/>
                  <a:pt x="104" y="659"/>
                </a:cubicBezTo>
                <a:cubicBezTo>
                  <a:pt x="76" y="658"/>
                  <a:pt x="75" y="661"/>
                  <a:pt x="71" y="639"/>
                </a:cubicBezTo>
                <a:cubicBezTo>
                  <a:pt x="72" y="631"/>
                  <a:pt x="76" y="632"/>
                  <a:pt x="80" y="626"/>
                </a:cubicBezTo>
                <a:cubicBezTo>
                  <a:pt x="82" y="615"/>
                  <a:pt x="80" y="607"/>
                  <a:pt x="75" y="596"/>
                </a:cubicBezTo>
                <a:cubicBezTo>
                  <a:pt x="73" y="588"/>
                  <a:pt x="64" y="582"/>
                  <a:pt x="57" y="578"/>
                </a:cubicBezTo>
                <a:cubicBezTo>
                  <a:pt x="53" y="572"/>
                  <a:pt x="51" y="566"/>
                  <a:pt x="48" y="560"/>
                </a:cubicBezTo>
                <a:cubicBezTo>
                  <a:pt x="48" y="553"/>
                  <a:pt x="49" y="546"/>
                  <a:pt x="47" y="540"/>
                </a:cubicBezTo>
                <a:cubicBezTo>
                  <a:pt x="47" y="538"/>
                  <a:pt x="43" y="540"/>
                  <a:pt x="42" y="539"/>
                </a:cubicBezTo>
                <a:cubicBezTo>
                  <a:pt x="37" y="536"/>
                  <a:pt x="32" y="527"/>
                  <a:pt x="30" y="522"/>
                </a:cubicBezTo>
                <a:cubicBezTo>
                  <a:pt x="29" y="508"/>
                  <a:pt x="26" y="496"/>
                  <a:pt x="24" y="482"/>
                </a:cubicBezTo>
                <a:cubicBezTo>
                  <a:pt x="17" y="483"/>
                  <a:pt x="11" y="486"/>
                  <a:pt x="5" y="483"/>
                </a:cubicBezTo>
                <a:cubicBezTo>
                  <a:pt x="0" y="473"/>
                  <a:pt x="0" y="463"/>
                  <a:pt x="11" y="459"/>
                </a:cubicBezTo>
                <a:cubicBezTo>
                  <a:pt x="15" y="454"/>
                  <a:pt x="15" y="450"/>
                  <a:pt x="17" y="444"/>
                </a:cubicBezTo>
                <a:cubicBezTo>
                  <a:pt x="14" y="440"/>
                  <a:pt x="11" y="436"/>
                  <a:pt x="9" y="431"/>
                </a:cubicBezTo>
                <a:cubicBezTo>
                  <a:pt x="21" y="428"/>
                  <a:pt x="21" y="427"/>
                  <a:pt x="30" y="420"/>
                </a:cubicBezTo>
                <a:cubicBezTo>
                  <a:pt x="17" y="403"/>
                  <a:pt x="33" y="393"/>
                  <a:pt x="47" y="390"/>
                </a:cubicBezTo>
                <a:cubicBezTo>
                  <a:pt x="43" y="385"/>
                  <a:pt x="39" y="383"/>
                  <a:pt x="44" y="377"/>
                </a:cubicBezTo>
                <a:cubicBezTo>
                  <a:pt x="47" y="361"/>
                  <a:pt x="54" y="365"/>
                  <a:pt x="53" y="345"/>
                </a:cubicBezTo>
                <a:close/>
              </a:path>
            </a:pathLst>
          </a:custGeom>
          <a:solidFill>
            <a:schemeClr val="bg1">
              <a:lumMod val="65000"/>
            </a:schemeClr>
          </a:solidFill>
          <a:ln w="9525" cap="flat" cmpd="sng">
            <a:solidFill>
              <a:schemeClr val="bg1"/>
            </a:solidFill>
            <a:prstDash val="solid"/>
            <a:round/>
            <a:headEnd type="none" w="med" len="med"/>
            <a:tailEnd type="none" w="med" len="med"/>
          </a:ln>
          <a:effectLst/>
        </p:spPr>
        <p:txBody>
          <a:bodyPr/>
          <a:lstStyle/>
          <a:p>
            <a:endParaRPr lang="en-CA" sz="612"/>
          </a:p>
        </p:txBody>
      </p:sp>
      <p:sp>
        <p:nvSpPr>
          <p:cNvPr id="14" name="Rectangle 4">
            <a:extLst>
              <a:ext uri="{FF2B5EF4-FFF2-40B4-BE49-F238E27FC236}">
                <a16:creationId xmlns:a16="http://schemas.microsoft.com/office/drawing/2014/main" id="{C16DF486-D3A0-EB46-8056-E83FF6C1319C}"/>
              </a:ext>
            </a:extLst>
          </p:cNvPr>
          <p:cNvSpPr>
            <a:spLocks noChangeArrowheads="1"/>
          </p:cNvSpPr>
          <p:nvPr>
            <p:custDataLst>
              <p:tags r:id="rId3"/>
            </p:custDataLst>
          </p:nvPr>
        </p:nvSpPr>
        <p:spPr bwMode="gray">
          <a:xfrm>
            <a:off x="3176217" y="5314244"/>
            <a:ext cx="13253" cy="11044"/>
          </a:xfrm>
          <a:prstGeom prst="rect">
            <a:avLst/>
          </a:pr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GB" sz="612"/>
          </a:p>
        </p:txBody>
      </p:sp>
      <p:sp>
        <p:nvSpPr>
          <p:cNvPr id="15" name="Freeform 5">
            <a:extLst>
              <a:ext uri="{FF2B5EF4-FFF2-40B4-BE49-F238E27FC236}">
                <a16:creationId xmlns:a16="http://schemas.microsoft.com/office/drawing/2014/main" id="{38AA5DA6-3557-BD4F-8602-8743DAB4BB95}"/>
              </a:ext>
            </a:extLst>
          </p:cNvPr>
          <p:cNvSpPr>
            <a:spLocks/>
          </p:cNvSpPr>
          <p:nvPr>
            <p:custDataLst>
              <p:tags r:id="rId4"/>
            </p:custDataLst>
          </p:nvPr>
        </p:nvSpPr>
        <p:spPr bwMode="gray">
          <a:xfrm>
            <a:off x="2706483" y="2686939"/>
            <a:ext cx="778950" cy="466045"/>
          </a:xfrm>
          <a:custGeom>
            <a:avLst/>
            <a:gdLst>
              <a:gd name="T0" fmla="*/ 1933 w 678"/>
              <a:gd name="T1" fmla="*/ 191995 h 540"/>
              <a:gd name="T2" fmla="*/ 8697 w 678"/>
              <a:gd name="T3" fmla="*/ 185208 h 540"/>
              <a:gd name="T4" fmla="*/ 17395 w 678"/>
              <a:gd name="T5" fmla="*/ 185208 h 540"/>
              <a:gd name="T6" fmla="*/ 27058 w 678"/>
              <a:gd name="T7" fmla="*/ 181329 h 540"/>
              <a:gd name="T8" fmla="*/ 33822 w 678"/>
              <a:gd name="T9" fmla="*/ 174542 h 540"/>
              <a:gd name="T10" fmla="*/ 40586 w 678"/>
              <a:gd name="T11" fmla="*/ 168723 h 540"/>
              <a:gd name="T12" fmla="*/ 51216 w 678"/>
              <a:gd name="T13" fmla="*/ 164845 h 540"/>
              <a:gd name="T14" fmla="*/ 57015 w 678"/>
              <a:gd name="T15" fmla="*/ 158057 h 540"/>
              <a:gd name="T16" fmla="*/ 60880 w 678"/>
              <a:gd name="T17" fmla="*/ 149329 h 540"/>
              <a:gd name="T18" fmla="*/ 67644 w 678"/>
              <a:gd name="T19" fmla="*/ 138664 h 540"/>
              <a:gd name="T20" fmla="*/ 67644 w 678"/>
              <a:gd name="T21" fmla="*/ 127997 h 540"/>
              <a:gd name="T22" fmla="*/ 65711 w 678"/>
              <a:gd name="T23" fmla="*/ 121209 h 540"/>
              <a:gd name="T24" fmla="*/ 65711 w 678"/>
              <a:gd name="T25" fmla="*/ 108603 h 540"/>
              <a:gd name="T26" fmla="*/ 70543 w 678"/>
              <a:gd name="T27" fmla="*/ 100846 h 540"/>
              <a:gd name="T28" fmla="*/ 76341 w 678"/>
              <a:gd name="T29" fmla="*/ 94058 h 540"/>
              <a:gd name="T30" fmla="*/ 76341 w 678"/>
              <a:gd name="T31" fmla="*/ 81452 h 540"/>
              <a:gd name="T32" fmla="*/ 83106 w 678"/>
              <a:gd name="T33" fmla="*/ 74665 h 540"/>
              <a:gd name="T34" fmla="*/ 88904 w 678"/>
              <a:gd name="T35" fmla="*/ 65938 h 540"/>
              <a:gd name="T36" fmla="*/ 97601 w 678"/>
              <a:gd name="T37" fmla="*/ 62059 h 540"/>
              <a:gd name="T38" fmla="*/ 105332 w 678"/>
              <a:gd name="T39" fmla="*/ 57211 h 540"/>
              <a:gd name="T40" fmla="*/ 114996 w 678"/>
              <a:gd name="T41" fmla="*/ 53332 h 540"/>
              <a:gd name="T42" fmla="*/ 124659 w 678"/>
              <a:gd name="T43" fmla="*/ 46544 h 540"/>
              <a:gd name="T44" fmla="*/ 129491 w 678"/>
              <a:gd name="T45" fmla="*/ 37817 h 540"/>
              <a:gd name="T46" fmla="*/ 135289 w 678"/>
              <a:gd name="T47" fmla="*/ 26181 h 540"/>
              <a:gd name="T48" fmla="*/ 138188 w 678"/>
              <a:gd name="T49" fmla="*/ 14545 h 540"/>
              <a:gd name="T50" fmla="*/ 142054 w 678"/>
              <a:gd name="T51" fmla="*/ 6788 h 540"/>
              <a:gd name="T52" fmla="*/ 150751 w 678"/>
              <a:gd name="T53" fmla="*/ 1940 h 540"/>
              <a:gd name="T54" fmla="*/ 152684 w 678"/>
              <a:gd name="T55" fmla="*/ 1940 h 540"/>
              <a:gd name="T56" fmla="*/ 158482 w 678"/>
              <a:gd name="T57" fmla="*/ 10666 h 540"/>
              <a:gd name="T58" fmla="*/ 165246 w 678"/>
              <a:gd name="T59" fmla="*/ 17454 h 540"/>
              <a:gd name="T60" fmla="*/ 175875 w 678"/>
              <a:gd name="T61" fmla="*/ 19393 h 540"/>
              <a:gd name="T62" fmla="*/ 184573 w 678"/>
              <a:gd name="T63" fmla="*/ 19393 h 540"/>
              <a:gd name="T64" fmla="*/ 193270 w 678"/>
              <a:gd name="T65" fmla="*/ 19393 h 540"/>
              <a:gd name="T66" fmla="*/ 199068 w 678"/>
              <a:gd name="T67" fmla="*/ 12606 h 540"/>
              <a:gd name="T68" fmla="*/ 202933 w 678"/>
              <a:gd name="T69" fmla="*/ 21333 h 540"/>
              <a:gd name="T70" fmla="*/ 202933 w 678"/>
              <a:gd name="T71" fmla="*/ 19393 h 540"/>
              <a:gd name="T72" fmla="*/ 212597 w 678"/>
              <a:gd name="T73" fmla="*/ 19393 h 540"/>
              <a:gd name="T74" fmla="*/ 218395 w 678"/>
              <a:gd name="T75" fmla="*/ 26181 h 540"/>
              <a:gd name="T76" fmla="*/ 225160 w 678"/>
              <a:gd name="T77" fmla="*/ 33939 h 540"/>
              <a:gd name="T78" fmla="*/ 225160 w 678"/>
              <a:gd name="T79" fmla="*/ 46544 h 540"/>
              <a:gd name="T80" fmla="*/ 227092 w 678"/>
              <a:gd name="T81" fmla="*/ 57211 h 540"/>
              <a:gd name="T82" fmla="*/ 229025 w 678"/>
              <a:gd name="T83" fmla="*/ 70786 h 540"/>
              <a:gd name="T84" fmla="*/ 235790 w 678"/>
              <a:gd name="T85" fmla="*/ 78544 h 540"/>
              <a:gd name="T86" fmla="*/ 235790 w 678"/>
              <a:gd name="T87" fmla="*/ 85332 h 540"/>
              <a:gd name="T88" fmla="*/ 235790 w 678"/>
              <a:gd name="T89" fmla="*/ 90180 h 540"/>
              <a:gd name="T90" fmla="*/ 225160 w 678"/>
              <a:gd name="T91" fmla="*/ 91150 h 540"/>
              <a:gd name="T92" fmla="*/ 212597 w 678"/>
              <a:gd name="T93" fmla="*/ 90180 h 540"/>
              <a:gd name="T94" fmla="*/ 201967 w 678"/>
              <a:gd name="T95" fmla="*/ 94058 h 540"/>
              <a:gd name="T96" fmla="*/ 199068 w 678"/>
              <a:gd name="T97" fmla="*/ 100846 h 540"/>
              <a:gd name="T98" fmla="*/ 188438 w 678"/>
              <a:gd name="T99" fmla="*/ 101816 h 540"/>
              <a:gd name="T100" fmla="*/ 184573 w 678"/>
              <a:gd name="T101" fmla="*/ 110543 h 540"/>
              <a:gd name="T102" fmla="*/ 188438 w 678"/>
              <a:gd name="T103" fmla="*/ 119270 h 540"/>
              <a:gd name="T104" fmla="*/ 179741 w 678"/>
              <a:gd name="T105" fmla="*/ 121209 h 540"/>
              <a:gd name="T106" fmla="*/ 169111 w 678"/>
              <a:gd name="T107" fmla="*/ 124118 h 540"/>
              <a:gd name="T108" fmla="*/ 163313 w 678"/>
              <a:gd name="T109" fmla="*/ 129936 h 540"/>
              <a:gd name="T110" fmla="*/ 158482 w 678"/>
              <a:gd name="T111" fmla="*/ 138664 h 540"/>
              <a:gd name="T112" fmla="*/ 150751 w 678"/>
              <a:gd name="T113" fmla="*/ 142542 h 540"/>
              <a:gd name="T114" fmla="*/ 138188 w 678"/>
              <a:gd name="T115" fmla="*/ 147391 h 540"/>
              <a:gd name="T116" fmla="*/ 127558 w 678"/>
              <a:gd name="T117" fmla="*/ 149329 h 540"/>
              <a:gd name="T118" fmla="*/ 116929 w 678"/>
              <a:gd name="T119" fmla="*/ 151269 h 540"/>
              <a:gd name="T120" fmla="*/ 108231 w 678"/>
              <a:gd name="T121" fmla="*/ 155148 h 540"/>
              <a:gd name="T122" fmla="*/ 99534 w 678"/>
              <a:gd name="T123" fmla="*/ 161935 h 540"/>
              <a:gd name="T124" fmla="*/ 88904 w 678"/>
              <a:gd name="T125" fmla="*/ 168723 h 5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8" h="540">
                <a:moveTo>
                  <a:pt x="252" y="540"/>
                </a:moveTo>
                <a:lnTo>
                  <a:pt x="168" y="540"/>
                </a:lnTo>
                <a:lnTo>
                  <a:pt x="96" y="540"/>
                </a:lnTo>
                <a:lnTo>
                  <a:pt x="78" y="540"/>
                </a:lnTo>
                <a:lnTo>
                  <a:pt x="0" y="540"/>
                </a:lnTo>
                <a:lnTo>
                  <a:pt x="6" y="540"/>
                </a:lnTo>
                <a:lnTo>
                  <a:pt x="6" y="534"/>
                </a:lnTo>
                <a:lnTo>
                  <a:pt x="12" y="534"/>
                </a:lnTo>
                <a:lnTo>
                  <a:pt x="12" y="528"/>
                </a:lnTo>
                <a:lnTo>
                  <a:pt x="18" y="528"/>
                </a:lnTo>
                <a:lnTo>
                  <a:pt x="18" y="522"/>
                </a:lnTo>
                <a:lnTo>
                  <a:pt x="24" y="522"/>
                </a:lnTo>
                <a:lnTo>
                  <a:pt x="30" y="522"/>
                </a:lnTo>
                <a:lnTo>
                  <a:pt x="36" y="522"/>
                </a:lnTo>
                <a:lnTo>
                  <a:pt x="42" y="522"/>
                </a:lnTo>
                <a:lnTo>
                  <a:pt x="48" y="522"/>
                </a:lnTo>
                <a:lnTo>
                  <a:pt x="54" y="522"/>
                </a:lnTo>
                <a:lnTo>
                  <a:pt x="48" y="522"/>
                </a:lnTo>
                <a:lnTo>
                  <a:pt x="54" y="522"/>
                </a:lnTo>
                <a:lnTo>
                  <a:pt x="54" y="516"/>
                </a:lnTo>
                <a:lnTo>
                  <a:pt x="60" y="516"/>
                </a:lnTo>
                <a:lnTo>
                  <a:pt x="66" y="516"/>
                </a:lnTo>
                <a:lnTo>
                  <a:pt x="72" y="510"/>
                </a:lnTo>
                <a:lnTo>
                  <a:pt x="78" y="510"/>
                </a:lnTo>
                <a:lnTo>
                  <a:pt x="84" y="510"/>
                </a:lnTo>
                <a:lnTo>
                  <a:pt x="84" y="504"/>
                </a:lnTo>
                <a:lnTo>
                  <a:pt x="90" y="504"/>
                </a:lnTo>
                <a:lnTo>
                  <a:pt x="96" y="504"/>
                </a:lnTo>
                <a:lnTo>
                  <a:pt x="96" y="498"/>
                </a:lnTo>
                <a:lnTo>
                  <a:pt x="96" y="492"/>
                </a:lnTo>
                <a:lnTo>
                  <a:pt x="102" y="492"/>
                </a:lnTo>
                <a:lnTo>
                  <a:pt x="102" y="486"/>
                </a:lnTo>
                <a:lnTo>
                  <a:pt x="108" y="486"/>
                </a:lnTo>
                <a:lnTo>
                  <a:pt x="108" y="480"/>
                </a:lnTo>
                <a:lnTo>
                  <a:pt x="114" y="480"/>
                </a:lnTo>
                <a:lnTo>
                  <a:pt x="114" y="474"/>
                </a:lnTo>
                <a:lnTo>
                  <a:pt x="120" y="474"/>
                </a:lnTo>
                <a:lnTo>
                  <a:pt x="126" y="474"/>
                </a:lnTo>
                <a:lnTo>
                  <a:pt x="126" y="468"/>
                </a:lnTo>
                <a:lnTo>
                  <a:pt x="132" y="468"/>
                </a:lnTo>
                <a:lnTo>
                  <a:pt x="138" y="462"/>
                </a:lnTo>
                <a:lnTo>
                  <a:pt x="144" y="462"/>
                </a:lnTo>
                <a:lnTo>
                  <a:pt x="144" y="456"/>
                </a:lnTo>
                <a:lnTo>
                  <a:pt x="150" y="456"/>
                </a:lnTo>
                <a:lnTo>
                  <a:pt x="150" y="450"/>
                </a:lnTo>
                <a:lnTo>
                  <a:pt x="156" y="450"/>
                </a:lnTo>
                <a:lnTo>
                  <a:pt x="156" y="444"/>
                </a:lnTo>
                <a:lnTo>
                  <a:pt x="162" y="444"/>
                </a:lnTo>
                <a:lnTo>
                  <a:pt x="162" y="438"/>
                </a:lnTo>
                <a:lnTo>
                  <a:pt x="168" y="438"/>
                </a:lnTo>
                <a:lnTo>
                  <a:pt x="168" y="432"/>
                </a:lnTo>
                <a:lnTo>
                  <a:pt x="168" y="426"/>
                </a:lnTo>
                <a:lnTo>
                  <a:pt x="174" y="426"/>
                </a:lnTo>
                <a:lnTo>
                  <a:pt x="174" y="420"/>
                </a:lnTo>
                <a:lnTo>
                  <a:pt x="174" y="414"/>
                </a:lnTo>
                <a:lnTo>
                  <a:pt x="180" y="414"/>
                </a:lnTo>
                <a:lnTo>
                  <a:pt x="186" y="408"/>
                </a:lnTo>
                <a:lnTo>
                  <a:pt x="186" y="402"/>
                </a:lnTo>
                <a:lnTo>
                  <a:pt x="192" y="396"/>
                </a:lnTo>
                <a:lnTo>
                  <a:pt x="192" y="390"/>
                </a:lnTo>
                <a:lnTo>
                  <a:pt x="198" y="384"/>
                </a:lnTo>
                <a:lnTo>
                  <a:pt x="198" y="378"/>
                </a:lnTo>
                <a:lnTo>
                  <a:pt x="198" y="372"/>
                </a:lnTo>
                <a:lnTo>
                  <a:pt x="198" y="366"/>
                </a:lnTo>
                <a:lnTo>
                  <a:pt x="192" y="366"/>
                </a:lnTo>
                <a:lnTo>
                  <a:pt x="192" y="360"/>
                </a:lnTo>
                <a:lnTo>
                  <a:pt x="186" y="360"/>
                </a:lnTo>
                <a:lnTo>
                  <a:pt x="186" y="354"/>
                </a:lnTo>
                <a:lnTo>
                  <a:pt x="180" y="354"/>
                </a:lnTo>
                <a:lnTo>
                  <a:pt x="180" y="348"/>
                </a:lnTo>
                <a:lnTo>
                  <a:pt x="186" y="348"/>
                </a:lnTo>
                <a:lnTo>
                  <a:pt x="186" y="342"/>
                </a:lnTo>
                <a:lnTo>
                  <a:pt x="186" y="336"/>
                </a:lnTo>
                <a:lnTo>
                  <a:pt x="186" y="330"/>
                </a:lnTo>
                <a:lnTo>
                  <a:pt x="186" y="324"/>
                </a:lnTo>
                <a:lnTo>
                  <a:pt x="186" y="318"/>
                </a:lnTo>
                <a:lnTo>
                  <a:pt x="186" y="312"/>
                </a:lnTo>
                <a:lnTo>
                  <a:pt x="186" y="306"/>
                </a:lnTo>
                <a:lnTo>
                  <a:pt x="186" y="300"/>
                </a:lnTo>
                <a:lnTo>
                  <a:pt x="186" y="294"/>
                </a:lnTo>
                <a:lnTo>
                  <a:pt x="192" y="294"/>
                </a:lnTo>
                <a:lnTo>
                  <a:pt x="192" y="288"/>
                </a:lnTo>
                <a:lnTo>
                  <a:pt x="192" y="282"/>
                </a:lnTo>
                <a:lnTo>
                  <a:pt x="198" y="282"/>
                </a:lnTo>
                <a:lnTo>
                  <a:pt x="198" y="276"/>
                </a:lnTo>
                <a:lnTo>
                  <a:pt x="204" y="276"/>
                </a:lnTo>
                <a:lnTo>
                  <a:pt x="204" y="270"/>
                </a:lnTo>
                <a:lnTo>
                  <a:pt x="210" y="270"/>
                </a:lnTo>
                <a:lnTo>
                  <a:pt x="210" y="264"/>
                </a:lnTo>
                <a:lnTo>
                  <a:pt x="216" y="264"/>
                </a:lnTo>
                <a:lnTo>
                  <a:pt x="216" y="258"/>
                </a:lnTo>
                <a:lnTo>
                  <a:pt x="216" y="252"/>
                </a:lnTo>
                <a:lnTo>
                  <a:pt x="216" y="246"/>
                </a:lnTo>
                <a:lnTo>
                  <a:pt x="216" y="240"/>
                </a:lnTo>
                <a:lnTo>
                  <a:pt x="216" y="234"/>
                </a:lnTo>
                <a:lnTo>
                  <a:pt x="216" y="228"/>
                </a:lnTo>
                <a:lnTo>
                  <a:pt x="222" y="228"/>
                </a:lnTo>
                <a:lnTo>
                  <a:pt x="222" y="222"/>
                </a:lnTo>
                <a:lnTo>
                  <a:pt x="228" y="222"/>
                </a:lnTo>
                <a:lnTo>
                  <a:pt x="228" y="216"/>
                </a:lnTo>
                <a:lnTo>
                  <a:pt x="234" y="216"/>
                </a:lnTo>
                <a:lnTo>
                  <a:pt x="234" y="210"/>
                </a:lnTo>
                <a:lnTo>
                  <a:pt x="240" y="210"/>
                </a:lnTo>
                <a:lnTo>
                  <a:pt x="240" y="204"/>
                </a:lnTo>
                <a:lnTo>
                  <a:pt x="246" y="204"/>
                </a:lnTo>
                <a:lnTo>
                  <a:pt x="246" y="198"/>
                </a:lnTo>
                <a:lnTo>
                  <a:pt x="252" y="192"/>
                </a:lnTo>
                <a:lnTo>
                  <a:pt x="252" y="186"/>
                </a:lnTo>
                <a:lnTo>
                  <a:pt x="258" y="186"/>
                </a:lnTo>
                <a:lnTo>
                  <a:pt x="258" y="180"/>
                </a:lnTo>
                <a:lnTo>
                  <a:pt x="264" y="180"/>
                </a:lnTo>
                <a:lnTo>
                  <a:pt x="270" y="180"/>
                </a:lnTo>
                <a:lnTo>
                  <a:pt x="270" y="174"/>
                </a:lnTo>
                <a:lnTo>
                  <a:pt x="276" y="174"/>
                </a:lnTo>
                <a:lnTo>
                  <a:pt x="282" y="174"/>
                </a:lnTo>
                <a:lnTo>
                  <a:pt x="282" y="168"/>
                </a:lnTo>
                <a:lnTo>
                  <a:pt x="288" y="168"/>
                </a:lnTo>
                <a:lnTo>
                  <a:pt x="294" y="168"/>
                </a:lnTo>
                <a:lnTo>
                  <a:pt x="294" y="162"/>
                </a:lnTo>
                <a:lnTo>
                  <a:pt x="300" y="162"/>
                </a:lnTo>
                <a:lnTo>
                  <a:pt x="306" y="162"/>
                </a:lnTo>
                <a:lnTo>
                  <a:pt x="306" y="156"/>
                </a:lnTo>
                <a:lnTo>
                  <a:pt x="312" y="156"/>
                </a:lnTo>
                <a:lnTo>
                  <a:pt x="318" y="156"/>
                </a:lnTo>
                <a:lnTo>
                  <a:pt x="318" y="150"/>
                </a:lnTo>
                <a:lnTo>
                  <a:pt x="324" y="150"/>
                </a:lnTo>
                <a:lnTo>
                  <a:pt x="330" y="150"/>
                </a:lnTo>
                <a:lnTo>
                  <a:pt x="330" y="144"/>
                </a:lnTo>
                <a:lnTo>
                  <a:pt x="336" y="144"/>
                </a:lnTo>
                <a:lnTo>
                  <a:pt x="342" y="138"/>
                </a:lnTo>
                <a:lnTo>
                  <a:pt x="348" y="132"/>
                </a:lnTo>
                <a:lnTo>
                  <a:pt x="354" y="132"/>
                </a:lnTo>
                <a:lnTo>
                  <a:pt x="354" y="126"/>
                </a:lnTo>
                <a:lnTo>
                  <a:pt x="360" y="120"/>
                </a:lnTo>
                <a:lnTo>
                  <a:pt x="360" y="114"/>
                </a:lnTo>
                <a:lnTo>
                  <a:pt x="366" y="114"/>
                </a:lnTo>
                <a:lnTo>
                  <a:pt x="360" y="114"/>
                </a:lnTo>
                <a:lnTo>
                  <a:pt x="366" y="108"/>
                </a:lnTo>
                <a:lnTo>
                  <a:pt x="366" y="102"/>
                </a:lnTo>
                <a:lnTo>
                  <a:pt x="372" y="96"/>
                </a:lnTo>
                <a:lnTo>
                  <a:pt x="378" y="90"/>
                </a:lnTo>
                <a:lnTo>
                  <a:pt x="378" y="84"/>
                </a:lnTo>
                <a:lnTo>
                  <a:pt x="378" y="78"/>
                </a:lnTo>
                <a:lnTo>
                  <a:pt x="384" y="72"/>
                </a:lnTo>
                <a:lnTo>
                  <a:pt x="384" y="66"/>
                </a:lnTo>
                <a:lnTo>
                  <a:pt x="384" y="60"/>
                </a:lnTo>
                <a:lnTo>
                  <a:pt x="390" y="60"/>
                </a:lnTo>
                <a:lnTo>
                  <a:pt x="390" y="54"/>
                </a:lnTo>
                <a:lnTo>
                  <a:pt x="390" y="48"/>
                </a:lnTo>
                <a:lnTo>
                  <a:pt x="390" y="42"/>
                </a:lnTo>
                <a:lnTo>
                  <a:pt x="396" y="42"/>
                </a:lnTo>
                <a:lnTo>
                  <a:pt x="396" y="36"/>
                </a:lnTo>
                <a:lnTo>
                  <a:pt x="396" y="30"/>
                </a:lnTo>
                <a:lnTo>
                  <a:pt x="396" y="24"/>
                </a:lnTo>
                <a:lnTo>
                  <a:pt x="402" y="24"/>
                </a:lnTo>
                <a:lnTo>
                  <a:pt x="402" y="18"/>
                </a:lnTo>
                <a:lnTo>
                  <a:pt x="402" y="12"/>
                </a:lnTo>
                <a:lnTo>
                  <a:pt x="408" y="12"/>
                </a:lnTo>
                <a:lnTo>
                  <a:pt x="414" y="12"/>
                </a:lnTo>
                <a:lnTo>
                  <a:pt x="414" y="6"/>
                </a:lnTo>
                <a:lnTo>
                  <a:pt x="420" y="6"/>
                </a:lnTo>
                <a:lnTo>
                  <a:pt x="426" y="6"/>
                </a:lnTo>
                <a:lnTo>
                  <a:pt x="426" y="0"/>
                </a:lnTo>
                <a:lnTo>
                  <a:pt x="432" y="0"/>
                </a:lnTo>
                <a:lnTo>
                  <a:pt x="438" y="6"/>
                </a:lnTo>
                <a:lnTo>
                  <a:pt x="438" y="0"/>
                </a:lnTo>
                <a:lnTo>
                  <a:pt x="438" y="6"/>
                </a:lnTo>
                <a:lnTo>
                  <a:pt x="432" y="6"/>
                </a:lnTo>
                <a:lnTo>
                  <a:pt x="432" y="12"/>
                </a:lnTo>
                <a:lnTo>
                  <a:pt x="438" y="12"/>
                </a:lnTo>
                <a:lnTo>
                  <a:pt x="438" y="18"/>
                </a:lnTo>
                <a:lnTo>
                  <a:pt x="438" y="24"/>
                </a:lnTo>
                <a:lnTo>
                  <a:pt x="444" y="30"/>
                </a:lnTo>
                <a:lnTo>
                  <a:pt x="450" y="30"/>
                </a:lnTo>
                <a:lnTo>
                  <a:pt x="450" y="36"/>
                </a:lnTo>
                <a:lnTo>
                  <a:pt x="456" y="36"/>
                </a:lnTo>
                <a:lnTo>
                  <a:pt x="456" y="42"/>
                </a:lnTo>
                <a:lnTo>
                  <a:pt x="462" y="42"/>
                </a:lnTo>
                <a:lnTo>
                  <a:pt x="462" y="48"/>
                </a:lnTo>
                <a:lnTo>
                  <a:pt x="468" y="48"/>
                </a:lnTo>
                <a:lnTo>
                  <a:pt x="474" y="48"/>
                </a:lnTo>
                <a:lnTo>
                  <a:pt x="474" y="54"/>
                </a:lnTo>
                <a:lnTo>
                  <a:pt x="480" y="54"/>
                </a:lnTo>
                <a:lnTo>
                  <a:pt x="486" y="54"/>
                </a:lnTo>
                <a:lnTo>
                  <a:pt x="492" y="54"/>
                </a:lnTo>
                <a:lnTo>
                  <a:pt x="498" y="54"/>
                </a:lnTo>
                <a:lnTo>
                  <a:pt x="504" y="54"/>
                </a:lnTo>
                <a:lnTo>
                  <a:pt x="504" y="48"/>
                </a:lnTo>
                <a:lnTo>
                  <a:pt x="510" y="48"/>
                </a:lnTo>
                <a:lnTo>
                  <a:pt x="516" y="48"/>
                </a:lnTo>
                <a:lnTo>
                  <a:pt x="516" y="54"/>
                </a:lnTo>
                <a:lnTo>
                  <a:pt x="522" y="54"/>
                </a:lnTo>
                <a:lnTo>
                  <a:pt x="522" y="48"/>
                </a:lnTo>
                <a:lnTo>
                  <a:pt x="528" y="48"/>
                </a:lnTo>
                <a:lnTo>
                  <a:pt x="534" y="48"/>
                </a:lnTo>
                <a:lnTo>
                  <a:pt x="540" y="48"/>
                </a:lnTo>
                <a:lnTo>
                  <a:pt x="540" y="54"/>
                </a:lnTo>
                <a:lnTo>
                  <a:pt x="546" y="54"/>
                </a:lnTo>
                <a:lnTo>
                  <a:pt x="546" y="48"/>
                </a:lnTo>
                <a:lnTo>
                  <a:pt x="552" y="48"/>
                </a:lnTo>
                <a:lnTo>
                  <a:pt x="558" y="48"/>
                </a:lnTo>
                <a:lnTo>
                  <a:pt x="564" y="48"/>
                </a:lnTo>
                <a:lnTo>
                  <a:pt x="564" y="42"/>
                </a:lnTo>
                <a:lnTo>
                  <a:pt x="564" y="36"/>
                </a:lnTo>
                <a:lnTo>
                  <a:pt x="570" y="36"/>
                </a:lnTo>
                <a:lnTo>
                  <a:pt x="570" y="42"/>
                </a:lnTo>
                <a:lnTo>
                  <a:pt x="570" y="48"/>
                </a:lnTo>
                <a:lnTo>
                  <a:pt x="570" y="54"/>
                </a:lnTo>
                <a:lnTo>
                  <a:pt x="576" y="54"/>
                </a:lnTo>
                <a:lnTo>
                  <a:pt x="576" y="60"/>
                </a:lnTo>
                <a:lnTo>
                  <a:pt x="582" y="60"/>
                </a:lnTo>
                <a:lnTo>
                  <a:pt x="582" y="54"/>
                </a:lnTo>
                <a:lnTo>
                  <a:pt x="576" y="54"/>
                </a:lnTo>
                <a:lnTo>
                  <a:pt x="570" y="48"/>
                </a:lnTo>
                <a:lnTo>
                  <a:pt x="576" y="48"/>
                </a:lnTo>
                <a:lnTo>
                  <a:pt x="576" y="54"/>
                </a:lnTo>
                <a:lnTo>
                  <a:pt x="582" y="54"/>
                </a:lnTo>
                <a:lnTo>
                  <a:pt x="582" y="60"/>
                </a:lnTo>
                <a:lnTo>
                  <a:pt x="588" y="60"/>
                </a:lnTo>
                <a:lnTo>
                  <a:pt x="594" y="60"/>
                </a:lnTo>
                <a:lnTo>
                  <a:pt x="594" y="54"/>
                </a:lnTo>
                <a:lnTo>
                  <a:pt x="600" y="54"/>
                </a:lnTo>
                <a:lnTo>
                  <a:pt x="606" y="54"/>
                </a:lnTo>
                <a:lnTo>
                  <a:pt x="606" y="60"/>
                </a:lnTo>
                <a:lnTo>
                  <a:pt x="612" y="60"/>
                </a:lnTo>
                <a:lnTo>
                  <a:pt x="612" y="66"/>
                </a:lnTo>
                <a:lnTo>
                  <a:pt x="618" y="66"/>
                </a:lnTo>
                <a:lnTo>
                  <a:pt x="618" y="72"/>
                </a:lnTo>
                <a:lnTo>
                  <a:pt x="624" y="72"/>
                </a:lnTo>
                <a:lnTo>
                  <a:pt x="624" y="78"/>
                </a:lnTo>
                <a:lnTo>
                  <a:pt x="630" y="78"/>
                </a:lnTo>
                <a:lnTo>
                  <a:pt x="636" y="84"/>
                </a:lnTo>
                <a:lnTo>
                  <a:pt x="630" y="90"/>
                </a:lnTo>
                <a:lnTo>
                  <a:pt x="636" y="96"/>
                </a:lnTo>
                <a:lnTo>
                  <a:pt x="636" y="102"/>
                </a:lnTo>
                <a:lnTo>
                  <a:pt x="636" y="108"/>
                </a:lnTo>
                <a:lnTo>
                  <a:pt x="636" y="120"/>
                </a:lnTo>
                <a:lnTo>
                  <a:pt x="642" y="126"/>
                </a:lnTo>
                <a:lnTo>
                  <a:pt x="642" y="132"/>
                </a:lnTo>
                <a:lnTo>
                  <a:pt x="636" y="132"/>
                </a:lnTo>
                <a:lnTo>
                  <a:pt x="636" y="144"/>
                </a:lnTo>
                <a:lnTo>
                  <a:pt x="642" y="150"/>
                </a:lnTo>
                <a:lnTo>
                  <a:pt x="636" y="150"/>
                </a:lnTo>
                <a:lnTo>
                  <a:pt x="636" y="156"/>
                </a:lnTo>
                <a:lnTo>
                  <a:pt x="642" y="156"/>
                </a:lnTo>
                <a:lnTo>
                  <a:pt x="642" y="162"/>
                </a:lnTo>
                <a:lnTo>
                  <a:pt x="642" y="168"/>
                </a:lnTo>
                <a:lnTo>
                  <a:pt x="642" y="174"/>
                </a:lnTo>
                <a:lnTo>
                  <a:pt x="642" y="180"/>
                </a:lnTo>
                <a:lnTo>
                  <a:pt x="642" y="186"/>
                </a:lnTo>
                <a:lnTo>
                  <a:pt x="648" y="192"/>
                </a:lnTo>
                <a:lnTo>
                  <a:pt x="648" y="198"/>
                </a:lnTo>
                <a:lnTo>
                  <a:pt x="648" y="204"/>
                </a:lnTo>
                <a:lnTo>
                  <a:pt x="654" y="210"/>
                </a:lnTo>
                <a:lnTo>
                  <a:pt x="654" y="216"/>
                </a:lnTo>
                <a:lnTo>
                  <a:pt x="660" y="216"/>
                </a:lnTo>
                <a:lnTo>
                  <a:pt x="660" y="222"/>
                </a:lnTo>
                <a:lnTo>
                  <a:pt x="666" y="222"/>
                </a:lnTo>
                <a:lnTo>
                  <a:pt x="672" y="228"/>
                </a:lnTo>
                <a:lnTo>
                  <a:pt x="678" y="228"/>
                </a:lnTo>
                <a:lnTo>
                  <a:pt x="678" y="234"/>
                </a:lnTo>
                <a:lnTo>
                  <a:pt x="672" y="234"/>
                </a:lnTo>
                <a:lnTo>
                  <a:pt x="672" y="240"/>
                </a:lnTo>
                <a:lnTo>
                  <a:pt x="666" y="240"/>
                </a:lnTo>
                <a:lnTo>
                  <a:pt x="666" y="246"/>
                </a:lnTo>
                <a:lnTo>
                  <a:pt x="660" y="246"/>
                </a:lnTo>
                <a:lnTo>
                  <a:pt x="666" y="246"/>
                </a:lnTo>
                <a:lnTo>
                  <a:pt x="660" y="246"/>
                </a:lnTo>
                <a:lnTo>
                  <a:pt x="660" y="252"/>
                </a:lnTo>
                <a:lnTo>
                  <a:pt x="666" y="252"/>
                </a:lnTo>
                <a:lnTo>
                  <a:pt x="666" y="258"/>
                </a:lnTo>
                <a:lnTo>
                  <a:pt x="660" y="258"/>
                </a:lnTo>
                <a:lnTo>
                  <a:pt x="654" y="258"/>
                </a:lnTo>
                <a:lnTo>
                  <a:pt x="648" y="258"/>
                </a:lnTo>
                <a:lnTo>
                  <a:pt x="642" y="258"/>
                </a:lnTo>
                <a:lnTo>
                  <a:pt x="636" y="258"/>
                </a:lnTo>
                <a:lnTo>
                  <a:pt x="630" y="258"/>
                </a:lnTo>
                <a:lnTo>
                  <a:pt x="624" y="258"/>
                </a:lnTo>
                <a:lnTo>
                  <a:pt x="618" y="258"/>
                </a:lnTo>
                <a:lnTo>
                  <a:pt x="612" y="252"/>
                </a:lnTo>
                <a:lnTo>
                  <a:pt x="606" y="252"/>
                </a:lnTo>
                <a:lnTo>
                  <a:pt x="600" y="252"/>
                </a:lnTo>
                <a:lnTo>
                  <a:pt x="594" y="252"/>
                </a:lnTo>
                <a:lnTo>
                  <a:pt x="588" y="258"/>
                </a:lnTo>
                <a:lnTo>
                  <a:pt x="582" y="258"/>
                </a:lnTo>
                <a:lnTo>
                  <a:pt x="576" y="258"/>
                </a:lnTo>
                <a:lnTo>
                  <a:pt x="570" y="258"/>
                </a:lnTo>
                <a:lnTo>
                  <a:pt x="570" y="264"/>
                </a:lnTo>
                <a:lnTo>
                  <a:pt x="570" y="270"/>
                </a:lnTo>
                <a:lnTo>
                  <a:pt x="576" y="270"/>
                </a:lnTo>
                <a:lnTo>
                  <a:pt x="576" y="276"/>
                </a:lnTo>
                <a:lnTo>
                  <a:pt x="576" y="282"/>
                </a:lnTo>
                <a:lnTo>
                  <a:pt x="570" y="282"/>
                </a:lnTo>
                <a:lnTo>
                  <a:pt x="564" y="282"/>
                </a:lnTo>
                <a:lnTo>
                  <a:pt x="558" y="282"/>
                </a:lnTo>
                <a:lnTo>
                  <a:pt x="552" y="282"/>
                </a:lnTo>
                <a:lnTo>
                  <a:pt x="552" y="288"/>
                </a:lnTo>
                <a:lnTo>
                  <a:pt x="546" y="288"/>
                </a:lnTo>
                <a:lnTo>
                  <a:pt x="540" y="288"/>
                </a:lnTo>
                <a:lnTo>
                  <a:pt x="534" y="288"/>
                </a:lnTo>
                <a:lnTo>
                  <a:pt x="528" y="288"/>
                </a:lnTo>
                <a:lnTo>
                  <a:pt x="528" y="294"/>
                </a:lnTo>
                <a:lnTo>
                  <a:pt x="528" y="300"/>
                </a:lnTo>
                <a:lnTo>
                  <a:pt x="528" y="306"/>
                </a:lnTo>
                <a:lnTo>
                  <a:pt x="522" y="306"/>
                </a:lnTo>
                <a:lnTo>
                  <a:pt x="522" y="312"/>
                </a:lnTo>
                <a:lnTo>
                  <a:pt x="522" y="318"/>
                </a:lnTo>
                <a:lnTo>
                  <a:pt x="522" y="324"/>
                </a:lnTo>
                <a:lnTo>
                  <a:pt x="528" y="324"/>
                </a:lnTo>
                <a:lnTo>
                  <a:pt x="534" y="324"/>
                </a:lnTo>
                <a:lnTo>
                  <a:pt x="534" y="330"/>
                </a:lnTo>
                <a:lnTo>
                  <a:pt x="534" y="336"/>
                </a:lnTo>
                <a:lnTo>
                  <a:pt x="528" y="336"/>
                </a:lnTo>
                <a:lnTo>
                  <a:pt x="522" y="336"/>
                </a:lnTo>
                <a:lnTo>
                  <a:pt x="522" y="342"/>
                </a:lnTo>
                <a:lnTo>
                  <a:pt x="522" y="336"/>
                </a:lnTo>
                <a:lnTo>
                  <a:pt x="516" y="336"/>
                </a:lnTo>
                <a:lnTo>
                  <a:pt x="510" y="342"/>
                </a:lnTo>
                <a:lnTo>
                  <a:pt x="504" y="342"/>
                </a:lnTo>
                <a:lnTo>
                  <a:pt x="504" y="348"/>
                </a:lnTo>
                <a:lnTo>
                  <a:pt x="498" y="348"/>
                </a:lnTo>
                <a:lnTo>
                  <a:pt x="492" y="348"/>
                </a:lnTo>
                <a:lnTo>
                  <a:pt x="486" y="348"/>
                </a:lnTo>
                <a:lnTo>
                  <a:pt x="480" y="348"/>
                </a:lnTo>
                <a:lnTo>
                  <a:pt x="474" y="348"/>
                </a:lnTo>
                <a:lnTo>
                  <a:pt x="474" y="354"/>
                </a:lnTo>
                <a:lnTo>
                  <a:pt x="468" y="354"/>
                </a:lnTo>
                <a:lnTo>
                  <a:pt x="462" y="354"/>
                </a:lnTo>
                <a:lnTo>
                  <a:pt x="462" y="360"/>
                </a:lnTo>
                <a:lnTo>
                  <a:pt x="462" y="366"/>
                </a:lnTo>
                <a:lnTo>
                  <a:pt x="456" y="366"/>
                </a:lnTo>
                <a:lnTo>
                  <a:pt x="456" y="372"/>
                </a:lnTo>
                <a:lnTo>
                  <a:pt x="456" y="378"/>
                </a:lnTo>
                <a:lnTo>
                  <a:pt x="456" y="384"/>
                </a:lnTo>
                <a:lnTo>
                  <a:pt x="450" y="384"/>
                </a:lnTo>
                <a:lnTo>
                  <a:pt x="450" y="390"/>
                </a:lnTo>
                <a:lnTo>
                  <a:pt x="450" y="396"/>
                </a:lnTo>
                <a:lnTo>
                  <a:pt x="444" y="396"/>
                </a:lnTo>
                <a:lnTo>
                  <a:pt x="438" y="396"/>
                </a:lnTo>
                <a:lnTo>
                  <a:pt x="438" y="402"/>
                </a:lnTo>
                <a:lnTo>
                  <a:pt x="432" y="402"/>
                </a:lnTo>
                <a:lnTo>
                  <a:pt x="426" y="402"/>
                </a:lnTo>
                <a:lnTo>
                  <a:pt x="420" y="408"/>
                </a:lnTo>
                <a:lnTo>
                  <a:pt x="414" y="408"/>
                </a:lnTo>
                <a:lnTo>
                  <a:pt x="408" y="408"/>
                </a:lnTo>
                <a:lnTo>
                  <a:pt x="402" y="408"/>
                </a:lnTo>
                <a:lnTo>
                  <a:pt x="396" y="414"/>
                </a:lnTo>
                <a:lnTo>
                  <a:pt x="390" y="414"/>
                </a:lnTo>
                <a:lnTo>
                  <a:pt x="384" y="414"/>
                </a:lnTo>
                <a:lnTo>
                  <a:pt x="378" y="414"/>
                </a:lnTo>
                <a:lnTo>
                  <a:pt x="372" y="414"/>
                </a:lnTo>
                <a:lnTo>
                  <a:pt x="372" y="420"/>
                </a:lnTo>
                <a:lnTo>
                  <a:pt x="366" y="420"/>
                </a:lnTo>
                <a:lnTo>
                  <a:pt x="360" y="420"/>
                </a:lnTo>
                <a:lnTo>
                  <a:pt x="354" y="420"/>
                </a:lnTo>
                <a:lnTo>
                  <a:pt x="348" y="420"/>
                </a:lnTo>
                <a:lnTo>
                  <a:pt x="342" y="420"/>
                </a:lnTo>
                <a:lnTo>
                  <a:pt x="336" y="420"/>
                </a:lnTo>
                <a:lnTo>
                  <a:pt x="330" y="420"/>
                </a:lnTo>
                <a:lnTo>
                  <a:pt x="330" y="426"/>
                </a:lnTo>
                <a:lnTo>
                  <a:pt x="324" y="426"/>
                </a:lnTo>
                <a:lnTo>
                  <a:pt x="324" y="432"/>
                </a:lnTo>
                <a:lnTo>
                  <a:pt x="318" y="432"/>
                </a:lnTo>
                <a:lnTo>
                  <a:pt x="318" y="438"/>
                </a:lnTo>
                <a:lnTo>
                  <a:pt x="312" y="432"/>
                </a:lnTo>
                <a:lnTo>
                  <a:pt x="306" y="438"/>
                </a:lnTo>
                <a:lnTo>
                  <a:pt x="300" y="438"/>
                </a:lnTo>
                <a:lnTo>
                  <a:pt x="300" y="444"/>
                </a:lnTo>
                <a:lnTo>
                  <a:pt x="294" y="444"/>
                </a:lnTo>
                <a:lnTo>
                  <a:pt x="294" y="450"/>
                </a:lnTo>
                <a:lnTo>
                  <a:pt x="288" y="450"/>
                </a:lnTo>
                <a:lnTo>
                  <a:pt x="282" y="456"/>
                </a:lnTo>
                <a:lnTo>
                  <a:pt x="276" y="456"/>
                </a:lnTo>
                <a:lnTo>
                  <a:pt x="270" y="462"/>
                </a:lnTo>
                <a:lnTo>
                  <a:pt x="264" y="468"/>
                </a:lnTo>
                <a:lnTo>
                  <a:pt x="258" y="468"/>
                </a:lnTo>
                <a:lnTo>
                  <a:pt x="258" y="474"/>
                </a:lnTo>
                <a:lnTo>
                  <a:pt x="252" y="474"/>
                </a:lnTo>
                <a:lnTo>
                  <a:pt x="252" y="480"/>
                </a:lnTo>
                <a:lnTo>
                  <a:pt x="252" y="486"/>
                </a:lnTo>
                <a:lnTo>
                  <a:pt x="252" y="498"/>
                </a:lnTo>
                <a:lnTo>
                  <a:pt x="252" y="504"/>
                </a:lnTo>
                <a:lnTo>
                  <a:pt x="252" y="540"/>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16" name="Freeform 6">
            <a:extLst>
              <a:ext uri="{FF2B5EF4-FFF2-40B4-BE49-F238E27FC236}">
                <a16:creationId xmlns:a16="http://schemas.microsoft.com/office/drawing/2014/main" id="{D3A7469E-CE8C-E64F-A85A-67D1BBFDCFB4}"/>
              </a:ext>
            </a:extLst>
          </p:cNvPr>
          <p:cNvSpPr>
            <a:spLocks/>
          </p:cNvSpPr>
          <p:nvPr>
            <p:custDataLst>
              <p:tags r:id="rId5"/>
            </p:custDataLst>
          </p:nvPr>
        </p:nvSpPr>
        <p:spPr bwMode="gray">
          <a:xfrm>
            <a:off x="2450276" y="3152990"/>
            <a:ext cx="544823" cy="368860"/>
          </a:xfrm>
          <a:custGeom>
            <a:avLst/>
            <a:gdLst>
              <a:gd name="T0" fmla="*/ 1936 w 474"/>
              <a:gd name="T1" fmla="*/ 151395 h 426"/>
              <a:gd name="T2" fmla="*/ 1936 w 474"/>
              <a:gd name="T3" fmla="*/ 147488 h 426"/>
              <a:gd name="T4" fmla="*/ 1936 w 474"/>
              <a:gd name="T5" fmla="*/ 138698 h 426"/>
              <a:gd name="T6" fmla="*/ 3872 w 474"/>
              <a:gd name="T7" fmla="*/ 132837 h 426"/>
              <a:gd name="T8" fmla="*/ 6776 w 474"/>
              <a:gd name="T9" fmla="*/ 126000 h 426"/>
              <a:gd name="T10" fmla="*/ 10648 w 474"/>
              <a:gd name="T11" fmla="*/ 121117 h 426"/>
              <a:gd name="T12" fmla="*/ 14521 w 474"/>
              <a:gd name="T13" fmla="*/ 117209 h 426"/>
              <a:gd name="T14" fmla="*/ 17424 w 474"/>
              <a:gd name="T15" fmla="*/ 110372 h 426"/>
              <a:gd name="T16" fmla="*/ 19360 w 474"/>
              <a:gd name="T17" fmla="*/ 103535 h 426"/>
              <a:gd name="T18" fmla="*/ 21296 w 474"/>
              <a:gd name="T19" fmla="*/ 97675 h 426"/>
              <a:gd name="T20" fmla="*/ 26137 w 474"/>
              <a:gd name="T21" fmla="*/ 92791 h 426"/>
              <a:gd name="T22" fmla="*/ 26137 w 474"/>
              <a:gd name="T23" fmla="*/ 88884 h 426"/>
              <a:gd name="T24" fmla="*/ 27104 w 474"/>
              <a:gd name="T25" fmla="*/ 86930 h 426"/>
              <a:gd name="T26" fmla="*/ 26137 w 474"/>
              <a:gd name="T27" fmla="*/ 88884 h 426"/>
              <a:gd name="T28" fmla="*/ 23232 w 474"/>
              <a:gd name="T29" fmla="*/ 86930 h 426"/>
              <a:gd name="T30" fmla="*/ 30008 w 474"/>
              <a:gd name="T31" fmla="*/ 84000 h 426"/>
              <a:gd name="T32" fmla="*/ 31944 w 474"/>
              <a:gd name="T33" fmla="*/ 83023 h 426"/>
              <a:gd name="T34" fmla="*/ 36785 w 474"/>
              <a:gd name="T35" fmla="*/ 76186 h 426"/>
              <a:gd name="T36" fmla="*/ 40656 w 474"/>
              <a:gd name="T37" fmla="*/ 71302 h 426"/>
              <a:gd name="T38" fmla="*/ 44529 w 474"/>
              <a:gd name="T39" fmla="*/ 67395 h 426"/>
              <a:gd name="T40" fmla="*/ 46465 w 474"/>
              <a:gd name="T41" fmla="*/ 58604 h 426"/>
              <a:gd name="T42" fmla="*/ 46465 w 474"/>
              <a:gd name="T43" fmla="*/ 53721 h 426"/>
              <a:gd name="T44" fmla="*/ 46465 w 474"/>
              <a:gd name="T45" fmla="*/ 49814 h 426"/>
              <a:gd name="T46" fmla="*/ 49368 w 474"/>
              <a:gd name="T47" fmla="*/ 42977 h 426"/>
              <a:gd name="T48" fmla="*/ 53241 w 474"/>
              <a:gd name="T49" fmla="*/ 37116 h 426"/>
              <a:gd name="T50" fmla="*/ 57113 w 474"/>
              <a:gd name="T51" fmla="*/ 32233 h 426"/>
              <a:gd name="T52" fmla="*/ 61953 w 474"/>
              <a:gd name="T53" fmla="*/ 28326 h 426"/>
              <a:gd name="T54" fmla="*/ 67761 w 474"/>
              <a:gd name="T55" fmla="*/ 26372 h 426"/>
              <a:gd name="T56" fmla="*/ 72601 w 474"/>
              <a:gd name="T57" fmla="*/ 21488 h 426"/>
              <a:gd name="T58" fmla="*/ 74537 w 474"/>
              <a:gd name="T59" fmla="*/ 15628 h 426"/>
              <a:gd name="T60" fmla="*/ 76473 w 474"/>
              <a:gd name="T61" fmla="*/ 6838 h 426"/>
              <a:gd name="T62" fmla="*/ 78409 w 474"/>
              <a:gd name="T63" fmla="*/ 0 h 426"/>
              <a:gd name="T64" fmla="*/ 168434 w 474"/>
              <a:gd name="T65" fmla="*/ 0 h 426"/>
              <a:gd name="T66" fmla="*/ 168434 w 474"/>
              <a:gd name="T67" fmla="*/ 39069 h 426"/>
              <a:gd name="T68" fmla="*/ 157786 w 474"/>
              <a:gd name="T69" fmla="*/ 39069 h 426"/>
              <a:gd name="T70" fmla="*/ 147138 w 474"/>
              <a:gd name="T71" fmla="*/ 39069 h 426"/>
              <a:gd name="T72" fmla="*/ 136490 w 474"/>
              <a:gd name="T73" fmla="*/ 39069 h 426"/>
              <a:gd name="T74" fmla="*/ 127778 w 474"/>
              <a:gd name="T75" fmla="*/ 39069 h 426"/>
              <a:gd name="T76" fmla="*/ 115193 w 474"/>
              <a:gd name="T77" fmla="*/ 39069 h 426"/>
              <a:gd name="T78" fmla="*/ 104545 w 474"/>
              <a:gd name="T79" fmla="*/ 39069 h 426"/>
              <a:gd name="T80" fmla="*/ 101641 w 474"/>
              <a:gd name="T81" fmla="*/ 64465 h 426"/>
              <a:gd name="T82" fmla="*/ 90026 w 474"/>
              <a:gd name="T83" fmla="*/ 95721 h 426"/>
              <a:gd name="T84" fmla="*/ 81313 w 474"/>
              <a:gd name="T85" fmla="*/ 101581 h 426"/>
              <a:gd name="T86" fmla="*/ 78409 w 474"/>
              <a:gd name="T87" fmla="*/ 110372 h 426"/>
              <a:gd name="T88" fmla="*/ 81313 w 474"/>
              <a:gd name="T89" fmla="*/ 121117 h 426"/>
              <a:gd name="T90" fmla="*/ 81313 w 474"/>
              <a:gd name="T91" fmla="*/ 129907 h 426"/>
              <a:gd name="T92" fmla="*/ 81313 w 474"/>
              <a:gd name="T93" fmla="*/ 138698 h 426"/>
              <a:gd name="T94" fmla="*/ 72601 w 474"/>
              <a:gd name="T95" fmla="*/ 140651 h 426"/>
              <a:gd name="T96" fmla="*/ 61953 w 474"/>
              <a:gd name="T97" fmla="*/ 140651 h 426"/>
              <a:gd name="T98" fmla="*/ 53241 w 474"/>
              <a:gd name="T99" fmla="*/ 140651 h 426"/>
              <a:gd name="T100" fmla="*/ 44529 w 474"/>
              <a:gd name="T101" fmla="*/ 140651 h 426"/>
              <a:gd name="T102" fmla="*/ 27104 w 474"/>
              <a:gd name="T103" fmla="*/ 140651 h 426"/>
              <a:gd name="T104" fmla="*/ 3872 w 474"/>
              <a:gd name="T105" fmla="*/ 140651 h 426"/>
              <a:gd name="T106" fmla="*/ 1936 w 474"/>
              <a:gd name="T107" fmla="*/ 147488 h 4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74" h="426">
                <a:moveTo>
                  <a:pt x="6" y="426"/>
                </a:moveTo>
                <a:lnTo>
                  <a:pt x="6" y="420"/>
                </a:lnTo>
                <a:lnTo>
                  <a:pt x="0" y="420"/>
                </a:lnTo>
                <a:lnTo>
                  <a:pt x="6" y="420"/>
                </a:lnTo>
                <a:lnTo>
                  <a:pt x="6" y="414"/>
                </a:lnTo>
                <a:lnTo>
                  <a:pt x="0" y="414"/>
                </a:lnTo>
                <a:lnTo>
                  <a:pt x="6" y="414"/>
                </a:lnTo>
                <a:lnTo>
                  <a:pt x="6" y="408"/>
                </a:lnTo>
                <a:lnTo>
                  <a:pt x="6" y="402"/>
                </a:lnTo>
                <a:lnTo>
                  <a:pt x="6" y="396"/>
                </a:lnTo>
                <a:lnTo>
                  <a:pt x="6" y="390"/>
                </a:lnTo>
                <a:lnTo>
                  <a:pt x="6" y="384"/>
                </a:lnTo>
                <a:lnTo>
                  <a:pt x="6" y="378"/>
                </a:lnTo>
                <a:lnTo>
                  <a:pt x="12" y="378"/>
                </a:lnTo>
                <a:lnTo>
                  <a:pt x="12" y="372"/>
                </a:lnTo>
                <a:lnTo>
                  <a:pt x="12" y="366"/>
                </a:lnTo>
                <a:lnTo>
                  <a:pt x="12" y="360"/>
                </a:lnTo>
                <a:lnTo>
                  <a:pt x="12" y="354"/>
                </a:lnTo>
                <a:lnTo>
                  <a:pt x="18" y="354"/>
                </a:lnTo>
                <a:lnTo>
                  <a:pt x="18" y="348"/>
                </a:lnTo>
                <a:lnTo>
                  <a:pt x="18" y="342"/>
                </a:lnTo>
                <a:lnTo>
                  <a:pt x="18" y="336"/>
                </a:lnTo>
                <a:lnTo>
                  <a:pt x="24" y="336"/>
                </a:lnTo>
                <a:lnTo>
                  <a:pt x="30" y="336"/>
                </a:lnTo>
                <a:lnTo>
                  <a:pt x="36" y="336"/>
                </a:lnTo>
                <a:lnTo>
                  <a:pt x="36" y="330"/>
                </a:lnTo>
                <a:lnTo>
                  <a:pt x="36" y="324"/>
                </a:lnTo>
                <a:lnTo>
                  <a:pt x="42" y="324"/>
                </a:lnTo>
                <a:lnTo>
                  <a:pt x="42" y="318"/>
                </a:lnTo>
                <a:lnTo>
                  <a:pt x="42" y="312"/>
                </a:lnTo>
                <a:lnTo>
                  <a:pt x="42" y="306"/>
                </a:lnTo>
                <a:lnTo>
                  <a:pt x="48" y="306"/>
                </a:lnTo>
                <a:lnTo>
                  <a:pt x="48" y="300"/>
                </a:lnTo>
                <a:lnTo>
                  <a:pt x="48" y="294"/>
                </a:lnTo>
                <a:lnTo>
                  <a:pt x="54" y="294"/>
                </a:lnTo>
                <a:lnTo>
                  <a:pt x="54" y="288"/>
                </a:lnTo>
                <a:lnTo>
                  <a:pt x="54" y="282"/>
                </a:lnTo>
                <a:lnTo>
                  <a:pt x="60" y="282"/>
                </a:lnTo>
                <a:lnTo>
                  <a:pt x="60" y="276"/>
                </a:lnTo>
                <a:lnTo>
                  <a:pt x="60" y="270"/>
                </a:lnTo>
                <a:lnTo>
                  <a:pt x="66" y="270"/>
                </a:lnTo>
                <a:lnTo>
                  <a:pt x="66" y="264"/>
                </a:lnTo>
                <a:lnTo>
                  <a:pt x="66" y="258"/>
                </a:lnTo>
                <a:lnTo>
                  <a:pt x="72" y="258"/>
                </a:lnTo>
                <a:lnTo>
                  <a:pt x="72" y="252"/>
                </a:lnTo>
                <a:lnTo>
                  <a:pt x="72" y="246"/>
                </a:lnTo>
                <a:lnTo>
                  <a:pt x="78" y="246"/>
                </a:lnTo>
                <a:lnTo>
                  <a:pt x="72" y="246"/>
                </a:lnTo>
                <a:lnTo>
                  <a:pt x="78" y="246"/>
                </a:lnTo>
                <a:lnTo>
                  <a:pt x="78" y="240"/>
                </a:lnTo>
                <a:lnTo>
                  <a:pt x="78" y="234"/>
                </a:lnTo>
                <a:lnTo>
                  <a:pt x="78" y="240"/>
                </a:lnTo>
                <a:lnTo>
                  <a:pt x="78" y="234"/>
                </a:lnTo>
                <a:lnTo>
                  <a:pt x="78" y="240"/>
                </a:lnTo>
                <a:lnTo>
                  <a:pt x="72" y="240"/>
                </a:lnTo>
                <a:lnTo>
                  <a:pt x="72" y="246"/>
                </a:lnTo>
                <a:lnTo>
                  <a:pt x="66" y="246"/>
                </a:lnTo>
                <a:lnTo>
                  <a:pt x="66" y="252"/>
                </a:lnTo>
                <a:lnTo>
                  <a:pt x="66" y="246"/>
                </a:lnTo>
                <a:lnTo>
                  <a:pt x="66" y="240"/>
                </a:lnTo>
                <a:lnTo>
                  <a:pt x="72" y="240"/>
                </a:lnTo>
                <a:lnTo>
                  <a:pt x="72" y="234"/>
                </a:lnTo>
                <a:lnTo>
                  <a:pt x="78" y="234"/>
                </a:lnTo>
                <a:lnTo>
                  <a:pt x="84" y="234"/>
                </a:lnTo>
                <a:lnTo>
                  <a:pt x="84" y="228"/>
                </a:lnTo>
                <a:lnTo>
                  <a:pt x="90" y="228"/>
                </a:lnTo>
                <a:lnTo>
                  <a:pt x="84" y="228"/>
                </a:lnTo>
                <a:lnTo>
                  <a:pt x="90" y="228"/>
                </a:lnTo>
                <a:lnTo>
                  <a:pt x="90" y="222"/>
                </a:lnTo>
                <a:lnTo>
                  <a:pt x="96" y="216"/>
                </a:lnTo>
                <a:lnTo>
                  <a:pt x="102" y="216"/>
                </a:lnTo>
                <a:lnTo>
                  <a:pt x="102" y="210"/>
                </a:lnTo>
                <a:lnTo>
                  <a:pt x="102" y="204"/>
                </a:lnTo>
                <a:lnTo>
                  <a:pt x="108" y="204"/>
                </a:lnTo>
                <a:lnTo>
                  <a:pt x="108" y="198"/>
                </a:lnTo>
                <a:lnTo>
                  <a:pt x="114" y="198"/>
                </a:lnTo>
                <a:lnTo>
                  <a:pt x="120" y="198"/>
                </a:lnTo>
                <a:lnTo>
                  <a:pt x="120" y="192"/>
                </a:lnTo>
                <a:lnTo>
                  <a:pt x="126" y="192"/>
                </a:lnTo>
                <a:lnTo>
                  <a:pt x="126" y="186"/>
                </a:lnTo>
                <a:lnTo>
                  <a:pt x="126" y="180"/>
                </a:lnTo>
                <a:lnTo>
                  <a:pt x="126" y="174"/>
                </a:lnTo>
                <a:lnTo>
                  <a:pt x="132" y="168"/>
                </a:lnTo>
                <a:lnTo>
                  <a:pt x="132" y="162"/>
                </a:lnTo>
                <a:lnTo>
                  <a:pt x="126" y="162"/>
                </a:lnTo>
                <a:lnTo>
                  <a:pt x="126" y="156"/>
                </a:lnTo>
                <a:lnTo>
                  <a:pt x="132" y="156"/>
                </a:lnTo>
                <a:lnTo>
                  <a:pt x="132" y="150"/>
                </a:lnTo>
                <a:lnTo>
                  <a:pt x="126" y="150"/>
                </a:lnTo>
                <a:lnTo>
                  <a:pt x="132" y="150"/>
                </a:lnTo>
                <a:lnTo>
                  <a:pt x="132" y="144"/>
                </a:lnTo>
                <a:lnTo>
                  <a:pt x="132" y="138"/>
                </a:lnTo>
                <a:lnTo>
                  <a:pt x="138" y="138"/>
                </a:lnTo>
                <a:lnTo>
                  <a:pt x="138" y="132"/>
                </a:lnTo>
                <a:lnTo>
                  <a:pt x="138" y="126"/>
                </a:lnTo>
                <a:lnTo>
                  <a:pt x="138" y="120"/>
                </a:lnTo>
                <a:lnTo>
                  <a:pt x="144" y="120"/>
                </a:lnTo>
                <a:lnTo>
                  <a:pt x="144" y="114"/>
                </a:lnTo>
                <a:lnTo>
                  <a:pt x="150" y="108"/>
                </a:lnTo>
                <a:lnTo>
                  <a:pt x="150" y="102"/>
                </a:lnTo>
                <a:lnTo>
                  <a:pt x="150" y="96"/>
                </a:lnTo>
                <a:lnTo>
                  <a:pt x="150" y="90"/>
                </a:lnTo>
                <a:lnTo>
                  <a:pt x="156" y="90"/>
                </a:lnTo>
                <a:lnTo>
                  <a:pt x="162" y="90"/>
                </a:lnTo>
                <a:lnTo>
                  <a:pt x="162" y="84"/>
                </a:lnTo>
                <a:lnTo>
                  <a:pt x="168" y="84"/>
                </a:lnTo>
                <a:lnTo>
                  <a:pt x="168" y="78"/>
                </a:lnTo>
                <a:lnTo>
                  <a:pt x="174" y="78"/>
                </a:lnTo>
                <a:lnTo>
                  <a:pt x="180" y="78"/>
                </a:lnTo>
                <a:lnTo>
                  <a:pt x="180" y="72"/>
                </a:lnTo>
                <a:lnTo>
                  <a:pt x="186" y="72"/>
                </a:lnTo>
                <a:lnTo>
                  <a:pt x="192" y="72"/>
                </a:lnTo>
                <a:lnTo>
                  <a:pt x="192" y="66"/>
                </a:lnTo>
                <a:lnTo>
                  <a:pt x="198" y="66"/>
                </a:lnTo>
                <a:lnTo>
                  <a:pt x="198" y="60"/>
                </a:lnTo>
                <a:lnTo>
                  <a:pt x="204" y="60"/>
                </a:lnTo>
                <a:lnTo>
                  <a:pt x="204" y="54"/>
                </a:lnTo>
                <a:lnTo>
                  <a:pt x="204" y="48"/>
                </a:lnTo>
                <a:lnTo>
                  <a:pt x="204" y="42"/>
                </a:lnTo>
                <a:lnTo>
                  <a:pt x="210" y="42"/>
                </a:lnTo>
                <a:lnTo>
                  <a:pt x="210" y="36"/>
                </a:lnTo>
                <a:lnTo>
                  <a:pt x="210" y="30"/>
                </a:lnTo>
                <a:lnTo>
                  <a:pt x="216" y="24"/>
                </a:lnTo>
                <a:lnTo>
                  <a:pt x="216" y="18"/>
                </a:lnTo>
                <a:lnTo>
                  <a:pt x="216" y="12"/>
                </a:lnTo>
                <a:lnTo>
                  <a:pt x="222" y="12"/>
                </a:lnTo>
                <a:lnTo>
                  <a:pt x="222" y="6"/>
                </a:lnTo>
                <a:lnTo>
                  <a:pt x="222" y="0"/>
                </a:lnTo>
                <a:lnTo>
                  <a:pt x="300" y="0"/>
                </a:lnTo>
                <a:lnTo>
                  <a:pt x="318" y="0"/>
                </a:lnTo>
                <a:lnTo>
                  <a:pt x="390" y="0"/>
                </a:lnTo>
                <a:lnTo>
                  <a:pt x="474" y="0"/>
                </a:lnTo>
                <a:lnTo>
                  <a:pt x="474" y="30"/>
                </a:lnTo>
                <a:lnTo>
                  <a:pt x="474" y="42"/>
                </a:lnTo>
                <a:lnTo>
                  <a:pt x="474" y="54"/>
                </a:lnTo>
                <a:lnTo>
                  <a:pt x="474" y="108"/>
                </a:lnTo>
                <a:lnTo>
                  <a:pt x="468" y="108"/>
                </a:lnTo>
                <a:lnTo>
                  <a:pt x="456" y="108"/>
                </a:lnTo>
                <a:lnTo>
                  <a:pt x="450" y="108"/>
                </a:lnTo>
                <a:lnTo>
                  <a:pt x="444" y="108"/>
                </a:lnTo>
                <a:lnTo>
                  <a:pt x="438" y="108"/>
                </a:lnTo>
                <a:lnTo>
                  <a:pt x="426" y="108"/>
                </a:lnTo>
                <a:lnTo>
                  <a:pt x="420" y="108"/>
                </a:lnTo>
                <a:lnTo>
                  <a:pt x="414" y="108"/>
                </a:lnTo>
                <a:lnTo>
                  <a:pt x="402" y="108"/>
                </a:lnTo>
                <a:lnTo>
                  <a:pt x="396" y="108"/>
                </a:lnTo>
                <a:lnTo>
                  <a:pt x="390" y="108"/>
                </a:lnTo>
                <a:lnTo>
                  <a:pt x="384" y="108"/>
                </a:lnTo>
                <a:lnTo>
                  <a:pt x="378" y="108"/>
                </a:lnTo>
                <a:lnTo>
                  <a:pt x="372" y="108"/>
                </a:lnTo>
                <a:lnTo>
                  <a:pt x="366" y="108"/>
                </a:lnTo>
                <a:lnTo>
                  <a:pt x="360" y="108"/>
                </a:lnTo>
                <a:lnTo>
                  <a:pt x="348" y="108"/>
                </a:lnTo>
                <a:lnTo>
                  <a:pt x="342" y="108"/>
                </a:lnTo>
                <a:lnTo>
                  <a:pt x="336" y="108"/>
                </a:lnTo>
                <a:lnTo>
                  <a:pt x="324" y="108"/>
                </a:lnTo>
                <a:lnTo>
                  <a:pt x="318" y="108"/>
                </a:lnTo>
                <a:lnTo>
                  <a:pt x="312" y="108"/>
                </a:lnTo>
                <a:lnTo>
                  <a:pt x="300" y="108"/>
                </a:lnTo>
                <a:lnTo>
                  <a:pt x="294" y="108"/>
                </a:lnTo>
                <a:lnTo>
                  <a:pt x="288" y="108"/>
                </a:lnTo>
                <a:lnTo>
                  <a:pt x="288" y="114"/>
                </a:lnTo>
                <a:lnTo>
                  <a:pt x="288" y="168"/>
                </a:lnTo>
                <a:lnTo>
                  <a:pt x="288" y="180"/>
                </a:lnTo>
                <a:lnTo>
                  <a:pt x="288" y="204"/>
                </a:lnTo>
                <a:lnTo>
                  <a:pt x="288" y="264"/>
                </a:lnTo>
                <a:lnTo>
                  <a:pt x="258" y="264"/>
                </a:lnTo>
                <a:lnTo>
                  <a:pt x="252" y="264"/>
                </a:lnTo>
                <a:lnTo>
                  <a:pt x="246" y="270"/>
                </a:lnTo>
                <a:lnTo>
                  <a:pt x="240" y="270"/>
                </a:lnTo>
                <a:lnTo>
                  <a:pt x="234" y="276"/>
                </a:lnTo>
                <a:lnTo>
                  <a:pt x="228" y="282"/>
                </a:lnTo>
                <a:lnTo>
                  <a:pt x="228" y="288"/>
                </a:lnTo>
                <a:lnTo>
                  <a:pt x="228" y="294"/>
                </a:lnTo>
                <a:lnTo>
                  <a:pt x="222" y="300"/>
                </a:lnTo>
                <a:lnTo>
                  <a:pt x="222" y="306"/>
                </a:lnTo>
                <a:lnTo>
                  <a:pt x="222" y="312"/>
                </a:lnTo>
                <a:lnTo>
                  <a:pt x="222" y="318"/>
                </a:lnTo>
                <a:lnTo>
                  <a:pt x="222" y="330"/>
                </a:lnTo>
                <a:lnTo>
                  <a:pt x="228" y="336"/>
                </a:lnTo>
                <a:lnTo>
                  <a:pt x="228" y="342"/>
                </a:lnTo>
                <a:lnTo>
                  <a:pt x="228" y="348"/>
                </a:lnTo>
                <a:lnTo>
                  <a:pt x="228" y="354"/>
                </a:lnTo>
                <a:lnTo>
                  <a:pt x="228" y="360"/>
                </a:lnTo>
                <a:lnTo>
                  <a:pt x="228" y="366"/>
                </a:lnTo>
                <a:lnTo>
                  <a:pt x="228" y="372"/>
                </a:lnTo>
                <a:lnTo>
                  <a:pt x="228" y="378"/>
                </a:lnTo>
                <a:lnTo>
                  <a:pt x="228" y="384"/>
                </a:lnTo>
                <a:lnTo>
                  <a:pt x="228" y="390"/>
                </a:lnTo>
                <a:lnTo>
                  <a:pt x="222" y="390"/>
                </a:lnTo>
                <a:lnTo>
                  <a:pt x="210" y="390"/>
                </a:lnTo>
                <a:lnTo>
                  <a:pt x="204" y="390"/>
                </a:lnTo>
                <a:lnTo>
                  <a:pt x="198" y="390"/>
                </a:lnTo>
                <a:lnTo>
                  <a:pt x="192" y="390"/>
                </a:lnTo>
                <a:lnTo>
                  <a:pt x="180" y="390"/>
                </a:lnTo>
                <a:lnTo>
                  <a:pt x="174" y="390"/>
                </a:lnTo>
                <a:lnTo>
                  <a:pt x="168" y="390"/>
                </a:lnTo>
                <a:lnTo>
                  <a:pt x="162" y="390"/>
                </a:lnTo>
                <a:lnTo>
                  <a:pt x="156" y="390"/>
                </a:lnTo>
                <a:lnTo>
                  <a:pt x="150" y="390"/>
                </a:lnTo>
                <a:lnTo>
                  <a:pt x="144" y="390"/>
                </a:lnTo>
                <a:lnTo>
                  <a:pt x="138" y="390"/>
                </a:lnTo>
                <a:lnTo>
                  <a:pt x="132" y="390"/>
                </a:lnTo>
                <a:lnTo>
                  <a:pt x="126" y="390"/>
                </a:lnTo>
                <a:lnTo>
                  <a:pt x="120" y="390"/>
                </a:lnTo>
                <a:lnTo>
                  <a:pt x="108" y="390"/>
                </a:lnTo>
                <a:lnTo>
                  <a:pt x="90" y="390"/>
                </a:lnTo>
                <a:lnTo>
                  <a:pt x="78" y="390"/>
                </a:lnTo>
                <a:lnTo>
                  <a:pt x="60" y="390"/>
                </a:lnTo>
                <a:lnTo>
                  <a:pt x="48" y="390"/>
                </a:lnTo>
                <a:lnTo>
                  <a:pt x="30" y="390"/>
                </a:lnTo>
                <a:lnTo>
                  <a:pt x="12" y="390"/>
                </a:lnTo>
                <a:lnTo>
                  <a:pt x="12" y="396"/>
                </a:lnTo>
                <a:lnTo>
                  <a:pt x="12" y="402"/>
                </a:lnTo>
                <a:lnTo>
                  <a:pt x="6" y="402"/>
                </a:lnTo>
                <a:lnTo>
                  <a:pt x="6" y="408"/>
                </a:lnTo>
                <a:lnTo>
                  <a:pt x="6" y="414"/>
                </a:lnTo>
                <a:lnTo>
                  <a:pt x="6" y="420"/>
                </a:lnTo>
                <a:lnTo>
                  <a:pt x="6" y="426"/>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17" name="Freeform 7">
            <a:extLst>
              <a:ext uri="{FF2B5EF4-FFF2-40B4-BE49-F238E27FC236}">
                <a16:creationId xmlns:a16="http://schemas.microsoft.com/office/drawing/2014/main" id="{1CC80DFC-5AFA-3047-9CE7-869815035865}"/>
              </a:ext>
            </a:extLst>
          </p:cNvPr>
          <p:cNvSpPr>
            <a:spLocks noEditPoints="1"/>
          </p:cNvSpPr>
          <p:nvPr>
            <p:custDataLst>
              <p:tags r:id="rId6"/>
            </p:custDataLst>
          </p:nvPr>
        </p:nvSpPr>
        <p:spPr bwMode="gray">
          <a:xfrm>
            <a:off x="2278230" y="3702966"/>
            <a:ext cx="172282" cy="118168"/>
          </a:xfrm>
          <a:custGeom>
            <a:avLst/>
            <a:gdLst>
              <a:gd name="T0" fmla="*/ 31982 w 150"/>
              <a:gd name="T1" fmla="*/ 37267 h 138"/>
              <a:gd name="T2" fmla="*/ 33921 w 150"/>
              <a:gd name="T3" fmla="*/ 40134 h 138"/>
              <a:gd name="T4" fmla="*/ 36828 w 150"/>
              <a:gd name="T5" fmla="*/ 41089 h 138"/>
              <a:gd name="T6" fmla="*/ 38767 w 150"/>
              <a:gd name="T7" fmla="*/ 43955 h 138"/>
              <a:gd name="T8" fmla="*/ 38767 w 150"/>
              <a:gd name="T9" fmla="*/ 43955 h 138"/>
              <a:gd name="T10" fmla="*/ 36828 w 150"/>
              <a:gd name="T11" fmla="*/ 45867 h 138"/>
              <a:gd name="T12" fmla="*/ 31982 w 150"/>
              <a:gd name="T13" fmla="*/ 45867 h 138"/>
              <a:gd name="T14" fmla="*/ 30044 w 150"/>
              <a:gd name="T15" fmla="*/ 43955 h 138"/>
              <a:gd name="T16" fmla="*/ 31982 w 150"/>
              <a:gd name="T17" fmla="*/ 41089 h 138"/>
              <a:gd name="T18" fmla="*/ 31982 w 150"/>
              <a:gd name="T19" fmla="*/ 41089 h 138"/>
              <a:gd name="T20" fmla="*/ 31982 w 150"/>
              <a:gd name="T21" fmla="*/ 41089 h 138"/>
              <a:gd name="T22" fmla="*/ 30044 w 150"/>
              <a:gd name="T23" fmla="*/ 40134 h 138"/>
              <a:gd name="T24" fmla="*/ 31982 w 150"/>
              <a:gd name="T25" fmla="*/ 37267 h 138"/>
              <a:gd name="T26" fmla="*/ 31982 w 150"/>
              <a:gd name="T27" fmla="*/ 37267 h 138"/>
              <a:gd name="T28" fmla="*/ 3877 w 150"/>
              <a:gd name="T29" fmla="*/ 0 h 138"/>
              <a:gd name="T30" fmla="*/ 6784 w 150"/>
              <a:gd name="T31" fmla="*/ 1911 h 138"/>
              <a:gd name="T32" fmla="*/ 3877 w 150"/>
              <a:gd name="T33" fmla="*/ 3823 h 138"/>
              <a:gd name="T34" fmla="*/ 0 w 150"/>
              <a:gd name="T35" fmla="*/ 6689 h 138"/>
              <a:gd name="T36" fmla="*/ 0 w 150"/>
              <a:gd name="T37" fmla="*/ 1911 h 138"/>
              <a:gd name="T38" fmla="*/ 1938 w 150"/>
              <a:gd name="T39" fmla="*/ 0 h 138"/>
              <a:gd name="T40" fmla="*/ 51366 w 150"/>
              <a:gd name="T41" fmla="*/ 18156 h 138"/>
              <a:gd name="T42" fmla="*/ 53304 w 150"/>
              <a:gd name="T43" fmla="*/ 21022 h 138"/>
              <a:gd name="T44" fmla="*/ 51366 w 150"/>
              <a:gd name="T45" fmla="*/ 22934 h 138"/>
              <a:gd name="T46" fmla="*/ 49428 w 150"/>
              <a:gd name="T47" fmla="*/ 24844 h 138"/>
              <a:gd name="T48" fmla="*/ 47489 w 150"/>
              <a:gd name="T49" fmla="*/ 22934 h 138"/>
              <a:gd name="T50" fmla="*/ 49428 w 150"/>
              <a:gd name="T51" fmla="*/ 21022 h 138"/>
              <a:gd name="T52" fmla="*/ 47489 w 150"/>
              <a:gd name="T53" fmla="*/ 18156 h 138"/>
              <a:gd name="T54" fmla="*/ 49428 w 150"/>
              <a:gd name="T55" fmla="*/ 21022 h 138"/>
              <a:gd name="T56" fmla="*/ 51366 w 150"/>
              <a:gd name="T57" fmla="*/ 18156 h 138"/>
              <a:gd name="T58" fmla="*/ 21321 w 150"/>
              <a:gd name="T59" fmla="*/ 43955 h 138"/>
              <a:gd name="T60" fmla="*/ 21321 w 150"/>
              <a:gd name="T61" fmla="*/ 47778 h 138"/>
              <a:gd name="T62" fmla="*/ 17445 w 150"/>
              <a:gd name="T63" fmla="*/ 47778 h 138"/>
              <a:gd name="T64" fmla="*/ 17445 w 150"/>
              <a:gd name="T65" fmla="*/ 43955 h 138"/>
              <a:gd name="T66" fmla="*/ 21321 w 150"/>
              <a:gd name="T67" fmla="*/ 10511 h 138"/>
              <a:gd name="T68" fmla="*/ 23260 w 150"/>
              <a:gd name="T69" fmla="*/ 12422 h 138"/>
              <a:gd name="T70" fmla="*/ 23260 w 150"/>
              <a:gd name="T71" fmla="*/ 12422 h 138"/>
              <a:gd name="T72" fmla="*/ 21321 w 150"/>
              <a:gd name="T73" fmla="*/ 14333 h 138"/>
              <a:gd name="T74" fmla="*/ 21321 w 150"/>
              <a:gd name="T75" fmla="*/ 14333 h 138"/>
              <a:gd name="T76" fmla="*/ 19383 w 150"/>
              <a:gd name="T77" fmla="*/ 12422 h 138"/>
              <a:gd name="T78" fmla="*/ 17445 w 150"/>
              <a:gd name="T79" fmla="*/ 10511 h 138"/>
              <a:gd name="T80" fmla="*/ 21321 w 150"/>
              <a:gd name="T81" fmla="*/ 10511 h 138"/>
              <a:gd name="T82" fmla="*/ 44582 w 150"/>
              <a:gd name="T83" fmla="*/ 37267 h 138"/>
              <a:gd name="T84" fmla="*/ 44582 w 150"/>
              <a:gd name="T85" fmla="*/ 41089 h 138"/>
              <a:gd name="T86" fmla="*/ 40705 w 150"/>
              <a:gd name="T87" fmla="*/ 41089 h 138"/>
              <a:gd name="T88" fmla="*/ 42643 w 150"/>
              <a:gd name="T89" fmla="*/ 40134 h 138"/>
              <a:gd name="T90" fmla="*/ 40705 w 150"/>
              <a:gd name="T91" fmla="*/ 37267 h 138"/>
              <a:gd name="T92" fmla="*/ 8723 w 150"/>
              <a:gd name="T93" fmla="*/ 6689 h 138"/>
              <a:gd name="T94" fmla="*/ 6784 w 150"/>
              <a:gd name="T95" fmla="*/ 7644 h 138"/>
              <a:gd name="T96" fmla="*/ 3877 w 150"/>
              <a:gd name="T97" fmla="*/ 6689 h 138"/>
              <a:gd name="T98" fmla="*/ 3877 w 150"/>
              <a:gd name="T99" fmla="*/ 6689 h 138"/>
              <a:gd name="T100" fmla="*/ 8723 w 150"/>
              <a:gd name="T101" fmla="*/ 6689 h 138"/>
              <a:gd name="T102" fmla="*/ 49428 w 150"/>
              <a:gd name="T103" fmla="*/ 6689 h 138"/>
              <a:gd name="T104" fmla="*/ 49428 w 150"/>
              <a:gd name="T105" fmla="*/ 10511 h 138"/>
              <a:gd name="T106" fmla="*/ 47489 w 150"/>
              <a:gd name="T107" fmla="*/ 12422 h 138"/>
              <a:gd name="T108" fmla="*/ 47489 w 150"/>
              <a:gd name="T109" fmla="*/ 7644 h 138"/>
              <a:gd name="T110" fmla="*/ 10661 w 150"/>
              <a:gd name="T111" fmla="*/ 45867 h 138"/>
              <a:gd name="T112" fmla="*/ 12599 w 150"/>
              <a:gd name="T113" fmla="*/ 47778 h 138"/>
              <a:gd name="T114" fmla="*/ 10661 w 150"/>
              <a:gd name="T115" fmla="*/ 45867 h 138"/>
              <a:gd name="T116" fmla="*/ 12599 w 150"/>
              <a:gd name="T117" fmla="*/ 7644 h 1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50" h="138">
                <a:moveTo>
                  <a:pt x="84" y="108"/>
                </a:moveTo>
                <a:lnTo>
                  <a:pt x="90" y="108"/>
                </a:lnTo>
                <a:lnTo>
                  <a:pt x="90" y="114"/>
                </a:lnTo>
                <a:lnTo>
                  <a:pt x="96" y="114"/>
                </a:lnTo>
                <a:lnTo>
                  <a:pt x="96" y="120"/>
                </a:lnTo>
                <a:lnTo>
                  <a:pt x="102" y="120"/>
                </a:lnTo>
                <a:lnTo>
                  <a:pt x="102" y="126"/>
                </a:lnTo>
                <a:lnTo>
                  <a:pt x="108" y="126"/>
                </a:lnTo>
                <a:lnTo>
                  <a:pt x="102" y="126"/>
                </a:lnTo>
                <a:lnTo>
                  <a:pt x="108" y="126"/>
                </a:lnTo>
                <a:lnTo>
                  <a:pt x="102" y="126"/>
                </a:lnTo>
                <a:lnTo>
                  <a:pt x="102" y="132"/>
                </a:lnTo>
                <a:lnTo>
                  <a:pt x="96" y="132"/>
                </a:lnTo>
                <a:lnTo>
                  <a:pt x="90" y="132"/>
                </a:lnTo>
                <a:lnTo>
                  <a:pt x="90" y="126"/>
                </a:lnTo>
                <a:lnTo>
                  <a:pt x="84" y="126"/>
                </a:lnTo>
                <a:lnTo>
                  <a:pt x="84" y="120"/>
                </a:lnTo>
                <a:lnTo>
                  <a:pt x="90" y="120"/>
                </a:lnTo>
                <a:lnTo>
                  <a:pt x="84" y="120"/>
                </a:lnTo>
                <a:lnTo>
                  <a:pt x="90" y="120"/>
                </a:lnTo>
                <a:lnTo>
                  <a:pt x="84" y="120"/>
                </a:lnTo>
                <a:lnTo>
                  <a:pt x="90" y="120"/>
                </a:lnTo>
                <a:lnTo>
                  <a:pt x="84" y="120"/>
                </a:lnTo>
                <a:lnTo>
                  <a:pt x="84" y="114"/>
                </a:lnTo>
                <a:lnTo>
                  <a:pt x="90" y="114"/>
                </a:lnTo>
                <a:lnTo>
                  <a:pt x="90" y="108"/>
                </a:lnTo>
                <a:lnTo>
                  <a:pt x="84" y="108"/>
                </a:lnTo>
                <a:lnTo>
                  <a:pt x="90" y="108"/>
                </a:lnTo>
                <a:lnTo>
                  <a:pt x="84" y="108"/>
                </a:lnTo>
                <a:close/>
                <a:moveTo>
                  <a:pt x="12" y="0"/>
                </a:moveTo>
                <a:lnTo>
                  <a:pt x="18" y="0"/>
                </a:lnTo>
                <a:lnTo>
                  <a:pt x="18" y="6"/>
                </a:lnTo>
                <a:lnTo>
                  <a:pt x="18" y="12"/>
                </a:lnTo>
                <a:lnTo>
                  <a:pt x="12" y="12"/>
                </a:lnTo>
                <a:lnTo>
                  <a:pt x="6" y="18"/>
                </a:lnTo>
                <a:lnTo>
                  <a:pt x="0" y="18"/>
                </a:lnTo>
                <a:lnTo>
                  <a:pt x="0" y="12"/>
                </a:lnTo>
                <a:lnTo>
                  <a:pt x="0" y="6"/>
                </a:lnTo>
                <a:lnTo>
                  <a:pt x="6" y="6"/>
                </a:lnTo>
                <a:lnTo>
                  <a:pt x="6" y="0"/>
                </a:lnTo>
                <a:lnTo>
                  <a:pt x="12" y="0"/>
                </a:lnTo>
                <a:close/>
                <a:moveTo>
                  <a:pt x="144" y="54"/>
                </a:moveTo>
                <a:lnTo>
                  <a:pt x="144" y="60"/>
                </a:lnTo>
                <a:lnTo>
                  <a:pt x="150" y="60"/>
                </a:lnTo>
                <a:lnTo>
                  <a:pt x="150" y="66"/>
                </a:lnTo>
                <a:lnTo>
                  <a:pt x="144" y="66"/>
                </a:lnTo>
                <a:lnTo>
                  <a:pt x="144" y="72"/>
                </a:lnTo>
                <a:lnTo>
                  <a:pt x="138" y="72"/>
                </a:lnTo>
                <a:lnTo>
                  <a:pt x="132" y="72"/>
                </a:lnTo>
                <a:lnTo>
                  <a:pt x="132" y="66"/>
                </a:lnTo>
                <a:lnTo>
                  <a:pt x="132" y="60"/>
                </a:lnTo>
                <a:lnTo>
                  <a:pt x="138" y="60"/>
                </a:lnTo>
                <a:lnTo>
                  <a:pt x="132" y="60"/>
                </a:lnTo>
                <a:lnTo>
                  <a:pt x="132" y="54"/>
                </a:lnTo>
                <a:lnTo>
                  <a:pt x="138" y="54"/>
                </a:lnTo>
                <a:lnTo>
                  <a:pt x="138" y="60"/>
                </a:lnTo>
                <a:lnTo>
                  <a:pt x="138" y="54"/>
                </a:lnTo>
                <a:lnTo>
                  <a:pt x="144" y="54"/>
                </a:lnTo>
                <a:close/>
                <a:moveTo>
                  <a:pt x="54" y="126"/>
                </a:moveTo>
                <a:lnTo>
                  <a:pt x="60" y="126"/>
                </a:lnTo>
                <a:lnTo>
                  <a:pt x="60" y="132"/>
                </a:lnTo>
                <a:lnTo>
                  <a:pt x="60" y="138"/>
                </a:lnTo>
                <a:lnTo>
                  <a:pt x="54" y="138"/>
                </a:lnTo>
                <a:lnTo>
                  <a:pt x="48" y="138"/>
                </a:lnTo>
                <a:lnTo>
                  <a:pt x="48" y="132"/>
                </a:lnTo>
                <a:lnTo>
                  <a:pt x="48" y="126"/>
                </a:lnTo>
                <a:lnTo>
                  <a:pt x="54" y="126"/>
                </a:lnTo>
                <a:close/>
                <a:moveTo>
                  <a:pt x="60" y="30"/>
                </a:moveTo>
                <a:lnTo>
                  <a:pt x="66" y="30"/>
                </a:lnTo>
                <a:lnTo>
                  <a:pt x="66" y="36"/>
                </a:lnTo>
                <a:lnTo>
                  <a:pt x="72" y="36"/>
                </a:lnTo>
                <a:lnTo>
                  <a:pt x="66" y="36"/>
                </a:lnTo>
                <a:lnTo>
                  <a:pt x="60" y="36"/>
                </a:lnTo>
                <a:lnTo>
                  <a:pt x="60" y="42"/>
                </a:lnTo>
                <a:lnTo>
                  <a:pt x="54" y="42"/>
                </a:lnTo>
                <a:lnTo>
                  <a:pt x="60" y="42"/>
                </a:lnTo>
                <a:lnTo>
                  <a:pt x="54" y="42"/>
                </a:lnTo>
                <a:lnTo>
                  <a:pt x="54" y="36"/>
                </a:lnTo>
                <a:lnTo>
                  <a:pt x="48" y="36"/>
                </a:lnTo>
                <a:lnTo>
                  <a:pt x="48" y="30"/>
                </a:lnTo>
                <a:lnTo>
                  <a:pt x="54" y="30"/>
                </a:lnTo>
                <a:lnTo>
                  <a:pt x="60" y="30"/>
                </a:lnTo>
                <a:close/>
                <a:moveTo>
                  <a:pt x="120" y="108"/>
                </a:moveTo>
                <a:lnTo>
                  <a:pt x="126" y="108"/>
                </a:lnTo>
                <a:lnTo>
                  <a:pt x="126" y="114"/>
                </a:lnTo>
                <a:lnTo>
                  <a:pt x="126" y="120"/>
                </a:lnTo>
                <a:lnTo>
                  <a:pt x="120" y="120"/>
                </a:lnTo>
                <a:lnTo>
                  <a:pt x="114" y="120"/>
                </a:lnTo>
                <a:lnTo>
                  <a:pt x="114" y="114"/>
                </a:lnTo>
                <a:lnTo>
                  <a:pt x="120" y="114"/>
                </a:lnTo>
                <a:lnTo>
                  <a:pt x="114" y="114"/>
                </a:lnTo>
                <a:lnTo>
                  <a:pt x="114" y="108"/>
                </a:lnTo>
                <a:lnTo>
                  <a:pt x="120" y="108"/>
                </a:lnTo>
                <a:close/>
                <a:moveTo>
                  <a:pt x="24" y="18"/>
                </a:moveTo>
                <a:lnTo>
                  <a:pt x="24" y="24"/>
                </a:lnTo>
                <a:lnTo>
                  <a:pt x="18" y="24"/>
                </a:lnTo>
                <a:lnTo>
                  <a:pt x="12" y="24"/>
                </a:lnTo>
                <a:lnTo>
                  <a:pt x="12" y="18"/>
                </a:lnTo>
                <a:lnTo>
                  <a:pt x="18" y="18"/>
                </a:lnTo>
                <a:lnTo>
                  <a:pt x="12" y="18"/>
                </a:lnTo>
                <a:lnTo>
                  <a:pt x="18" y="18"/>
                </a:lnTo>
                <a:lnTo>
                  <a:pt x="24" y="18"/>
                </a:lnTo>
                <a:close/>
                <a:moveTo>
                  <a:pt x="132" y="18"/>
                </a:moveTo>
                <a:lnTo>
                  <a:pt x="138" y="18"/>
                </a:lnTo>
                <a:lnTo>
                  <a:pt x="138" y="24"/>
                </a:lnTo>
                <a:lnTo>
                  <a:pt x="138" y="30"/>
                </a:lnTo>
                <a:lnTo>
                  <a:pt x="138" y="36"/>
                </a:lnTo>
                <a:lnTo>
                  <a:pt x="132" y="36"/>
                </a:lnTo>
                <a:lnTo>
                  <a:pt x="132" y="30"/>
                </a:lnTo>
                <a:lnTo>
                  <a:pt x="132" y="24"/>
                </a:lnTo>
                <a:lnTo>
                  <a:pt x="132" y="18"/>
                </a:lnTo>
                <a:close/>
                <a:moveTo>
                  <a:pt x="30" y="132"/>
                </a:moveTo>
                <a:lnTo>
                  <a:pt x="36" y="132"/>
                </a:lnTo>
                <a:lnTo>
                  <a:pt x="36" y="138"/>
                </a:lnTo>
                <a:lnTo>
                  <a:pt x="30" y="138"/>
                </a:lnTo>
                <a:lnTo>
                  <a:pt x="30" y="132"/>
                </a:lnTo>
                <a:close/>
                <a:moveTo>
                  <a:pt x="30" y="24"/>
                </a:moveTo>
                <a:lnTo>
                  <a:pt x="36" y="24"/>
                </a:lnTo>
                <a:lnTo>
                  <a:pt x="30" y="2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18" name="Freeform 8">
            <a:extLst>
              <a:ext uri="{FF2B5EF4-FFF2-40B4-BE49-F238E27FC236}">
                <a16:creationId xmlns:a16="http://schemas.microsoft.com/office/drawing/2014/main" id="{914D7A5A-64F0-5243-8633-8660DA788B44}"/>
              </a:ext>
            </a:extLst>
          </p:cNvPr>
          <p:cNvSpPr>
            <a:spLocks noEditPoints="1"/>
          </p:cNvSpPr>
          <p:nvPr>
            <p:custDataLst>
              <p:tags r:id="rId7"/>
            </p:custDataLst>
          </p:nvPr>
        </p:nvSpPr>
        <p:spPr bwMode="gray">
          <a:xfrm>
            <a:off x="2478249" y="3926050"/>
            <a:ext cx="200259" cy="93872"/>
          </a:xfrm>
          <a:custGeom>
            <a:avLst/>
            <a:gdLst>
              <a:gd name="T0" fmla="*/ 31879 w 174"/>
              <a:gd name="T1" fmla="*/ 35479 h 108"/>
              <a:gd name="T2" fmla="*/ 31879 w 174"/>
              <a:gd name="T3" fmla="*/ 33508 h 108"/>
              <a:gd name="T4" fmla="*/ 33811 w 174"/>
              <a:gd name="T5" fmla="*/ 33508 h 108"/>
              <a:gd name="T6" fmla="*/ 29947 w 174"/>
              <a:gd name="T7" fmla="*/ 30551 h 108"/>
              <a:gd name="T8" fmla="*/ 25116 w 174"/>
              <a:gd name="T9" fmla="*/ 28580 h 108"/>
              <a:gd name="T10" fmla="*/ 23184 w 174"/>
              <a:gd name="T11" fmla="*/ 28580 h 108"/>
              <a:gd name="T12" fmla="*/ 25116 w 174"/>
              <a:gd name="T13" fmla="*/ 23653 h 108"/>
              <a:gd name="T14" fmla="*/ 27048 w 174"/>
              <a:gd name="T15" fmla="*/ 23653 h 108"/>
              <a:gd name="T16" fmla="*/ 27048 w 174"/>
              <a:gd name="T17" fmla="*/ 22667 h 108"/>
              <a:gd name="T18" fmla="*/ 31879 w 174"/>
              <a:gd name="T19" fmla="*/ 23653 h 108"/>
              <a:gd name="T20" fmla="*/ 33811 w 174"/>
              <a:gd name="T21" fmla="*/ 23653 h 108"/>
              <a:gd name="T22" fmla="*/ 29947 w 174"/>
              <a:gd name="T23" fmla="*/ 22667 h 108"/>
              <a:gd name="T24" fmla="*/ 27048 w 174"/>
              <a:gd name="T25" fmla="*/ 22667 h 108"/>
              <a:gd name="T26" fmla="*/ 27048 w 174"/>
              <a:gd name="T27" fmla="*/ 19711 h 108"/>
              <a:gd name="T28" fmla="*/ 25116 w 174"/>
              <a:gd name="T29" fmla="*/ 22667 h 108"/>
              <a:gd name="T30" fmla="*/ 25116 w 174"/>
              <a:gd name="T31" fmla="*/ 17740 h 108"/>
              <a:gd name="T32" fmla="*/ 33811 w 174"/>
              <a:gd name="T33" fmla="*/ 15768 h 108"/>
              <a:gd name="T34" fmla="*/ 25116 w 174"/>
              <a:gd name="T35" fmla="*/ 15768 h 108"/>
              <a:gd name="T36" fmla="*/ 19321 w 174"/>
              <a:gd name="T37" fmla="*/ 19711 h 108"/>
              <a:gd name="T38" fmla="*/ 14490 w 174"/>
              <a:gd name="T39" fmla="*/ 17740 h 108"/>
              <a:gd name="T40" fmla="*/ 12558 w 174"/>
              <a:gd name="T41" fmla="*/ 17740 h 108"/>
              <a:gd name="T42" fmla="*/ 6762 w 174"/>
              <a:gd name="T43" fmla="*/ 10841 h 108"/>
              <a:gd name="T44" fmla="*/ 7728 w 174"/>
              <a:gd name="T45" fmla="*/ 10841 h 108"/>
              <a:gd name="T46" fmla="*/ 0 w 174"/>
              <a:gd name="T47" fmla="*/ 8870 h 108"/>
              <a:gd name="T48" fmla="*/ 7728 w 174"/>
              <a:gd name="T49" fmla="*/ 6898 h 108"/>
              <a:gd name="T50" fmla="*/ 19321 w 174"/>
              <a:gd name="T51" fmla="*/ 6898 h 108"/>
              <a:gd name="T52" fmla="*/ 25116 w 174"/>
              <a:gd name="T53" fmla="*/ 1971 h 108"/>
              <a:gd name="T54" fmla="*/ 35742 w 174"/>
              <a:gd name="T55" fmla="*/ 0 h 108"/>
              <a:gd name="T56" fmla="*/ 48301 w 174"/>
              <a:gd name="T57" fmla="*/ 0 h 108"/>
              <a:gd name="T58" fmla="*/ 58927 w 174"/>
              <a:gd name="T59" fmla="*/ 0 h 108"/>
              <a:gd name="T60" fmla="*/ 58927 w 174"/>
              <a:gd name="T61" fmla="*/ 6898 h 108"/>
              <a:gd name="T62" fmla="*/ 55063 w 174"/>
              <a:gd name="T63" fmla="*/ 8870 h 108"/>
              <a:gd name="T64" fmla="*/ 58927 w 174"/>
              <a:gd name="T65" fmla="*/ 15768 h 108"/>
              <a:gd name="T66" fmla="*/ 56995 w 174"/>
              <a:gd name="T67" fmla="*/ 19711 h 108"/>
              <a:gd name="T68" fmla="*/ 55063 w 174"/>
              <a:gd name="T69" fmla="*/ 19711 h 108"/>
              <a:gd name="T70" fmla="*/ 46369 w 174"/>
              <a:gd name="T71" fmla="*/ 22667 h 108"/>
              <a:gd name="T72" fmla="*/ 40573 w 174"/>
              <a:gd name="T73" fmla="*/ 23653 h 108"/>
              <a:gd name="T74" fmla="*/ 35742 w 174"/>
              <a:gd name="T75" fmla="*/ 33508 h 108"/>
              <a:gd name="T76" fmla="*/ 7728 w 174"/>
              <a:gd name="T77" fmla="*/ 35479 h 108"/>
              <a:gd name="T78" fmla="*/ 10626 w 174"/>
              <a:gd name="T79" fmla="*/ 19711 h 108"/>
              <a:gd name="T80" fmla="*/ 12558 w 174"/>
              <a:gd name="T81" fmla="*/ 26610 h 108"/>
              <a:gd name="T82" fmla="*/ 6762 w 174"/>
              <a:gd name="T83" fmla="*/ 26610 h 108"/>
              <a:gd name="T84" fmla="*/ 19321 w 174"/>
              <a:gd name="T85" fmla="*/ 33508 h 108"/>
              <a:gd name="T86" fmla="*/ 14490 w 174"/>
              <a:gd name="T87" fmla="*/ 35479 h 108"/>
              <a:gd name="T88" fmla="*/ 6762 w 174"/>
              <a:gd name="T89" fmla="*/ 17740 h 108"/>
              <a:gd name="T90" fmla="*/ 7728 w 174"/>
              <a:gd name="T91" fmla="*/ 30551 h 108"/>
              <a:gd name="T92" fmla="*/ 21252 w 174"/>
              <a:gd name="T93" fmla="*/ 23653 h 108"/>
              <a:gd name="T94" fmla="*/ 12558 w 174"/>
              <a:gd name="T95" fmla="*/ 35479 h 108"/>
              <a:gd name="T96" fmla="*/ 7728 w 174"/>
              <a:gd name="T97" fmla="*/ 26610 h 108"/>
              <a:gd name="T98" fmla="*/ 14490 w 174"/>
              <a:gd name="T99" fmla="*/ 30551 h 108"/>
              <a:gd name="T100" fmla="*/ 10626 w 174"/>
              <a:gd name="T101" fmla="*/ 28580 h 108"/>
              <a:gd name="T102" fmla="*/ 17388 w 174"/>
              <a:gd name="T103" fmla="*/ 23653 h 108"/>
              <a:gd name="T104" fmla="*/ 21252 w 174"/>
              <a:gd name="T105" fmla="*/ 26610 h 108"/>
              <a:gd name="T106" fmla="*/ 12558 w 174"/>
              <a:gd name="T107" fmla="*/ 28580 h 108"/>
              <a:gd name="T108" fmla="*/ 17388 w 174"/>
              <a:gd name="T109" fmla="*/ 28580 h 108"/>
              <a:gd name="T110" fmla="*/ 6762 w 174"/>
              <a:gd name="T111" fmla="*/ 28580 h 108"/>
              <a:gd name="T112" fmla="*/ 14490 w 174"/>
              <a:gd name="T113" fmla="*/ 17740 h 108"/>
              <a:gd name="T114" fmla="*/ 6762 w 174"/>
              <a:gd name="T115" fmla="*/ 30551 h 108"/>
              <a:gd name="T116" fmla="*/ 21252 w 174"/>
              <a:gd name="T117" fmla="*/ 37450 h 108"/>
              <a:gd name="T118" fmla="*/ 12558 w 174"/>
              <a:gd name="T119" fmla="*/ 28580 h 108"/>
              <a:gd name="T120" fmla="*/ 29947 w 174"/>
              <a:gd name="T121" fmla="*/ 39421 h 1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108">
                <a:moveTo>
                  <a:pt x="102" y="96"/>
                </a:moveTo>
                <a:lnTo>
                  <a:pt x="96" y="96"/>
                </a:lnTo>
                <a:lnTo>
                  <a:pt x="96" y="102"/>
                </a:lnTo>
                <a:lnTo>
                  <a:pt x="90" y="102"/>
                </a:lnTo>
                <a:lnTo>
                  <a:pt x="90" y="96"/>
                </a:lnTo>
                <a:lnTo>
                  <a:pt x="96" y="96"/>
                </a:lnTo>
                <a:lnTo>
                  <a:pt x="90" y="96"/>
                </a:lnTo>
                <a:lnTo>
                  <a:pt x="90" y="102"/>
                </a:lnTo>
                <a:lnTo>
                  <a:pt x="90" y="96"/>
                </a:lnTo>
                <a:lnTo>
                  <a:pt x="90" y="90"/>
                </a:lnTo>
                <a:lnTo>
                  <a:pt x="96" y="90"/>
                </a:lnTo>
                <a:lnTo>
                  <a:pt x="90" y="90"/>
                </a:lnTo>
                <a:lnTo>
                  <a:pt x="96" y="90"/>
                </a:lnTo>
                <a:lnTo>
                  <a:pt x="96" y="84"/>
                </a:lnTo>
                <a:lnTo>
                  <a:pt x="96" y="90"/>
                </a:lnTo>
                <a:lnTo>
                  <a:pt x="90" y="90"/>
                </a:lnTo>
                <a:lnTo>
                  <a:pt x="84" y="90"/>
                </a:lnTo>
                <a:lnTo>
                  <a:pt x="84" y="96"/>
                </a:lnTo>
                <a:lnTo>
                  <a:pt x="84" y="90"/>
                </a:lnTo>
                <a:lnTo>
                  <a:pt x="84" y="84"/>
                </a:lnTo>
                <a:lnTo>
                  <a:pt x="84" y="90"/>
                </a:lnTo>
                <a:lnTo>
                  <a:pt x="78" y="90"/>
                </a:lnTo>
                <a:lnTo>
                  <a:pt x="72" y="90"/>
                </a:lnTo>
                <a:lnTo>
                  <a:pt x="72" y="84"/>
                </a:lnTo>
                <a:lnTo>
                  <a:pt x="72" y="78"/>
                </a:lnTo>
                <a:lnTo>
                  <a:pt x="78" y="78"/>
                </a:lnTo>
                <a:lnTo>
                  <a:pt x="78" y="72"/>
                </a:lnTo>
                <a:lnTo>
                  <a:pt x="72" y="72"/>
                </a:lnTo>
                <a:lnTo>
                  <a:pt x="72" y="78"/>
                </a:lnTo>
                <a:lnTo>
                  <a:pt x="66" y="78"/>
                </a:lnTo>
                <a:lnTo>
                  <a:pt x="66" y="72"/>
                </a:lnTo>
                <a:lnTo>
                  <a:pt x="72" y="72"/>
                </a:lnTo>
                <a:lnTo>
                  <a:pt x="66" y="72"/>
                </a:lnTo>
                <a:lnTo>
                  <a:pt x="72" y="72"/>
                </a:lnTo>
                <a:lnTo>
                  <a:pt x="72" y="66"/>
                </a:lnTo>
                <a:lnTo>
                  <a:pt x="72" y="72"/>
                </a:lnTo>
                <a:lnTo>
                  <a:pt x="72" y="66"/>
                </a:lnTo>
                <a:lnTo>
                  <a:pt x="78" y="66"/>
                </a:lnTo>
                <a:lnTo>
                  <a:pt x="78" y="60"/>
                </a:lnTo>
                <a:lnTo>
                  <a:pt x="78" y="66"/>
                </a:lnTo>
                <a:lnTo>
                  <a:pt x="84" y="66"/>
                </a:lnTo>
                <a:lnTo>
                  <a:pt x="78" y="66"/>
                </a:lnTo>
                <a:lnTo>
                  <a:pt x="84" y="66"/>
                </a:lnTo>
                <a:lnTo>
                  <a:pt x="78" y="66"/>
                </a:lnTo>
                <a:lnTo>
                  <a:pt x="78" y="60"/>
                </a:lnTo>
                <a:lnTo>
                  <a:pt x="84" y="60"/>
                </a:lnTo>
                <a:lnTo>
                  <a:pt x="84" y="66"/>
                </a:lnTo>
                <a:lnTo>
                  <a:pt x="84" y="60"/>
                </a:lnTo>
                <a:lnTo>
                  <a:pt x="90" y="60"/>
                </a:lnTo>
                <a:lnTo>
                  <a:pt x="90" y="66"/>
                </a:lnTo>
                <a:lnTo>
                  <a:pt x="90" y="60"/>
                </a:lnTo>
                <a:lnTo>
                  <a:pt x="90" y="66"/>
                </a:lnTo>
                <a:lnTo>
                  <a:pt x="96" y="66"/>
                </a:lnTo>
                <a:lnTo>
                  <a:pt x="96" y="60"/>
                </a:lnTo>
                <a:lnTo>
                  <a:pt x="96" y="66"/>
                </a:lnTo>
                <a:lnTo>
                  <a:pt x="90" y="66"/>
                </a:lnTo>
                <a:lnTo>
                  <a:pt x="90" y="60"/>
                </a:lnTo>
                <a:lnTo>
                  <a:pt x="84" y="60"/>
                </a:lnTo>
                <a:lnTo>
                  <a:pt x="90" y="60"/>
                </a:lnTo>
                <a:lnTo>
                  <a:pt x="84" y="60"/>
                </a:lnTo>
                <a:lnTo>
                  <a:pt x="78" y="60"/>
                </a:lnTo>
                <a:lnTo>
                  <a:pt x="84" y="60"/>
                </a:lnTo>
                <a:lnTo>
                  <a:pt x="84" y="54"/>
                </a:lnTo>
                <a:lnTo>
                  <a:pt x="84" y="60"/>
                </a:lnTo>
                <a:lnTo>
                  <a:pt x="78" y="60"/>
                </a:lnTo>
                <a:lnTo>
                  <a:pt x="84" y="60"/>
                </a:lnTo>
                <a:lnTo>
                  <a:pt x="78" y="60"/>
                </a:lnTo>
                <a:lnTo>
                  <a:pt x="78" y="54"/>
                </a:lnTo>
                <a:lnTo>
                  <a:pt x="78" y="60"/>
                </a:lnTo>
                <a:lnTo>
                  <a:pt x="78" y="54"/>
                </a:lnTo>
                <a:lnTo>
                  <a:pt x="78" y="60"/>
                </a:lnTo>
                <a:lnTo>
                  <a:pt x="72" y="60"/>
                </a:lnTo>
                <a:lnTo>
                  <a:pt x="78" y="66"/>
                </a:lnTo>
                <a:lnTo>
                  <a:pt x="72" y="66"/>
                </a:lnTo>
                <a:lnTo>
                  <a:pt x="72" y="60"/>
                </a:lnTo>
                <a:lnTo>
                  <a:pt x="72" y="66"/>
                </a:lnTo>
                <a:lnTo>
                  <a:pt x="72" y="60"/>
                </a:lnTo>
                <a:lnTo>
                  <a:pt x="66" y="60"/>
                </a:lnTo>
                <a:lnTo>
                  <a:pt x="66" y="54"/>
                </a:lnTo>
                <a:lnTo>
                  <a:pt x="72" y="48"/>
                </a:lnTo>
                <a:lnTo>
                  <a:pt x="78" y="48"/>
                </a:lnTo>
                <a:lnTo>
                  <a:pt x="84" y="48"/>
                </a:lnTo>
                <a:lnTo>
                  <a:pt x="90" y="48"/>
                </a:lnTo>
                <a:lnTo>
                  <a:pt x="90" y="42"/>
                </a:lnTo>
                <a:lnTo>
                  <a:pt x="96" y="42"/>
                </a:lnTo>
                <a:lnTo>
                  <a:pt x="90" y="42"/>
                </a:lnTo>
                <a:lnTo>
                  <a:pt x="84" y="42"/>
                </a:lnTo>
                <a:lnTo>
                  <a:pt x="84" y="48"/>
                </a:lnTo>
                <a:lnTo>
                  <a:pt x="78" y="42"/>
                </a:lnTo>
                <a:lnTo>
                  <a:pt x="72" y="42"/>
                </a:lnTo>
                <a:lnTo>
                  <a:pt x="66" y="42"/>
                </a:lnTo>
                <a:lnTo>
                  <a:pt x="66" y="48"/>
                </a:lnTo>
                <a:lnTo>
                  <a:pt x="60" y="48"/>
                </a:lnTo>
                <a:lnTo>
                  <a:pt x="60" y="54"/>
                </a:lnTo>
                <a:lnTo>
                  <a:pt x="54" y="54"/>
                </a:lnTo>
                <a:lnTo>
                  <a:pt x="48" y="54"/>
                </a:lnTo>
                <a:lnTo>
                  <a:pt x="48" y="48"/>
                </a:lnTo>
                <a:lnTo>
                  <a:pt x="48" y="54"/>
                </a:lnTo>
                <a:lnTo>
                  <a:pt x="42" y="54"/>
                </a:lnTo>
                <a:lnTo>
                  <a:pt x="42" y="48"/>
                </a:lnTo>
                <a:lnTo>
                  <a:pt x="48" y="48"/>
                </a:lnTo>
                <a:lnTo>
                  <a:pt x="48" y="42"/>
                </a:lnTo>
                <a:lnTo>
                  <a:pt x="42" y="42"/>
                </a:lnTo>
                <a:lnTo>
                  <a:pt x="42" y="48"/>
                </a:lnTo>
                <a:lnTo>
                  <a:pt x="36" y="48"/>
                </a:lnTo>
                <a:lnTo>
                  <a:pt x="30" y="48"/>
                </a:lnTo>
                <a:lnTo>
                  <a:pt x="24" y="42"/>
                </a:lnTo>
                <a:lnTo>
                  <a:pt x="18" y="42"/>
                </a:lnTo>
                <a:lnTo>
                  <a:pt x="18" y="36"/>
                </a:lnTo>
                <a:lnTo>
                  <a:pt x="18" y="30"/>
                </a:lnTo>
                <a:lnTo>
                  <a:pt x="24" y="30"/>
                </a:lnTo>
                <a:lnTo>
                  <a:pt x="24" y="24"/>
                </a:lnTo>
                <a:lnTo>
                  <a:pt x="30" y="24"/>
                </a:lnTo>
                <a:lnTo>
                  <a:pt x="24" y="24"/>
                </a:lnTo>
                <a:lnTo>
                  <a:pt x="24" y="30"/>
                </a:lnTo>
                <a:lnTo>
                  <a:pt x="18" y="30"/>
                </a:lnTo>
                <a:lnTo>
                  <a:pt x="12" y="30"/>
                </a:lnTo>
                <a:lnTo>
                  <a:pt x="12" y="24"/>
                </a:lnTo>
                <a:lnTo>
                  <a:pt x="6" y="24"/>
                </a:lnTo>
                <a:lnTo>
                  <a:pt x="0" y="24"/>
                </a:lnTo>
                <a:lnTo>
                  <a:pt x="0" y="18"/>
                </a:lnTo>
                <a:lnTo>
                  <a:pt x="6" y="18"/>
                </a:lnTo>
                <a:lnTo>
                  <a:pt x="12" y="18"/>
                </a:lnTo>
                <a:lnTo>
                  <a:pt x="18" y="18"/>
                </a:lnTo>
                <a:lnTo>
                  <a:pt x="24" y="18"/>
                </a:lnTo>
                <a:lnTo>
                  <a:pt x="30" y="12"/>
                </a:lnTo>
                <a:lnTo>
                  <a:pt x="36" y="12"/>
                </a:lnTo>
                <a:lnTo>
                  <a:pt x="42" y="18"/>
                </a:lnTo>
                <a:lnTo>
                  <a:pt x="48" y="18"/>
                </a:lnTo>
                <a:lnTo>
                  <a:pt x="54" y="18"/>
                </a:lnTo>
                <a:lnTo>
                  <a:pt x="60" y="18"/>
                </a:lnTo>
                <a:lnTo>
                  <a:pt x="60" y="12"/>
                </a:lnTo>
                <a:lnTo>
                  <a:pt x="66" y="12"/>
                </a:lnTo>
                <a:lnTo>
                  <a:pt x="72" y="12"/>
                </a:lnTo>
                <a:lnTo>
                  <a:pt x="72" y="6"/>
                </a:lnTo>
                <a:lnTo>
                  <a:pt x="78" y="6"/>
                </a:lnTo>
                <a:lnTo>
                  <a:pt x="84" y="0"/>
                </a:lnTo>
                <a:lnTo>
                  <a:pt x="90" y="0"/>
                </a:lnTo>
                <a:lnTo>
                  <a:pt x="96" y="0"/>
                </a:lnTo>
                <a:lnTo>
                  <a:pt x="102" y="0"/>
                </a:lnTo>
                <a:lnTo>
                  <a:pt x="108" y="0"/>
                </a:lnTo>
                <a:lnTo>
                  <a:pt x="114" y="0"/>
                </a:lnTo>
                <a:lnTo>
                  <a:pt x="120" y="0"/>
                </a:lnTo>
                <a:lnTo>
                  <a:pt x="132" y="0"/>
                </a:lnTo>
                <a:lnTo>
                  <a:pt x="138" y="0"/>
                </a:lnTo>
                <a:lnTo>
                  <a:pt x="144" y="0"/>
                </a:lnTo>
                <a:lnTo>
                  <a:pt x="150" y="0"/>
                </a:lnTo>
                <a:lnTo>
                  <a:pt x="156" y="0"/>
                </a:lnTo>
                <a:lnTo>
                  <a:pt x="162" y="0"/>
                </a:lnTo>
                <a:lnTo>
                  <a:pt x="168" y="0"/>
                </a:lnTo>
                <a:lnTo>
                  <a:pt x="168" y="6"/>
                </a:lnTo>
                <a:lnTo>
                  <a:pt x="168" y="12"/>
                </a:lnTo>
                <a:lnTo>
                  <a:pt x="174" y="12"/>
                </a:lnTo>
                <a:lnTo>
                  <a:pt x="174" y="18"/>
                </a:lnTo>
                <a:lnTo>
                  <a:pt x="168" y="18"/>
                </a:lnTo>
                <a:lnTo>
                  <a:pt x="168" y="24"/>
                </a:lnTo>
                <a:lnTo>
                  <a:pt x="162" y="24"/>
                </a:lnTo>
                <a:lnTo>
                  <a:pt x="156" y="24"/>
                </a:lnTo>
                <a:lnTo>
                  <a:pt x="162" y="24"/>
                </a:lnTo>
                <a:lnTo>
                  <a:pt x="156" y="24"/>
                </a:lnTo>
                <a:lnTo>
                  <a:pt x="156" y="30"/>
                </a:lnTo>
                <a:lnTo>
                  <a:pt x="156" y="36"/>
                </a:lnTo>
                <a:lnTo>
                  <a:pt x="162" y="36"/>
                </a:lnTo>
                <a:lnTo>
                  <a:pt x="162" y="42"/>
                </a:lnTo>
                <a:lnTo>
                  <a:pt x="168" y="42"/>
                </a:lnTo>
                <a:lnTo>
                  <a:pt x="168" y="48"/>
                </a:lnTo>
                <a:lnTo>
                  <a:pt x="168" y="54"/>
                </a:lnTo>
                <a:lnTo>
                  <a:pt x="168" y="60"/>
                </a:lnTo>
                <a:lnTo>
                  <a:pt x="162" y="60"/>
                </a:lnTo>
                <a:lnTo>
                  <a:pt x="162" y="54"/>
                </a:lnTo>
                <a:lnTo>
                  <a:pt x="162" y="60"/>
                </a:lnTo>
                <a:lnTo>
                  <a:pt x="162" y="54"/>
                </a:lnTo>
                <a:lnTo>
                  <a:pt x="156" y="54"/>
                </a:lnTo>
                <a:lnTo>
                  <a:pt x="162" y="54"/>
                </a:lnTo>
                <a:lnTo>
                  <a:pt x="156" y="54"/>
                </a:lnTo>
                <a:lnTo>
                  <a:pt x="156" y="60"/>
                </a:lnTo>
                <a:lnTo>
                  <a:pt x="150" y="60"/>
                </a:lnTo>
                <a:lnTo>
                  <a:pt x="144" y="60"/>
                </a:lnTo>
                <a:lnTo>
                  <a:pt x="138" y="60"/>
                </a:lnTo>
                <a:lnTo>
                  <a:pt x="132" y="60"/>
                </a:lnTo>
                <a:lnTo>
                  <a:pt x="132" y="66"/>
                </a:lnTo>
                <a:lnTo>
                  <a:pt x="126" y="66"/>
                </a:lnTo>
                <a:lnTo>
                  <a:pt x="120" y="72"/>
                </a:lnTo>
                <a:lnTo>
                  <a:pt x="120" y="66"/>
                </a:lnTo>
                <a:lnTo>
                  <a:pt x="114" y="66"/>
                </a:lnTo>
                <a:lnTo>
                  <a:pt x="114" y="72"/>
                </a:lnTo>
                <a:lnTo>
                  <a:pt x="108" y="72"/>
                </a:lnTo>
                <a:lnTo>
                  <a:pt x="108" y="78"/>
                </a:lnTo>
                <a:lnTo>
                  <a:pt x="108" y="84"/>
                </a:lnTo>
                <a:lnTo>
                  <a:pt x="102" y="90"/>
                </a:lnTo>
                <a:lnTo>
                  <a:pt x="102" y="96"/>
                </a:lnTo>
                <a:close/>
                <a:moveTo>
                  <a:pt x="24" y="84"/>
                </a:moveTo>
                <a:lnTo>
                  <a:pt x="36" y="84"/>
                </a:lnTo>
                <a:lnTo>
                  <a:pt x="36" y="96"/>
                </a:lnTo>
                <a:lnTo>
                  <a:pt x="24" y="96"/>
                </a:lnTo>
                <a:lnTo>
                  <a:pt x="24" y="84"/>
                </a:lnTo>
                <a:close/>
                <a:moveTo>
                  <a:pt x="30" y="48"/>
                </a:moveTo>
                <a:lnTo>
                  <a:pt x="42" y="48"/>
                </a:lnTo>
                <a:lnTo>
                  <a:pt x="42" y="54"/>
                </a:lnTo>
                <a:lnTo>
                  <a:pt x="30" y="54"/>
                </a:lnTo>
                <a:lnTo>
                  <a:pt x="30" y="48"/>
                </a:lnTo>
                <a:close/>
                <a:moveTo>
                  <a:pt x="36" y="66"/>
                </a:moveTo>
                <a:lnTo>
                  <a:pt x="42" y="66"/>
                </a:lnTo>
                <a:lnTo>
                  <a:pt x="42" y="72"/>
                </a:lnTo>
                <a:lnTo>
                  <a:pt x="36" y="72"/>
                </a:lnTo>
                <a:lnTo>
                  <a:pt x="36" y="66"/>
                </a:lnTo>
                <a:close/>
                <a:moveTo>
                  <a:pt x="18" y="66"/>
                </a:moveTo>
                <a:lnTo>
                  <a:pt x="24" y="66"/>
                </a:lnTo>
                <a:lnTo>
                  <a:pt x="24" y="72"/>
                </a:lnTo>
                <a:lnTo>
                  <a:pt x="18" y="72"/>
                </a:lnTo>
                <a:lnTo>
                  <a:pt x="18" y="66"/>
                </a:lnTo>
                <a:close/>
                <a:moveTo>
                  <a:pt x="54" y="78"/>
                </a:moveTo>
                <a:lnTo>
                  <a:pt x="60" y="78"/>
                </a:lnTo>
                <a:lnTo>
                  <a:pt x="60" y="90"/>
                </a:lnTo>
                <a:lnTo>
                  <a:pt x="54" y="90"/>
                </a:lnTo>
                <a:lnTo>
                  <a:pt x="54" y="78"/>
                </a:lnTo>
                <a:close/>
                <a:moveTo>
                  <a:pt x="42" y="84"/>
                </a:moveTo>
                <a:lnTo>
                  <a:pt x="48" y="84"/>
                </a:lnTo>
                <a:lnTo>
                  <a:pt x="48" y="96"/>
                </a:lnTo>
                <a:lnTo>
                  <a:pt x="42" y="96"/>
                </a:lnTo>
                <a:lnTo>
                  <a:pt x="42" y="84"/>
                </a:lnTo>
                <a:close/>
                <a:moveTo>
                  <a:pt x="18" y="42"/>
                </a:moveTo>
                <a:lnTo>
                  <a:pt x="30" y="42"/>
                </a:lnTo>
                <a:lnTo>
                  <a:pt x="30" y="48"/>
                </a:lnTo>
                <a:lnTo>
                  <a:pt x="18" y="48"/>
                </a:lnTo>
                <a:lnTo>
                  <a:pt x="18" y="42"/>
                </a:lnTo>
                <a:close/>
                <a:moveTo>
                  <a:pt x="24" y="78"/>
                </a:moveTo>
                <a:lnTo>
                  <a:pt x="30" y="78"/>
                </a:lnTo>
                <a:lnTo>
                  <a:pt x="30" y="84"/>
                </a:lnTo>
                <a:lnTo>
                  <a:pt x="24" y="84"/>
                </a:lnTo>
                <a:lnTo>
                  <a:pt x="24" y="78"/>
                </a:lnTo>
                <a:close/>
                <a:moveTo>
                  <a:pt x="60" y="60"/>
                </a:moveTo>
                <a:lnTo>
                  <a:pt x="72" y="60"/>
                </a:lnTo>
                <a:lnTo>
                  <a:pt x="72" y="66"/>
                </a:lnTo>
                <a:lnTo>
                  <a:pt x="60" y="66"/>
                </a:lnTo>
                <a:lnTo>
                  <a:pt x="60" y="60"/>
                </a:lnTo>
                <a:close/>
                <a:moveTo>
                  <a:pt x="36" y="84"/>
                </a:moveTo>
                <a:lnTo>
                  <a:pt x="42" y="84"/>
                </a:lnTo>
                <a:lnTo>
                  <a:pt x="42" y="96"/>
                </a:lnTo>
                <a:lnTo>
                  <a:pt x="36" y="96"/>
                </a:lnTo>
                <a:lnTo>
                  <a:pt x="36" y="84"/>
                </a:lnTo>
                <a:close/>
                <a:moveTo>
                  <a:pt x="24" y="66"/>
                </a:moveTo>
                <a:lnTo>
                  <a:pt x="30" y="66"/>
                </a:lnTo>
                <a:lnTo>
                  <a:pt x="30" y="72"/>
                </a:lnTo>
                <a:lnTo>
                  <a:pt x="24" y="72"/>
                </a:lnTo>
                <a:lnTo>
                  <a:pt x="24" y="66"/>
                </a:lnTo>
                <a:close/>
                <a:moveTo>
                  <a:pt x="42" y="78"/>
                </a:moveTo>
                <a:lnTo>
                  <a:pt x="48" y="78"/>
                </a:lnTo>
                <a:lnTo>
                  <a:pt x="48" y="84"/>
                </a:lnTo>
                <a:lnTo>
                  <a:pt x="42" y="84"/>
                </a:lnTo>
                <a:lnTo>
                  <a:pt x="42" y="78"/>
                </a:lnTo>
                <a:close/>
                <a:moveTo>
                  <a:pt x="78" y="96"/>
                </a:moveTo>
                <a:lnTo>
                  <a:pt x="84" y="96"/>
                </a:lnTo>
                <a:lnTo>
                  <a:pt x="78" y="96"/>
                </a:lnTo>
                <a:close/>
                <a:moveTo>
                  <a:pt x="30" y="78"/>
                </a:moveTo>
                <a:lnTo>
                  <a:pt x="36" y="78"/>
                </a:lnTo>
                <a:lnTo>
                  <a:pt x="30" y="78"/>
                </a:lnTo>
                <a:close/>
                <a:moveTo>
                  <a:pt x="42" y="60"/>
                </a:moveTo>
                <a:lnTo>
                  <a:pt x="48" y="60"/>
                </a:lnTo>
                <a:lnTo>
                  <a:pt x="48" y="66"/>
                </a:lnTo>
                <a:lnTo>
                  <a:pt x="42" y="66"/>
                </a:lnTo>
                <a:lnTo>
                  <a:pt x="42" y="60"/>
                </a:lnTo>
                <a:close/>
                <a:moveTo>
                  <a:pt x="54" y="66"/>
                </a:moveTo>
                <a:lnTo>
                  <a:pt x="60" y="66"/>
                </a:lnTo>
                <a:lnTo>
                  <a:pt x="60" y="72"/>
                </a:lnTo>
                <a:lnTo>
                  <a:pt x="54" y="72"/>
                </a:lnTo>
                <a:lnTo>
                  <a:pt x="54" y="66"/>
                </a:lnTo>
                <a:close/>
                <a:moveTo>
                  <a:pt x="30" y="72"/>
                </a:moveTo>
                <a:lnTo>
                  <a:pt x="36" y="72"/>
                </a:lnTo>
                <a:lnTo>
                  <a:pt x="36" y="78"/>
                </a:lnTo>
                <a:lnTo>
                  <a:pt x="30" y="78"/>
                </a:lnTo>
                <a:lnTo>
                  <a:pt x="30" y="72"/>
                </a:lnTo>
                <a:close/>
                <a:moveTo>
                  <a:pt x="48" y="78"/>
                </a:moveTo>
                <a:lnTo>
                  <a:pt x="54" y="78"/>
                </a:lnTo>
                <a:lnTo>
                  <a:pt x="48" y="78"/>
                </a:lnTo>
                <a:close/>
                <a:moveTo>
                  <a:pt x="36" y="66"/>
                </a:moveTo>
                <a:lnTo>
                  <a:pt x="42" y="66"/>
                </a:lnTo>
                <a:lnTo>
                  <a:pt x="36" y="66"/>
                </a:lnTo>
                <a:close/>
                <a:moveTo>
                  <a:pt x="12" y="78"/>
                </a:moveTo>
                <a:lnTo>
                  <a:pt x="18" y="78"/>
                </a:lnTo>
                <a:lnTo>
                  <a:pt x="18" y="84"/>
                </a:lnTo>
                <a:lnTo>
                  <a:pt x="12" y="84"/>
                </a:lnTo>
                <a:lnTo>
                  <a:pt x="12" y="78"/>
                </a:lnTo>
                <a:close/>
                <a:moveTo>
                  <a:pt x="36" y="48"/>
                </a:moveTo>
                <a:lnTo>
                  <a:pt x="42" y="48"/>
                </a:lnTo>
                <a:lnTo>
                  <a:pt x="42" y="54"/>
                </a:lnTo>
                <a:lnTo>
                  <a:pt x="36" y="54"/>
                </a:lnTo>
                <a:lnTo>
                  <a:pt x="36" y="48"/>
                </a:lnTo>
                <a:close/>
                <a:moveTo>
                  <a:pt x="18" y="78"/>
                </a:moveTo>
                <a:lnTo>
                  <a:pt x="18" y="84"/>
                </a:lnTo>
                <a:lnTo>
                  <a:pt x="19" y="84"/>
                </a:lnTo>
                <a:lnTo>
                  <a:pt x="18" y="78"/>
                </a:lnTo>
                <a:close/>
                <a:moveTo>
                  <a:pt x="60" y="96"/>
                </a:moveTo>
                <a:lnTo>
                  <a:pt x="60" y="102"/>
                </a:lnTo>
                <a:lnTo>
                  <a:pt x="61" y="102"/>
                </a:lnTo>
                <a:lnTo>
                  <a:pt x="60" y="96"/>
                </a:lnTo>
                <a:close/>
                <a:moveTo>
                  <a:pt x="36" y="48"/>
                </a:moveTo>
                <a:lnTo>
                  <a:pt x="42" y="48"/>
                </a:lnTo>
                <a:lnTo>
                  <a:pt x="36" y="48"/>
                </a:lnTo>
                <a:close/>
                <a:moveTo>
                  <a:pt x="36" y="78"/>
                </a:moveTo>
                <a:lnTo>
                  <a:pt x="42" y="78"/>
                </a:lnTo>
                <a:lnTo>
                  <a:pt x="36" y="78"/>
                </a:lnTo>
                <a:close/>
                <a:moveTo>
                  <a:pt x="84" y="102"/>
                </a:moveTo>
                <a:lnTo>
                  <a:pt x="84" y="108"/>
                </a:lnTo>
                <a:lnTo>
                  <a:pt x="85" y="108"/>
                </a:lnTo>
                <a:lnTo>
                  <a:pt x="84" y="10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19" name="Freeform 9">
            <a:extLst>
              <a:ext uri="{FF2B5EF4-FFF2-40B4-BE49-F238E27FC236}">
                <a16:creationId xmlns:a16="http://schemas.microsoft.com/office/drawing/2014/main" id="{A9261826-3943-7A42-B17A-7FCE35C64BF1}"/>
              </a:ext>
            </a:extLst>
          </p:cNvPr>
          <p:cNvSpPr>
            <a:spLocks/>
          </p:cNvSpPr>
          <p:nvPr>
            <p:custDataLst>
              <p:tags r:id="rId8"/>
            </p:custDataLst>
          </p:nvPr>
        </p:nvSpPr>
        <p:spPr bwMode="gray">
          <a:xfrm>
            <a:off x="2470891" y="3868623"/>
            <a:ext cx="194369" cy="40862"/>
          </a:xfrm>
          <a:custGeom>
            <a:avLst/>
            <a:gdLst>
              <a:gd name="T0" fmla="*/ 0 w 168"/>
              <a:gd name="T1" fmla="*/ 17177 h 48"/>
              <a:gd name="T2" fmla="*/ 0 w 168"/>
              <a:gd name="T3" fmla="*/ 12406 h 48"/>
              <a:gd name="T4" fmla="*/ 1954 w 168"/>
              <a:gd name="T5" fmla="*/ 8589 h 48"/>
              <a:gd name="T6" fmla="*/ 3908 w 168"/>
              <a:gd name="T7" fmla="*/ 10497 h 48"/>
              <a:gd name="T8" fmla="*/ 6840 w 168"/>
              <a:gd name="T9" fmla="*/ 12406 h 48"/>
              <a:gd name="T10" fmla="*/ 10748 w 168"/>
              <a:gd name="T11" fmla="*/ 10497 h 48"/>
              <a:gd name="T12" fmla="*/ 10748 w 168"/>
              <a:gd name="T13" fmla="*/ 10497 h 48"/>
              <a:gd name="T14" fmla="*/ 12702 w 168"/>
              <a:gd name="T15" fmla="*/ 8589 h 48"/>
              <a:gd name="T16" fmla="*/ 17587 w 168"/>
              <a:gd name="T17" fmla="*/ 8589 h 48"/>
              <a:gd name="T18" fmla="*/ 21495 w 168"/>
              <a:gd name="T19" fmla="*/ 8589 h 48"/>
              <a:gd name="T20" fmla="*/ 23449 w 168"/>
              <a:gd name="T21" fmla="*/ 6680 h 48"/>
              <a:gd name="T22" fmla="*/ 23449 w 168"/>
              <a:gd name="T23" fmla="*/ 6680 h 48"/>
              <a:gd name="T24" fmla="*/ 19541 w 168"/>
              <a:gd name="T25" fmla="*/ 8589 h 48"/>
              <a:gd name="T26" fmla="*/ 15633 w 168"/>
              <a:gd name="T27" fmla="*/ 8589 h 48"/>
              <a:gd name="T28" fmla="*/ 10748 w 168"/>
              <a:gd name="T29" fmla="*/ 8589 h 48"/>
              <a:gd name="T30" fmla="*/ 8794 w 168"/>
              <a:gd name="T31" fmla="*/ 10497 h 48"/>
              <a:gd name="T32" fmla="*/ 6840 w 168"/>
              <a:gd name="T33" fmla="*/ 8589 h 48"/>
              <a:gd name="T34" fmla="*/ 3908 w 168"/>
              <a:gd name="T35" fmla="*/ 6680 h 48"/>
              <a:gd name="T36" fmla="*/ 3908 w 168"/>
              <a:gd name="T37" fmla="*/ 6680 h 48"/>
              <a:gd name="T38" fmla="*/ 8794 w 168"/>
              <a:gd name="T39" fmla="*/ 6680 h 48"/>
              <a:gd name="T40" fmla="*/ 12702 w 168"/>
              <a:gd name="T41" fmla="*/ 6680 h 48"/>
              <a:gd name="T42" fmla="*/ 17587 w 168"/>
              <a:gd name="T43" fmla="*/ 6680 h 48"/>
              <a:gd name="T44" fmla="*/ 21495 w 168"/>
              <a:gd name="T45" fmla="*/ 6680 h 48"/>
              <a:gd name="T46" fmla="*/ 26380 w 168"/>
              <a:gd name="T47" fmla="*/ 6680 h 48"/>
              <a:gd name="T48" fmla="*/ 28334 w 168"/>
              <a:gd name="T49" fmla="*/ 3817 h 48"/>
              <a:gd name="T50" fmla="*/ 30289 w 168"/>
              <a:gd name="T51" fmla="*/ 1909 h 48"/>
              <a:gd name="T52" fmla="*/ 34197 w 168"/>
              <a:gd name="T53" fmla="*/ 1909 h 48"/>
              <a:gd name="T54" fmla="*/ 37127 w 168"/>
              <a:gd name="T55" fmla="*/ 1909 h 48"/>
              <a:gd name="T56" fmla="*/ 41036 w 168"/>
              <a:gd name="T57" fmla="*/ 1909 h 48"/>
              <a:gd name="T58" fmla="*/ 42990 w 168"/>
              <a:gd name="T59" fmla="*/ 3817 h 48"/>
              <a:gd name="T60" fmla="*/ 47875 w 168"/>
              <a:gd name="T61" fmla="*/ 3817 h 48"/>
              <a:gd name="T62" fmla="*/ 49829 w 168"/>
              <a:gd name="T63" fmla="*/ 8589 h 48"/>
              <a:gd name="T64" fmla="*/ 51783 w 168"/>
              <a:gd name="T65" fmla="*/ 6680 h 48"/>
              <a:gd name="T66" fmla="*/ 56668 w 168"/>
              <a:gd name="T67" fmla="*/ 6680 h 48"/>
              <a:gd name="T68" fmla="*/ 60576 w 168"/>
              <a:gd name="T69" fmla="*/ 6680 h 48"/>
              <a:gd name="T70" fmla="*/ 60576 w 168"/>
              <a:gd name="T71" fmla="*/ 10497 h 48"/>
              <a:gd name="T72" fmla="*/ 56668 w 168"/>
              <a:gd name="T73" fmla="*/ 10497 h 48"/>
              <a:gd name="T74" fmla="*/ 53737 w 168"/>
              <a:gd name="T75" fmla="*/ 12406 h 48"/>
              <a:gd name="T76" fmla="*/ 49829 w 168"/>
              <a:gd name="T77" fmla="*/ 12406 h 48"/>
              <a:gd name="T78" fmla="*/ 47875 w 168"/>
              <a:gd name="T79" fmla="*/ 10497 h 48"/>
              <a:gd name="T80" fmla="*/ 42990 w 168"/>
              <a:gd name="T81" fmla="*/ 10497 h 48"/>
              <a:gd name="T82" fmla="*/ 41036 w 168"/>
              <a:gd name="T83" fmla="*/ 8589 h 48"/>
              <a:gd name="T84" fmla="*/ 37127 w 168"/>
              <a:gd name="T85" fmla="*/ 8589 h 48"/>
              <a:gd name="T86" fmla="*/ 32243 w 168"/>
              <a:gd name="T87" fmla="*/ 6680 h 48"/>
              <a:gd name="T88" fmla="*/ 30289 w 168"/>
              <a:gd name="T89" fmla="*/ 10497 h 48"/>
              <a:gd name="T90" fmla="*/ 26380 w 168"/>
              <a:gd name="T91" fmla="*/ 10497 h 48"/>
              <a:gd name="T92" fmla="*/ 21495 w 168"/>
              <a:gd name="T93" fmla="*/ 10497 h 48"/>
              <a:gd name="T94" fmla="*/ 19541 w 168"/>
              <a:gd name="T95" fmla="*/ 12406 h 48"/>
              <a:gd name="T96" fmla="*/ 17587 w 168"/>
              <a:gd name="T97" fmla="*/ 14314 h 48"/>
              <a:gd name="T98" fmla="*/ 12702 w 168"/>
              <a:gd name="T99" fmla="*/ 14314 h 48"/>
              <a:gd name="T100" fmla="*/ 8794 w 168"/>
              <a:gd name="T101" fmla="*/ 14314 h 48"/>
              <a:gd name="T102" fmla="*/ 3908 w 168"/>
              <a:gd name="T103" fmla="*/ 14314 h 48"/>
              <a:gd name="T104" fmla="*/ 1954 w 168"/>
              <a:gd name="T105" fmla="*/ 17177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8" h="48">
                <a:moveTo>
                  <a:pt x="6" y="48"/>
                </a:moveTo>
                <a:lnTo>
                  <a:pt x="0" y="48"/>
                </a:lnTo>
                <a:lnTo>
                  <a:pt x="0" y="42"/>
                </a:lnTo>
                <a:lnTo>
                  <a:pt x="0" y="36"/>
                </a:lnTo>
                <a:lnTo>
                  <a:pt x="0" y="30"/>
                </a:lnTo>
                <a:lnTo>
                  <a:pt x="6" y="24"/>
                </a:lnTo>
                <a:lnTo>
                  <a:pt x="12" y="24"/>
                </a:lnTo>
                <a:lnTo>
                  <a:pt x="12" y="30"/>
                </a:lnTo>
                <a:lnTo>
                  <a:pt x="18" y="30"/>
                </a:lnTo>
                <a:lnTo>
                  <a:pt x="18" y="36"/>
                </a:lnTo>
                <a:lnTo>
                  <a:pt x="24" y="36"/>
                </a:lnTo>
                <a:lnTo>
                  <a:pt x="30" y="30"/>
                </a:lnTo>
                <a:lnTo>
                  <a:pt x="30" y="36"/>
                </a:lnTo>
                <a:lnTo>
                  <a:pt x="30" y="30"/>
                </a:lnTo>
                <a:lnTo>
                  <a:pt x="36" y="30"/>
                </a:lnTo>
                <a:lnTo>
                  <a:pt x="36" y="24"/>
                </a:lnTo>
                <a:lnTo>
                  <a:pt x="42" y="24"/>
                </a:lnTo>
                <a:lnTo>
                  <a:pt x="48" y="24"/>
                </a:lnTo>
                <a:lnTo>
                  <a:pt x="54" y="24"/>
                </a:lnTo>
                <a:lnTo>
                  <a:pt x="60" y="24"/>
                </a:lnTo>
                <a:lnTo>
                  <a:pt x="66" y="24"/>
                </a:lnTo>
                <a:lnTo>
                  <a:pt x="66" y="18"/>
                </a:lnTo>
                <a:lnTo>
                  <a:pt x="66" y="24"/>
                </a:lnTo>
                <a:lnTo>
                  <a:pt x="66" y="18"/>
                </a:lnTo>
                <a:lnTo>
                  <a:pt x="60" y="24"/>
                </a:lnTo>
                <a:lnTo>
                  <a:pt x="54" y="24"/>
                </a:lnTo>
                <a:lnTo>
                  <a:pt x="48" y="24"/>
                </a:lnTo>
                <a:lnTo>
                  <a:pt x="42" y="24"/>
                </a:lnTo>
                <a:lnTo>
                  <a:pt x="36" y="24"/>
                </a:lnTo>
                <a:lnTo>
                  <a:pt x="30" y="24"/>
                </a:lnTo>
                <a:lnTo>
                  <a:pt x="30" y="30"/>
                </a:lnTo>
                <a:lnTo>
                  <a:pt x="24" y="30"/>
                </a:lnTo>
                <a:lnTo>
                  <a:pt x="18" y="30"/>
                </a:lnTo>
                <a:lnTo>
                  <a:pt x="18" y="24"/>
                </a:lnTo>
                <a:lnTo>
                  <a:pt x="12" y="24"/>
                </a:lnTo>
                <a:lnTo>
                  <a:pt x="12" y="18"/>
                </a:lnTo>
                <a:lnTo>
                  <a:pt x="18" y="18"/>
                </a:lnTo>
                <a:lnTo>
                  <a:pt x="12" y="18"/>
                </a:lnTo>
                <a:lnTo>
                  <a:pt x="18" y="18"/>
                </a:lnTo>
                <a:lnTo>
                  <a:pt x="24" y="18"/>
                </a:lnTo>
                <a:lnTo>
                  <a:pt x="30" y="18"/>
                </a:lnTo>
                <a:lnTo>
                  <a:pt x="36" y="18"/>
                </a:lnTo>
                <a:lnTo>
                  <a:pt x="42" y="18"/>
                </a:lnTo>
                <a:lnTo>
                  <a:pt x="48" y="18"/>
                </a:lnTo>
                <a:lnTo>
                  <a:pt x="54" y="18"/>
                </a:lnTo>
                <a:lnTo>
                  <a:pt x="60" y="18"/>
                </a:lnTo>
                <a:lnTo>
                  <a:pt x="66" y="18"/>
                </a:lnTo>
                <a:lnTo>
                  <a:pt x="72" y="18"/>
                </a:lnTo>
                <a:lnTo>
                  <a:pt x="72" y="12"/>
                </a:lnTo>
                <a:lnTo>
                  <a:pt x="78" y="12"/>
                </a:lnTo>
                <a:lnTo>
                  <a:pt x="78" y="6"/>
                </a:lnTo>
                <a:lnTo>
                  <a:pt x="84" y="6"/>
                </a:lnTo>
                <a:lnTo>
                  <a:pt x="90" y="6"/>
                </a:lnTo>
                <a:lnTo>
                  <a:pt x="96" y="6"/>
                </a:lnTo>
                <a:lnTo>
                  <a:pt x="96" y="0"/>
                </a:lnTo>
                <a:lnTo>
                  <a:pt x="102" y="6"/>
                </a:lnTo>
                <a:lnTo>
                  <a:pt x="108" y="6"/>
                </a:lnTo>
                <a:lnTo>
                  <a:pt x="114" y="6"/>
                </a:lnTo>
                <a:lnTo>
                  <a:pt x="114" y="12"/>
                </a:lnTo>
                <a:lnTo>
                  <a:pt x="120" y="12"/>
                </a:lnTo>
                <a:lnTo>
                  <a:pt x="126" y="12"/>
                </a:lnTo>
                <a:lnTo>
                  <a:pt x="132" y="12"/>
                </a:lnTo>
                <a:lnTo>
                  <a:pt x="132" y="18"/>
                </a:lnTo>
                <a:lnTo>
                  <a:pt x="138" y="24"/>
                </a:lnTo>
                <a:lnTo>
                  <a:pt x="144" y="24"/>
                </a:lnTo>
                <a:lnTo>
                  <a:pt x="144" y="18"/>
                </a:lnTo>
                <a:lnTo>
                  <a:pt x="150" y="18"/>
                </a:lnTo>
                <a:lnTo>
                  <a:pt x="156" y="18"/>
                </a:lnTo>
                <a:lnTo>
                  <a:pt x="162" y="18"/>
                </a:lnTo>
                <a:lnTo>
                  <a:pt x="168" y="18"/>
                </a:lnTo>
                <a:lnTo>
                  <a:pt x="168" y="24"/>
                </a:lnTo>
                <a:lnTo>
                  <a:pt x="168" y="30"/>
                </a:lnTo>
                <a:lnTo>
                  <a:pt x="162" y="30"/>
                </a:lnTo>
                <a:lnTo>
                  <a:pt x="156" y="30"/>
                </a:lnTo>
                <a:lnTo>
                  <a:pt x="156" y="36"/>
                </a:lnTo>
                <a:lnTo>
                  <a:pt x="150" y="36"/>
                </a:lnTo>
                <a:lnTo>
                  <a:pt x="144" y="36"/>
                </a:lnTo>
                <a:lnTo>
                  <a:pt x="138" y="36"/>
                </a:lnTo>
                <a:lnTo>
                  <a:pt x="132" y="36"/>
                </a:lnTo>
                <a:lnTo>
                  <a:pt x="132" y="30"/>
                </a:lnTo>
                <a:lnTo>
                  <a:pt x="126" y="30"/>
                </a:lnTo>
                <a:lnTo>
                  <a:pt x="120" y="30"/>
                </a:lnTo>
                <a:lnTo>
                  <a:pt x="114" y="30"/>
                </a:lnTo>
                <a:lnTo>
                  <a:pt x="114" y="24"/>
                </a:lnTo>
                <a:lnTo>
                  <a:pt x="108" y="24"/>
                </a:lnTo>
                <a:lnTo>
                  <a:pt x="102" y="24"/>
                </a:lnTo>
                <a:lnTo>
                  <a:pt x="96" y="18"/>
                </a:lnTo>
                <a:lnTo>
                  <a:pt x="90" y="18"/>
                </a:lnTo>
                <a:lnTo>
                  <a:pt x="90" y="24"/>
                </a:lnTo>
                <a:lnTo>
                  <a:pt x="84" y="30"/>
                </a:lnTo>
                <a:lnTo>
                  <a:pt x="78" y="30"/>
                </a:lnTo>
                <a:lnTo>
                  <a:pt x="72" y="30"/>
                </a:lnTo>
                <a:lnTo>
                  <a:pt x="66" y="30"/>
                </a:lnTo>
                <a:lnTo>
                  <a:pt x="60" y="30"/>
                </a:lnTo>
                <a:lnTo>
                  <a:pt x="54" y="30"/>
                </a:lnTo>
                <a:lnTo>
                  <a:pt x="54" y="36"/>
                </a:lnTo>
                <a:lnTo>
                  <a:pt x="54" y="42"/>
                </a:lnTo>
                <a:lnTo>
                  <a:pt x="48" y="42"/>
                </a:lnTo>
                <a:lnTo>
                  <a:pt x="42" y="42"/>
                </a:lnTo>
                <a:lnTo>
                  <a:pt x="36" y="42"/>
                </a:lnTo>
                <a:lnTo>
                  <a:pt x="30" y="42"/>
                </a:lnTo>
                <a:lnTo>
                  <a:pt x="24" y="42"/>
                </a:lnTo>
                <a:lnTo>
                  <a:pt x="18" y="42"/>
                </a:lnTo>
                <a:lnTo>
                  <a:pt x="12" y="42"/>
                </a:lnTo>
                <a:lnTo>
                  <a:pt x="6" y="42"/>
                </a:lnTo>
                <a:lnTo>
                  <a:pt x="6" y="48"/>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0" name="Freeform 10">
            <a:extLst>
              <a:ext uri="{FF2B5EF4-FFF2-40B4-BE49-F238E27FC236}">
                <a16:creationId xmlns:a16="http://schemas.microsoft.com/office/drawing/2014/main" id="{D3C884D5-29AB-F648-A90C-9ED1B634F41D}"/>
              </a:ext>
            </a:extLst>
          </p:cNvPr>
          <p:cNvSpPr>
            <a:spLocks noEditPoints="1"/>
          </p:cNvSpPr>
          <p:nvPr>
            <p:custDataLst>
              <p:tags r:id="rId9"/>
            </p:custDataLst>
          </p:nvPr>
        </p:nvSpPr>
        <p:spPr bwMode="gray">
          <a:xfrm>
            <a:off x="2423771" y="3728356"/>
            <a:ext cx="400519" cy="218666"/>
          </a:xfrm>
          <a:custGeom>
            <a:avLst/>
            <a:gdLst>
              <a:gd name="T0" fmla="*/ 66972 w 348"/>
              <a:gd name="T1" fmla="*/ 82109 h 252"/>
              <a:gd name="T2" fmla="*/ 51442 w 348"/>
              <a:gd name="T3" fmla="*/ 82109 h 252"/>
              <a:gd name="T4" fmla="*/ 40766 w 348"/>
              <a:gd name="T5" fmla="*/ 86996 h 252"/>
              <a:gd name="T6" fmla="*/ 30089 w 348"/>
              <a:gd name="T7" fmla="*/ 86996 h 252"/>
              <a:gd name="T8" fmla="*/ 17471 w 348"/>
              <a:gd name="T9" fmla="*/ 87973 h 252"/>
              <a:gd name="T10" fmla="*/ 17471 w 348"/>
              <a:gd name="T11" fmla="*/ 84064 h 252"/>
              <a:gd name="T12" fmla="*/ 21354 w 348"/>
              <a:gd name="T13" fmla="*/ 84064 h 252"/>
              <a:gd name="T14" fmla="*/ 14559 w 348"/>
              <a:gd name="T15" fmla="*/ 80154 h 252"/>
              <a:gd name="T16" fmla="*/ 21354 w 348"/>
              <a:gd name="T17" fmla="*/ 73311 h 252"/>
              <a:gd name="T18" fmla="*/ 33972 w 348"/>
              <a:gd name="T19" fmla="*/ 73311 h 252"/>
              <a:gd name="T20" fmla="*/ 42707 w 348"/>
              <a:gd name="T21" fmla="*/ 69401 h 252"/>
              <a:gd name="T22" fmla="*/ 53384 w 348"/>
              <a:gd name="T23" fmla="*/ 67447 h 252"/>
              <a:gd name="T24" fmla="*/ 62119 w 348"/>
              <a:gd name="T25" fmla="*/ 71356 h 252"/>
              <a:gd name="T26" fmla="*/ 72796 w 348"/>
              <a:gd name="T27" fmla="*/ 69401 h 252"/>
              <a:gd name="T28" fmla="*/ 67943 w 348"/>
              <a:gd name="T29" fmla="*/ 64513 h 252"/>
              <a:gd name="T30" fmla="*/ 60178 w 348"/>
              <a:gd name="T31" fmla="*/ 62559 h 252"/>
              <a:gd name="T32" fmla="*/ 49502 w 348"/>
              <a:gd name="T33" fmla="*/ 58649 h 252"/>
              <a:gd name="T34" fmla="*/ 40766 w 348"/>
              <a:gd name="T35" fmla="*/ 62559 h 252"/>
              <a:gd name="T36" fmla="*/ 30089 w 348"/>
              <a:gd name="T37" fmla="*/ 64513 h 252"/>
              <a:gd name="T38" fmla="*/ 19412 w 348"/>
              <a:gd name="T39" fmla="*/ 62559 h 252"/>
              <a:gd name="T40" fmla="*/ 19412 w 348"/>
              <a:gd name="T41" fmla="*/ 58649 h 252"/>
              <a:gd name="T42" fmla="*/ 14559 w 348"/>
              <a:gd name="T43" fmla="*/ 58649 h 252"/>
              <a:gd name="T44" fmla="*/ 12618 w 348"/>
              <a:gd name="T45" fmla="*/ 51807 h 252"/>
              <a:gd name="T46" fmla="*/ 8735 w 348"/>
              <a:gd name="T47" fmla="*/ 43009 h 252"/>
              <a:gd name="T48" fmla="*/ 1942 w 348"/>
              <a:gd name="T49" fmla="*/ 39100 h 252"/>
              <a:gd name="T50" fmla="*/ 10677 w 348"/>
              <a:gd name="T51" fmla="*/ 34212 h 252"/>
              <a:gd name="T52" fmla="*/ 14559 w 348"/>
              <a:gd name="T53" fmla="*/ 26392 h 252"/>
              <a:gd name="T54" fmla="*/ 21354 w 348"/>
              <a:gd name="T55" fmla="*/ 17595 h 252"/>
              <a:gd name="T56" fmla="*/ 23295 w 348"/>
              <a:gd name="T57" fmla="*/ 8798 h 252"/>
              <a:gd name="T58" fmla="*/ 27177 w 348"/>
              <a:gd name="T59" fmla="*/ 1955 h 252"/>
              <a:gd name="T60" fmla="*/ 36883 w 348"/>
              <a:gd name="T61" fmla="*/ 3910 h 252"/>
              <a:gd name="T62" fmla="*/ 42707 w 348"/>
              <a:gd name="T63" fmla="*/ 1955 h 252"/>
              <a:gd name="T64" fmla="*/ 53384 w 348"/>
              <a:gd name="T65" fmla="*/ 0 h 252"/>
              <a:gd name="T66" fmla="*/ 64061 w 348"/>
              <a:gd name="T67" fmla="*/ 1955 h 252"/>
              <a:gd name="T68" fmla="*/ 72796 w 348"/>
              <a:gd name="T69" fmla="*/ 8798 h 252"/>
              <a:gd name="T70" fmla="*/ 76678 w 348"/>
              <a:gd name="T71" fmla="*/ 12707 h 252"/>
              <a:gd name="T72" fmla="*/ 81532 w 348"/>
              <a:gd name="T73" fmla="*/ 12707 h 252"/>
              <a:gd name="T74" fmla="*/ 86385 w 348"/>
              <a:gd name="T75" fmla="*/ 21504 h 252"/>
              <a:gd name="T76" fmla="*/ 90267 w 348"/>
              <a:gd name="T77" fmla="*/ 23460 h 252"/>
              <a:gd name="T78" fmla="*/ 92209 w 348"/>
              <a:gd name="T79" fmla="*/ 30302 h 252"/>
              <a:gd name="T80" fmla="*/ 100944 w 348"/>
              <a:gd name="T81" fmla="*/ 34212 h 252"/>
              <a:gd name="T82" fmla="*/ 106768 w 348"/>
              <a:gd name="T83" fmla="*/ 41054 h 252"/>
              <a:gd name="T84" fmla="*/ 111621 w 348"/>
              <a:gd name="T85" fmla="*/ 49851 h 252"/>
              <a:gd name="T86" fmla="*/ 109679 w 348"/>
              <a:gd name="T87" fmla="*/ 60604 h 252"/>
              <a:gd name="T88" fmla="*/ 115503 w 348"/>
              <a:gd name="T89" fmla="*/ 67447 h 252"/>
              <a:gd name="T90" fmla="*/ 122298 w 348"/>
              <a:gd name="T91" fmla="*/ 73311 h 252"/>
              <a:gd name="T92" fmla="*/ 122298 w 348"/>
              <a:gd name="T93" fmla="*/ 78198 h 252"/>
              <a:gd name="T94" fmla="*/ 122298 w 348"/>
              <a:gd name="T95" fmla="*/ 86996 h 252"/>
              <a:gd name="T96" fmla="*/ 120356 w 348"/>
              <a:gd name="T97" fmla="*/ 87973 h 252"/>
              <a:gd name="T98" fmla="*/ 106768 w 348"/>
              <a:gd name="T99" fmla="*/ 87973 h 252"/>
              <a:gd name="T100" fmla="*/ 96091 w 348"/>
              <a:gd name="T101" fmla="*/ 87973 h 252"/>
              <a:gd name="T102" fmla="*/ 87355 w 348"/>
              <a:gd name="T103" fmla="*/ 84064 h 252"/>
              <a:gd name="T104" fmla="*/ 76678 w 348"/>
              <a:gd name="T105" fmla="*/ 82109 h 252"/>
              <a:gd name="T106" fmla="*/ 17471 w 348"/>
              <a:gd name="T107" fmla="*/ 62559 h 252"/>
              <a:gd name="T108" fmla="*/ 17471 w 348"/>
              <a:gd name="T109" fmla="*/ 56694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8" h="252">
                <a:moveTo>
                  <a:pt x="216" y="228"/>
                </a:moveTo>
                <a:lnTo>
                  <a:pt x="210" y="228"/>
                </a:lnTo>
                <a:lnTo>
                  <a:pt x="204" y="228"/>
                </a:lnTo>
                <a:lnTo>
                  <a:pt x="198" y="228"/>
                </a:lnTo>
                <a:lnTo>
                  <a:pt x="192" y="228"/>
                </a:lnTo>
                <a:lnTo>
                  <a:pt x="186" y="228"/>
                </a:lnTo>
                <a:lnTo>
                  <a:pt x="180" y="228"/>
                </a:lnTo>
                <a:lnTo>
                  <a:pt x="168" y="228"/>
                </a:lnTo>
                <a:lnTo>
                  <a:pt x="162" y="228"/>
                </a:lnTo>
                <a:lnTo>
                  <a:pt x="156" y="228"/>
                </a:lnTo>
                <a:lnTo>
                  <a:pt x="150" y="228"/>
                </a:lnTo>
                <a:lnTo>
                  <a:pt x="144" y="228"/>
                </a:lnTo>
                <a:lnTo>
                  <a:pt x="138" y="228"/>
                </a:lnTo>
                <a:lnTo>
                  <a:pt x="132" y="228"/>
                </a:lnTo>
                <a:lnTo>
                  <a:pt x="126" y="234"/>
                </a:lnTo>
                <a:lnTo>
                  <a:pt x="120" y="234"/>
                </a:lnTo>
                <a:lnTo>
                  <a:pt x="120" y="240"/>
                </a:lnTo>
                <a:lnTo>
                  <a:pt x="114" y="240"/>
                </a:lnTo>
                <a:lnTo>
                  <a:pt x="108" y="240"/>
                </a:lnTo>
                <a:lnTo>
                  <a:pt x="108" y="246"/>
                </a:lnTo>
                <a:lnTo>
                  <a:pt x="102" y="246"/>
                </a:lnTo>
                <a:lnTo>
                  <a:pt x="96" y="246"/>
                </a:lnTo>
                <a:lnTo>
                  <a:pt x="90" y="246"/>
                </a:lnTo>
                <a:lnTo>
                  <a:pt x="84" y="240"/>
                </a:lnTo>
                <a:lnTo>
                  <a:pt x="78" y="240"/>
                </a:lnTo>
                <a:lnTo>
                  <a:pt x="72" y="246"/>
                </a:lnTo>
                <a:lnTo>
                  <a:pt x="66" y="246"/>
                </a:lnTo>
                <a:lnTo>
                  <a:pt x="60" y="246"/>
                </a:lnTo>
                <a:lnTo>
                  <a:pt x="54" y="246"/>
                </a:lnTo>
                <a:lnTo>
                  <a:pt x="48" y="246"/>
                </a:lnTo>
                <a:lnTo>
                  <a:pt x="48" y="252"/>
                </a:lnTo>
                <a:lnTo>
                  <a:pt x="48" y="246"/>
                </a:lnTo>
                <a:lnTo>
                  <a:pt x="42" y="246"/>
                </a:lnTo>
                <a:lnTo>
                  <a:pt x="42" y="240"/>
                </a:lnTo>
                <a:lnTo>
                  <a:pt x="48" y="240"/>
                </a:lnTo>
                <a:lnTo>
                  <a:pt x="48" y="234"/>
                </a:lnTo>
                <a:lnTo>
                  <a:pt x="48" y="240"/>
                </a:lnTo>
                <a:lnTo>
                  <a:pt x="48" y="234"/>
                </a:lnTo>
                <a:lnTo>
                  <a:pt x="54" y="234"/>
                </a:lnTo>
                <a:lnTo>
                  <a:pt x="60" y="234"/>
                </a:lnTo>
                <a:lnTo>
                  <a:pt x="66" y="234"/>
                </a:lnTo>
                <a:lnTo>
                  <a:pt x="60" y="234"/>
                </a:lnTo>
                <a:lnTo>
                  <a:pt x="54" y="228"/>
                </a:lnTo>
                <a:lnTo>
                  <a:pt x="54" y="234"/>
                </a:lnTo>
                <a:lnTo>
                  <a:pt x="48" y="234"/>
                </a:lnTo>
                <a:lnTo>
                  <a:pt x="42" y="234"/>
                </a:lnTo>
                <a:lnTo>
                  <a:pt x="42" y="228"/>
                </a:lnTo>
                <a:lnTo>
                  <a:pt x="42" y="222"/>
                </a:lnTo>
                <a:lnTo>
                  <a:pt x="42" y="216"/>
                </a:lnTo>
                <a:lnTo>
                  <a:pt x="48" y="216"/>
                </a:lnTo>
                <a:lnTo>
                  <a:pt x="48" y="210"/>
                </a:lnTo>
                <a:lnTo>
                  <a:pt x="48" y="204"/>
                </a:lnTo>
                <a:lnTo>
                  <a:pt x="54" y="204"/>
                </a:lnTo>
                <a:lnTo>
                  <a:pt x="60" y="204"/>
                </a:lnTo>
                <a:lnTo>
                  <a:pt x="66" y="204"/>
                </a:lnTo>
                <a:lnTo>
                  <a:pt x="72" y="204"/>
                </a:lnTo>
                <a:lnTo>
                  <a:pt x="78" y="204"/>
                </a:lnTo>
                <a:lnTo>
                  <a:pt x="84" y="204"/>
                </a:lnTo>
                <a:lnTo>
                  <a:pt x="90" y="204"/>
                </a:lnTo>
                <a:lnTo>
                  <a:pt x="96" y="204"/>
                </a:lnTo>
                <a:lnTo>
                  <a:pt x="96" y="198"/>
                </a:lnTo>
                <a:lnTo>
                  <a:pt x="96" y="192"/>
                </a:lnTo>
                <a:lnTo>
                  <a:pt x="102" y="192"/>
                </a:lnTo>
                <a:lnTo>
                  <a:pt x="108" y="192"/>
                </a:lnTo>
                <a:lnTo>
                  <a:pt x="114" y="192"/>
                </a:lnTo>
                <a:lnTo>
                  <a:pt x="120" y="192"/>
                </a:lnTo>
                <a:lnTo>
                  <a:pt x="126" y="192"/>
                </a:lnTo>
                <a:lnTo>
                  <a:pt x="132" y="186"/>
                </a:lnTo>
                <a:lnTo>
                  <a:pt x="132" y="180"/>
                </a:lnTo>
                <a:lnTo>
                  <a:pt x="138" y="180"/>
                </a:lnTo>
                <a:lnTo>
                  <a:pt x="144" y="186"/>
                </a:lnTo>
                <a:lnTo>
                  <a:pt x="150" y="186"/>
                </a:lnTo>
                <a:lnTo>
                  <a:pt x="156" y="186"/>
                </a:lnTo>
                <a:lnTo>
                  <a:pt x="156" y="192"/>
                </a:lnTo>
                <a:lnTo>
                  <a:pt x="162" y="192"/>
                </a:lnTo>
                <a:lnTo>
                  <a:pt x="168" y="192"/>
                </a:lnTo>
                <a:lnTo>
                  <a:pt x="174" y="192"/>
                </a:lnTo>
                <a:lnTo>
                  <a:pt x="174" y="198"/>
                </a:lnTo>
                <a:lnTo>
                  <a:pt x="180" y="198"/>
                </a:lnTo>
                <a:lnTo>
                  <a:pt x="186" y="198"/>
                </a:lnTo>
                <a:lnTo>
                  <a:pt x="192" y="198"/>
                </a:lnTo>
                <a:lnTo>
                  <a:pt x="198" y="198"/>
                </a:lnTo>
                <a:lnTo>
                  <a:pt x="198" y="192"/>
                </a:lnTo>
                <a:lnTo>
                  <a:pt x="204" y="192"/>
                </a:lnTo>
                <a:lnTo>
                  <a:pt x="210" y="192"/>
                </a:lnTo>
                <a:lnTo>
                  <a:pt x="210" y="186"/>
                </a:lnTo>
                <a:lnTo>
                  <a:pt x="210" y="180"/>
                </a:lnTo>
                <a:lnTo>
                  <a:pt x="204" y="180"/>
                </a:lnTo>
                <a:lnTo>
                  <a:pt x="198" y="180"/>
                </a:lnTo>
                <a:lnTo>
                  <a:pt x="192" y="180"/>
                </a:lnTo>
                <a:lnTo>
                  <a:pt x="186" y="180"/>
                </a:lnTo>
                <a:lnTo>
                  <a:pt x="186" y="186"/>
                </a:lnTo>
                <a:lnTo>
                  <a:pt x="180" y="186"/>
                </a:lnTo>
                <a:lnTo>
                  <a:pt x="174" y="180"/>
                </a:lnTo>
                <a:lnTo>
                  <a:pt x="174" y="174"/>
                </a:lnTo>
                <a:lnTo>
                  <a:pt x="168" y="174"/>
                </a:lnTo>
                <a:lnTo>
                  <a:pt x="162" y="174"/>
                </a:lnTo>
                <a:lnTo>
                  <a:pt x="156" y="174"/>
                </a:lnTo>
                <a:lnTo>
                  <a:pt x="156" y="168"/>
                </a:lnTo>
                <a:lnTo>
                  <a:pt x="150" y="168"/>
                </a:lnTo>
                <a:lnTo>
                  <a:pt x="144" y="168"/>
                </a:lnTo>
                <a:lnTo>
                  <a:pt x="138" y="162"/>
                </a:lnTo>
                <a:lnTo>
                  <a:pt x="138" y="168"/>
                </a:lnTo>
                <a:lnTo>
                  <a:pt x="132" y="168"/>
                </a:lnTo>
                <a:lnTo>
                  <a:pt x="126" y="168"/>
                </a:lnTo>
                <a:lnTo>
                  <a:pt x="120" y="168"/>
                </a:lnTo>
                <a:lnTo>
                  <a:pt x="120" y="174"/>
                </a:lnTo>
                <a:lnTo>
                  <a:pt x="114" y="174"/>
                </a:lnTo>
                <a:lnTo>
                  <a:pt x="114" y="180"/>
                </a:lnTo>
                <a:lnTo>
                  <a:pt x="108" y="180"/>
                </a:lnTo>
                <a:lnTo>
                  <a:pt x="102" y="180"/>
                </a:lnTo>
                <a:lnTo>
                  <a:pt x="96" y="180"/>
                </a:lnTo>
                <a:lnTo>
                  <a:pt x="90" y="180"/>
                </a:lnTo>
                <a:lnTo>
                  <a:pt x="84" y="180"/>
                </a:lnTo>
                <a:lnTo>
                  <a:pt x="78" y="180"/>
                </a:lnTo>
                <a:lnTo>
                  <a:pt x="72" y="180"/>
                </a:lnTo>
                <a:lnTo>
                  <a:pt x="66" y="180"/>
                </a:lnTo>
                <a:lnTo>
                  <a:pt x="60" y="180"/>
                </a:lnTo>
                <a:lnTo>
                  <a:pt x="54" y="180"/>
                </a:lnTo>
                <a:lnTo>
                  <a:pt x="54" y="174"/>
                </a:lnTo>
                <a:lnTo>
                  <a:pt x="54" y="168"/>
                </a:lnTo>
                <a:lnTo>
                  <a:pt x="54" y="162"/>
                </a:lnTo>
                <a:lnTo>
                  <a:pt x="60" y="162"/>
                </a:lnTo>
                <a:lnTo>
                  <a:pt x="54" y="162"/>
                </a:lnTo>
                <a:lnTo>
                  <a:pt x="60" y="162"/>
                </a:lnTo>
                <a:lnTo>
                  <a:pt x="54" y="162"/>
                </a:lnTo>
                <a:lnTo>
                  <a:pt x="48" y="162"/>
                </a:lnTo>
                <a:lnTo>
                  <a:pt x="48" y="168"/>
                </a:lnTo>
                <a:lnTo>
                  <a:pt x="48" y="162"/>
                </a:lnTo>
                <a:lnTo>
                  <a:pt x="48" y="156"/>
                </a:lnTo>
                <a:lnTo>
                  <a:pt x="42" y="156"/>
                </a:lnTo>
                <a:lnTo>
                  <a:pt x="42" y="162"/>
                </a:lnTo>
                <a:lnTo>
                  <a:pt x="48" y="162"/>
                </a:lnTo>
                <a:lnTo>
                  <a:pt x="42" y="162"/>
                </a:lnTo>
                <a:lnTo>
                  <a:pt x="42" y="156"/>
                </a:lnTo>
                <a:lnTo>
                  <a:pt x="42" y="150"/>
                </a:lnTo>
                <a:lnTo>
                  <a:pt x="42" y="144"/>
                </a:lnTo>
                <a:lnTo>
                  <a:pt x="36" y="144"/>
                </a:lnTo>
                <a:lnTo>
                  <a:pt x="36" y="138"/>
                </a:lnTo>
                <a:lnTo>
                  <a:pt x="36" y="132"/>
                </a:lnTo>
                <a:lnTo>
                  <a:pt x="30" y="132"/>
                </a:lnTo>
                <a:lnTo>
                  <a:pt x="30" y="126"/>
                </a:lnTo>
                <a:lnTo>
                  <a:pt x="24" y="126"/>
                </a:lnTo>
                <a:lnTo>
                  <a:pt x="24" y="120"/>
                </a:lnTo>
                <a:lnTo>
                  <a:pt x="18" y="114"/>
                </a:lnTo>
                <a:lnTo>
                  <a:pt x="12" y="114"/>
                </a:lnTo>
                <a:lnTo>
                  <a:pt x="6" y="114"/>
                </a:lnTo>
                <a:lnTo>
                  <a:pt x="0" y="114"/>
                </a:lnTo>
                <a:lnTo>
                  <a:pt x="6" y="114"/>
                </a:lnTo>
                <a:lnTo>
                  <a:pt x="6" y="108"/>
                </a:lnTo>
                <a:lnTo>
                  <a:pt x="12" y="108"/>
                </a:lnTo>
                <a:lnTo>
                  <a:pt x="18" y="108"/>
                </a:lnTo>
                <a:lnTo>
                  <a:pt x="18" y="102"/>
                </a:lnTo>
                <a:lnTo>
                  <a:pt x="24" y="102"/>
                </a:lnTo>
                <a:lnTo>
                  <a:pt x="24" y="96"/>
                </a:lnTo>
                <a:lnTo>
                  <a:pt x="30" y="96"/>
                </a:lnTo>
                <a:lnTo>
                  <a:pt x="30" y="90"/>
                </a:lnTo>
                <a:lnTo>
                  <a:pt x="36" y="90"/>
                </a:lnTo>
                <a:lnTo>
                  <a:pt x="36" y="84"/>
                </a:lnTo>
                <a:lnTo>
                  <a:pt x="42" y="84"/>
                </a:lnTo>
                <a:lnTo>
                  <a:pt x="42" y="78"/>
                </a:lnTo>
                <a:lnTo>
                  <a:pt x="42" y="72"/>
                </a:lnTo>
                <a:lnTo>
                  <a:pt x="48" y="72"/>
                </a:lnTo>
                <a:lnTo>
                  <a:pt x="48" y="66"/>
                </a:lnTo>
                <a:lnTo>
                  <a:pt x="54" y="60"/>
                </a:lnTo>
                <a:lnTo>
                  <a:pt x="54" y="54"/>
                </a:lnTo>
                <a:lnTo>
                  <a:pt x="60" y="54"/>
                </a:lnTo>
                <a:lnTo>
                  <a:pt x="60" y="48"/>
                </a:lnTo>
                <a:lnTo>
                  <a:pt x="60" y="42"/>
                </a:lnTo>
                <a:lnTo>
                  <a:pt x="60" y="36"/>
                </a:lnTo>
                <a:lnTo>
                  <a:pt x="66" y="36"/>
                </a:lnTo>
                <a:lnTo>
                  <a:pt x="66" y="30"/>
                </a:lnTo>
                <a:lnTo>
                  <a:pt x="60" y="30"/>
                </a:lnTo>
                <a:lnTo>
                  <a:pt x="66" y="24"/>
                </a:lnTo>
                <a:lnTo>
                  <a:pt x="66" y="18"/>
                </a:lnTo>
                <a:lnTo>
                  <a:pt x="72" y="18"/>
                </a:lnTo>
                <a:lnTo>
                  <a:pt x="72" y="12"/>
                </a:lnTo>
                <a:lnTo>
                  <a:pt x="72" y="6"/>
                </a:lnTo>
                <a:lnTo>
                  <a:pt x="78" y="12"/>
                </a:lnTo>
                <a:lnTo>
                  <a:pt x="78" y="6"/>
                </a:lnTo>
                <a:lnTo>
                  <a:pt x="84" y="6"/>
                </a:lnTo>
                <a:lnTo>
                  <a:pt x="84" y="12"/>
                </a:lnTo>
                <a:lnTo>
                  <a:pt x="90" y="12"/>
                </a:lnTo>
                <a:lnTo>
                  <a:pt x="96" y="6"/>
                </a:lnTo>
                <a:lnTo>
                  <a:pt x="96" y="12"/>
                </a:lnTo>
                <a:lnTo>
                  <a:pt x="102" y="12"/>
                </a:lnTo>
                <a:lnTo>
                  <a:pt x="108" y="12"/>
                </a:lnTo>
                <a:lnTo>
                  <a:pt x="108" y="6"/>
                </a:lnTo>
                <a:lnTo>
                  <a:pt x="114" y="6"/>
                </a:lnTo>
                <a:lnTo>
                  <a:pt x="114" y="12"/>
                </a:lnTo>
                <a:lnTo>
                  <a:pt x="114" y="6"/>
                </a:lnTo>
                <a:lnTo>
                  <a:pt x="120" y="6"/>
                </a:lnTo>
                <a:lnTo>
                  <a:pt x="126" y="6"/>
                </a:lnTo>
                <a:lnTo>
                  <a:pt x="132" y="6"/>
                </a:lnTo>
                <a:lnTo>
                  <a:pt x="138" y="6"/>
                </a:lnTo>
                <a:lnTo>
                  <a:pt x="138" y="0"/>
                </a:lnTo>
                <a:lnTo>
                  <a:pt x="144" y="0"/>
                </a:lnTo>
                <a:lnTo>
                  <a:pt x="150" y="0"/>
                </a:lnTo>
                <a:lnTo>
                  <a:pt x="156" y="0"/>
                </a:lnTo>
                <a:lnTo>
                  <a:pt x="162" y="0"/>
                </a:lnTo>
                <a:lnTo>
                  <a:pt x="168" y="0"/>
                </a:lnTo>
                <a:lnTo>
                  <a:pt x="174" y="0"/>
                </a:lnTo>
                <a:lnTo>
                  <a:pt x="180" y="0"/>
                </a:lnTo>
                <a:lnTo>
                  <a:pt x="180" y="6"/>
                </a:lnTo>
                <a:lnTo>
                  <a:pt x="186" y="6"/>
                </a:lnTo>
                <a:lnTo>
                  <a:pt x="186" y="12"/>
                </a:lnTo>
                <a:lnTo>
                  <a:pt x="192" y="12"/>
                </a:lnTo>
                <a:lnTo>
                  <a:pt x="198" y="18"/>
                </a:lnTo>
                <a:lnTo>
                  <a:pt x="204" y="18"/>
                </a:lnTo>
                <a:lnTo>
                  <a:pt x="204" y="24"/>
                </a:lnTo>
                <a:lnTo>
                  <a:pt x="198" y="24"/>
                </a:lnTo>
                <a:lnTo>
                  <a:pt x="204" y="24"/>
                </a:lnTo>
                <a:lnTo>
                  <a:pt x="204" y="30"/>
                </a:lnTo>
                <a:lnTo>
                  <a:pt x="210" y="30"/>
                </a:lnTo>
                <a:lnTo>
                  <a:pt x="216" y="30"/>
                </a:lnTo>
                <a:lnTo>
                  <a:pt x="216" y="36"/>
                </a:lnTo>
                <a:lnTo>
                  <a:pt x="216" y="30"/>
                </a:lnTo>
                <a:lnTo>
                  <a:pt x="222" y="30"/>
                </a:lnTo>
                <a:lnTo>
                  <a:pt x="228" y="30"/>
                </a:lnTo>
                <a:lnTo>
                  <a:pt x="228" y="36"/>
                </a:lnTo>
                <a:lnTo>
                  <a:pt x="228" y="30"/>
                </a:lnTo>
                <a:lnTo>
                  <a:pt x="228" y="36"/>
                </a:lnTo>
                <a:lnTo>
                  <a:pt x="234" y="36"/>
                </a:lnTo>
                <a:lnTo>
                  <a:pt x="234" y="42"/>
                </a:lnTo>
                <a:lnTo>
                  <a:pt x="234" y="48"/>
                </a:lnTo>
                <a:lnTo>
                  <a:pt x="240" y="48"/>
                </a:lnTo>
                <a:lnTo>
                  <a:pt x="240" y="54"/>
                </a:lnTo>
                <a:lnTo>
                  <a:pt x="240" y="60"/>
                </a:lnTo>
                <a:lnTo>
                  <a:pt x="246" y="60"/>
                </a:lnTo>
                <a:lnTo>
                  <a:pt x="252" y="66"/>
                </a:lnTo>
                <a:lnTo>
                  <a:pt x="246" y="66"/>
                </a:lnTo>
                <a:lnTo>
                  <a:pt x="252" y="66"/>
                </a:lnTo>
                <a:lnTo>
                  <a:pt x="252" y="72"/>
                </a:lnTo>
                <a:lnTo>
                  <a:pt x="252" y="66"/>
                </a:lnTo>
                <a:lnTo>
                  <a:pt x="258" y="66"/>
                </a:lnTo>
                <a:lnTo>
                  <a:pt x="258" y="72"/>
                </a:lnTo>
                <a:lnTo>
                  <a:pt x="258" y="78"/>
                </a:lnTo>
                <a:lnTo>
                  <a:pt x="264" y="78"/>
                </a:lnTo>
                <a:lnTo>
                  <a:pt x="264" y="84"/>
                </a:lnTo>
                <a:lnTo>
                  <a:pt x="258" y="84"/>
                </a:lnTo>
                <a:lnTo>
                  <a:pt x="264" y="84"/>
                </a:lnTo>
                <a:lnTo>
                  <a:pt x="264" y="90"/>
                </a:lnTo>
                <a:lnTo>
                  <a:pt x="270" y="90"/>
                </a:lnTo>
                <a:lnTo>
                  <a:pt x="276" y="90"/>
                </a:lnTo>
                <a:lnTo>
                  <a:pt x="276" y="96"/>
                </a:lnTo>
                <a:lnTo>
                  <a:pt x="282" y="96"/>
                </a:lnTo>
                <a:lnTo>
                  <a:pt x="282" y="102"/>
                </a:lnTo>
                <a:lnTo>
                  <a:pt x="288" y="102"/>
                </a:lnTo>
                <a:lnTo>
                  <a:pt x="288" y="108"/>
                </a:lnTo>
                <a:lnTo>
                  <a:pt x="294" y="108"/>
                </a:lnTo>
                <a:lnTo>
                  <a:pt x="294" y="114"/>
                </a:lnTo>
                <a:lnTo>
                  <a:pt x="300" y="114"/>
                </a:lnTo>
                <a:lnTo>
                  <a:pt x="300" y="120"/>
                </a:lnTo>
                <a:lnTo>
                  <a:pt x="300" y="126"/>
                </a:lnTo>
                <a:lnTo>
                  <a:pt x="300" y="132"/>
                </a:lnTo>
                <a:lnTo>
                  <a:pt x="306" y="132"/>
                </a:lnTo>
                <a:lnTo>
                  <a:pt x="306" y="138"/>
                </a:lnTo>
                <a:lnTo>
                  <a:pt x="312" y="138"/>
                </a:lnTo>
                <a:lnTo>
                  <a:pt x="312" y="144"/>
                </a:lnTo>
                <a:lnTo>
                  <a:pt x="312" y="150"/>
                </a:lnTo>
                <a:lnTo>
                  <a:pt x="312" y="156"/>
                </a:lnTo>
                <a:lnTo>
                  <a:pt x="312" y="162"/>
                </a:lnTo>
                <a:lnTo>
                  <a:pt x="312" y="168"/>
                </a:lnTo>
                <a:lnTo>
                  <a:pt x="306" y="168"/>
                </a:lnTo>
                <a:lnTo>
                  <a:pt x="306" y="174"/>
                </a:lnTo>
                <a:lnTo>
                  <a:pt x="312" y="180"/>
                </a:lnTo>
                <a:lnTo>
                  <a:pt x="318" y="186"/>
                </a:lnTo>
                <a:lnTo>
                  <a:pt x="318" y="192"/>
                </a:lnTo>
                <a:lnTo>
                  <a:pt x="324" y="192"/>
                </a:lnTo>
                <a:lnTo>
                  <a:pt x="324" y="186"/>
                </a:lnTo>
                <a:lnTo>
                  <a:pt x="324" y="192"/>
                </a:lnTo>
                <a:lnTo>
                  <a:pt x="330" y="192"/>
                </a:lnTo>
                <a:lnTo>
                  <a:pt x="336" y="192"/>
                </a:lnTo>
                <a:lnTo>
                  <a:pt x="336" y="198"/>
                </a:lnTo>
                <a:lnTo>
                  <a:pt x="336" y="204"/>
                </a:lnTo>
                <a:lnTo>
                  <a:pt x="342" y="204"/>
                </a:lnTo>
                <a:lnTo>
                  <a:pt x="342" y="210"/>
                </a:lnTo>
                <a:lnTo>
                  <a:pt x="342" y="216"/>
                </a:lnTo>
                <a:lnTo>
                  <a:pt x="342" y="210"/>
                </a:lnTo>
                <a:lnTo>
                  <a:pt x="348" y="210"/>
                </a:lnTo>
                <a:lnTo>
                  <a:pt x="348" y="216"/>
                </a:lnTo>
                <a:lnTo>
                  <a:pt x="342" y="216"/>
                </a:lnTo>
                <a:lnTo>
                  <a:pt x="342" y="222"/>
                </a:lnTo>
                <a:lnTo>
                  <a:pt x="342" y="228"/>
                </a:lnTo>
                <a:lnTo>
                  <a:pt x="348" y="228"/>
                </a:lnTo>
                <a:lnTo>
                  <a:pt x="342" y="228"/>
                </a:lnTo>
                <a:lnTo>
                  <a:pt x="342" y="234"/>
                </a:lnTo>
                <a:lnTo>
                  <a:pt x="342" y="240"/>
                </a:lnTo>
                <a:lnTo>
                  <a:pt x="348" y="240"/>
                </a:lnTo>
                <a:lnTo>
                  <a:pt x="348" y="246"/>
                </a:lnTo>
                <a:lnTo>
                  <a:pt x="342" y="246"/>
                </a:lnTo>
                <a:lnTo>
                  <a:pt x="348" y="246"/>
                </a:lnTo>
                <a:lnTo>
                  <a:pt x="342" y="246"/>
                </a:lnTo>
                <a:lnTo>
                  <a:pt x="336" y="246"/>
                </a:lnTo>
                <a:lnTo>
                  <a:pt x="330" y="246"/>
                </a:lnTo>
                <a:lnTo>
                  <a:pt x="324" y="246"/>
                </a:lnTo>
                <a:lnTo>
                  <a:pt x="318" y="246"/>
                </a:lnTo>
                <a:lnTo>
                  <a:pt x="312" y="246"/>
                </a:lnTo>
                <a:lnTo>
                  <a:pt x="306" y="246"/>
                </a:lnTo>
                <a:lnTo>
                  <a:pt x="300" y="246"/>
                </a:lnTo>
                <a:lnTo>
                  <a:pt x="294" y="252"/>
                </a:lnTo>
                <a:lnTo>
                  <a:pt x="288" y="252"/>
                </a:lnTo>
                <a:lnTo>
                  <a:pt x="288" y="246"/>
                </a:lnTo>
                <a:lnTo>
                  <a:pt x="282" y="246"/>
                </a:lnTo>
                <a:lnTo>
                  <a:pt x="276" y="246"/>
                </a:lnTo>
                <a:lnTo>
                  <a:pt x="270" y="246"/>
                </a:lnTo>
                <a:lnTo>
                  <a:pt x="270" y="240"/>
                </a:lnTo>
                <a:lnTo>
                  <a:pt x="264" y="240"/>
                </a:lnTo>
                <a:lnTo>
                  <a:pt x="258" y="240"/>
                </a:lnTo>
                <a:lnTo>
                  <a:pt x="252" y="240"/>
                </a:lnTo>
                <a:lnTo>
                  <a:pt x="252" y="234"/>
                </a:lnTo>
                <a:lnTo>
                  <a:pt x="246" y="234"/>
                </a:lnTo>
                <a:lnTo>
                  <a:pt x="240" y="234"/>
                </a:lnTo>
                <a:lnTo>
                  <a:pt x="234" y="234"/>
                </a:lnTo>
                <a:lnTo>
                  <a:pt x="234" y="228"/>
                </a:lnTo>
                <a:lnTo>
                  <a:pt x="228" y="228"/>
                </a:lnTo>
                <a:lnTo>
                  <a:pt x="222" y="228"/>
                </a:lnTo>
                <a:lnTo>
                  <a:pt x="216" y="228"/>
                </a:lnTo>
                <a:close/>
                <a:moveTo>
                  <a:pt x="48" y="162"/>
                </a:moveTo>
                <a:lnTo>
                  <a:pt x="54" y="162"/>
                </a:lnTo>
                <a:lnTo>
                  <a:pt x="54" y="168"/>
                </a:lnTo>
                <a:lnTo>
                  <a:pt x="48" y="168"/>
                </a:lnTo>
                <a:lnTo>
                  <a:pt x="48" y="162"/>
                </a:lnTo>
                <a:close/>
                <a:moveTo>
                  <a:pt x="48" y="174"/>
                </a:moveTo>
                <a:lnTo>
                  <a:pt x="54" y="174"/>
                </a:lnTo>
                <a:lnTo>
                  <a:pt x="48" y="174"/>
                </a:lnTo>
                <a:close/>
                <a:moveTo>
                  <a:pt x="48" y="156"/>
                </a:moveTo>
                <a:lnTo>
                  <a:pt x="48" y="162"/>
                </a:lnTo>
                <a:lnTo>
                  <a:pt x="49" y="162"/>
                </a:lnTo>
                <a:lnTo>
                  <a:pt x="48" y="15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1" name="Freeform 11">
            <a:extLst>
              <a:ext uri="{FF2B5EF4-FFF2-40B4-BE49-F238E27FC236}">
                <a16:creationId xmlns:a16="http://schemas.microsoft.com/office/drawing/2014/main" id="{D4A8036C-5423-E048-896A-6EE24E98394C}"/>
              </a:ext>
            </a:extLst>
          </p:cNvPr>
          <p:cNvSpPr>
            <a:spLocks noEditPoints="1"/>
          </p:cNvSpPr>
          <p:nvPr>
            <p:custDataLst>
              <p:tags r:id="rId10"/>
            </p:custDataLst>
          </p:nvPr>
        </p:nvSpPr>
        <p:spPr bwMode="gray">
          <a:xfrm>
            <a:off x="2457633" y="3190116"/>
            <a:ext cx="780423" cy="647162"/>
          </a:xfrm>
          <a:custGeom>
            <a:avLst/>
            <a:gdLst>
              <a:gd name="T0" fmla="*/ 83466 w 678"/>
              <a:gd name="T1" fmla="*/ 257790 h 750"/>
              <a:gd name="T2" fmla="*/ 79584 w 678"/>
              <a:gd name="T3" fmla="*/ 251975 h 750"/>
              <a:gd name="T4" fmla="*/ 72791 w 678"/>
              <a:gd name="T5" fmla="*/ 240345 h 750"/>
              <a:gd name="T6" fmla="*/ 66967 w 678"/>
              <a:gd name="T7" fmla="*/ 236469 h 750"/>
              <a:gd name="T8" fmla="*/ 56291 w 678"/>
              <a:gd name="T9" fmla="*/ 229685 h 750"/>
              <a:gd name="T10" fmla="*/ 40762 w 678"/>
              <a:gd name="T11" fmla="*/ 225808 h 750"/>
              <a:gd name="T12" fmla="*/ 27175 w 678"/>
              <a:gd name="T13" fmla="*/ 227747 h 750"/>
              <a:gd name="T14" fmla="*/ 17470 w 678"/>
              <a:gd name="T15" fmla="*/ 229685 h 750"/>
              <a:gd name="T16" fmla="*/ 10676 w 678"/>
              <a:gd name="T17" fmla="*/ 238407 h 750"/>
              <a:gd name="T18" fmla="*/ 12617 w 678"/>
              <a:gd name="T19" fmla="*/ 221931 h 750"/>
              <a:gd name="T20" fmla="*/ 19411 w 678"/>
              <a:gd name="T21" fmla="*/ 206426 h 750"/>
              <a:gd name="T22" fmla="*/ 19411 w 678"/>
              <a:gd name="T23" fmla="*/ 188012 h 750"/>
              <a:gd name="T24" fmla="*/ 12617 w 678"/>
              <a:gd name="T25" fmla="*/ 172506 h 750"/>
              <a:gd name="T26" fmla="*/ 12617 w 678"/>
              <a:gd name="T27" fmla="*/ 165722 h 750"/>
              <a:gd name="T28" fmla="*/ 14558 w 678"/>
              <a:gd name="T29" fmla="*/ 159907 h 750"/>
              <a:gd name="T30" fmla="*/ 14558 w 678"/>
              <a:gd name="T31" fmla="*/ 151185 h 750"/>
              <a:gd name="T32" fmla="*/ 10676 w 678"/>
              <a:gd name="T33" fmla="*/ 145370 h 750"/>
              <a:gd name="T34" fmla="*/ 6794 w 678"/>
              <a:gd name="T35" fmla="*/ 135679 h 750"/>
              <a:gd name="T36" fmla="*/ 0 w 678"/>
              <a:gd name="T37" fmla="*/ 138586 h 750"/>
              <a:gd name="T38" fmla="*/ 8735 w 678"/>
              <a:gd name="T39" fmla="*/ 127926 h 750"/>
              <a:gd name="T40" fmla="*/ 46586 w 678"/>
              <a:gd name="T41" fmla="*/ 127926 h 750"/>
              <a:gd name="T42" fmla="*/ 67938 w 678"/>
              <a:gd name="T43" fmla="*/ 127926 h 750"/>
              <a:gd name="T44" fmla="*/ 79584 w 678"/>
              <a:gd name="T45" fmla="*/ 117266 h 750"/>
              <a:gd name="T46" fmla="*/ 76673 w 678"/>
              <a:gd name="T47" fmla="*/ 95945 h 750"/>
              <a:gd name="T48" fmla="*/ 100936 w 678"/>
              <a:gd name="T49" fmla="*/ 83346 h 750"/>
              <a:gd name="T50" fmla="*/ 111612 w 678"/>
              <a:gd name="T51" fmla="*/ 27136 h 750"/>
              <a:gd name="T52" fmla="*/ 134905 w 678"/>
              <a:gd name="T53" fmla="*/ 27136 h 750"/>
              <a:gd name="T54" fmla="*/ 158198 w 678"/>
              <a:gd name="T55" fmla="*/ 27136 h 750"/>
              <a:gd name="T56" fmla="*/ 173727 w 678"/>
              <a:gd name="T57" fmla="*/ 1938 h 750"/>
              <a:gd name="T58" fmla="*/ 192166 w 678"/>
              <a:gd name="T59" fmla="*/ 14537 h 750"/>
              <a:gd name="T60" fmla="*/ 211577 w 678"/>
              <a:gd name="T61" fmla="*/ 30043 h 750"/>
              <a:gd name="T62" fmla="*/ 230988 w 678"/>
              <a:gd name="T63" fmla="*/ 42642 h 750"/>
              <a:gd name="T64" fmla="*/ 234871 w 678"/>
              <a:gd name="T65" fmla="*/ 49426 h 750"/>
              <a:gd name="T66" fmla="*/ 215459 w 678"/>
              <a:gd name="T67" fmla="*/ 49426 h 750"/>
              <a:gd name="T68" fmla="*/ 209636 w 678"/>
              <a:gd name="T69" fmla="*/ 70747 h 750"/>
              <a:gd name="T70" fmla="*/ 211577 w 678"/>
              <a:gd name="T71" fmla="*/ 90129 h 750"/>
              <a:gd name="T72" fmla="*/ 214489 w 678"/>
              <a:gd name="T73" fmla="*/ 106605 h 750"/>
              <a:gd name="T74" fmla="*/ 215459 w 678"/>
              <a:gd name="T75" fmla="*/ 124049 h 750"/>
              <a:gd name="T76" fmla="*/ 218371 w 678"/>
              <a:gd name="T77" fmla="*/ 142463 h 750"/>
              <a:gd name="T78" fmla="*/ 220312 w 678"/>
              <a:gd name="T79" fmla="*/ 163784 h 750"/>
              <a:gd name="T80" fmla="*/ 222253 w 678"/>
              <a:gd name="T81" fmla="*/ 181228 h 750"/>
              <a:gd name="T82" fmla="*/ 225165 w 678"/>
              <a:gd name="T83" fmla="*/ 199642 h 750"/>
              <a:gd name="T84" fmla="*/ 227106 w 678"/>
              <a:gd name="T85" fmla="*/ 219024 h 750"/>
              <a:gd name="T86" fmla="*/ 229047 w 678"/>
              <a:gd name="T87" fmla="*/ 247129 h 750"/>
              <a:gd name="T88" fmla="*/ 211577 w 678"/>
              <a:gd name="T89" fmla="*/ 249068 h 750"/>
              <a:gd name="T90" fmla="*/ 190225 w 678"/>
              <a:gd name="T91" fmla="*/ 249068 h 750"/>
              <a:gd name="T92" fmla="*/ 168874 w 678"/>
              <a:gd name="T93" fmla="*/ 249068 h 750"/>
              <a:gd name="T94" fmla="*/ 154315 w 678"/>
              <a:gd name="T95" fmla="*/ 247129 h 750"/>
              <a:gd name="T96" fmla="*/ 143639 w 678"/>
              <a:gd name="T97" fmla="*/ 251975 h 750"/>
              <a:gd name="T98" fmla="*/ 128111 w 678"/>
              <a:gd name="T99" fmla="*/ 251975 h 750"/>
              <a:gd name="T100" fmla="*/ 117435 w 678"/>
              <a:gd name="T101" fmla="*/ 253913 h 750"/>
              <a:gd name="T102" fmla="*/ 104818 w 678"/>
              <a:gd name="T103" fmla="*/ 249068 h 750"/>
              <a:gd name="T104" fmla="*/ 104818 w 678"/>
              <a:gd name="T105" fmla="*/ 262636 h 750"/>
              <a:gd name="T106" fmla="*/ 10676 w 678"/>
              <a:gd name="T107" fmla="*/ 163784 h 750"/>
              <a:gd name="T108" fmla="*/ 14558 w 678"/>
              <a:gd name="T109" fmla="*/ 161845 h 750"/>
              <a:gd name="T110" fmla="*/ 10676 w 678"/>
              <a:gd name="T111" fmla="*/ 163784 h 750"/>
              <a:gd name="T112" fmla="*/ 10676 w 678"/>
              <a:gd name="T113" fmla="*/ 145370 h 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78" h="750">
                <a:moveTo>
                  <a:pt x="264" y="744"/>
                </a:moveTo>
                <a:lnTo>
                  <a:pt x="258" y="744"/>
                </a:lnTo>
                <a:lnTo>
                  <a:pt x="258" y="738"/>
                </a:lnTo>
                <a:lnTo>
                  <a:pt x="252" y="738"/>
                </a:lnTo>
                <a:lnTo>
                  <a:pt x="252" y="732"/>
                </a:lnTo>
                <a:lnTo>
                  <a:pt x="246" y="732"/>
                </a:lnTo>
                <a:lnTo>
                  <a:pt x="246" y="726"/>
                </a:lnTo>
                <a:lnTo>
                  <a:pt x="240" y="726"/>
                </a:lnTo>
                <a:lnTo>
                  <a:pt x="234" y="726"/>
                </a:lnTo>
                <a:lnTo>
                  <a:pt x="234" y="720"/>
                </a:lnTo>
                <a:lnTo>
                  <a:pt x="228" y="720"/>
                </a:lnTo>
                <a:lnTo>
                  <a:pt x="234" y="720"/>
                </a:lnTo>
                <a:lnTo>
                  <a:pt x="234" y="714"/>
                </a:lnTo>
                <a:lnTo>
                  <a:pt x="228" y="714"/>
                </a:lnTo>
                <a:lnTo>
                  <a:pt x="228" y="708"/>
                </a:lnTo>
                <a:lnTo>
                  <a:pt x="228" y="702"/>
                </a:lnTo>
                <a:lnTo>
                  <a:pt x="222" y="702"/>
                </a:lnTo>
                <a:lnTo>
                  <a:pt x="222" y="708"/>
                </a:lnTo>
                <a:lnTo>
                  <a:pt x="222" y="702"/>
                </a:lnTo>
                <a:lnTo>
                  <a:pt x="216" y="702"/>
                </a:lnTo>
                <a:lnTo>
                  <a:pt x="222" y="702"/>
                </a:lnTo>
                <a:lnTo>
                  <a:pt x="216" y="696"/>
                </a:lnTo>
                <a:lnTo>
                  <a:pt x="210" y="696"/>
                </a:lnTo>
                <a:lnTo>
                  <a:pt x="210" y="690"/>
                </a:lnTo>
                <a:lnTo>
                  <a:pt x="210" y="684"/>
                </a:lnTo>
                <a:lnTo>
                  <a:pt x="204" y="684"/>
                </a:lnTo>
                <a:lnTo>
                  <a:pt x="204" y="678"/>
                </a:lnTo>
                <a:lnTo>
                  <a:pt x="204" y="672"/>
                </a:lnTo>
                <a:lnTo>
                  <a:pt x="198" y="672"/>
                </a:lnTo>
                <a:lnTo>
                  <a:pt x="198" y="666"/>
                </a:lnTo>
                <a:lnTo>
                  <a:pt x="198" y="672"/>
                </a:lnTo>
                <a:lnTo>
                  <a:pt x="198" y="666"/>
                </a:lnTo>
                <a:lnTo>
                  <a:pt x="192" y="666"/>
                </a:lnTo>
                <a:lnTo>
                  <a:pt x="186" y="666"/>
                </a:lnTo>
                <a:lnTo>
                  <a:pt x="186" y="672"/>
                </a:lnTo>
                <a:lnTo>
                  <a:pt x="186" y="666"/>
                </a:lnTo>
                <a:lnTo>
                  <a:pt x="180" y="666"/>
                </a:lnTo>
                <a:lnTo>
                  <a:pt x="174" y="666"/>
                </a:lnTo>
                <a:lnTo>
                  <a:pt x="174" y="660"/>
                </a:lnTo>
                <a:lnTo>
                  <a:pt x="168" y="660"/>
                </a:lnTo>
                <a:lnTo>
                  <a:pt x="174" y="660"/>
                </a:lnTo>
                <a:lnTo>
                  <a:pt x="174" y="654"/>
                </a:lnTo>
                <a:lnTo>
                  <a:pt x="168" y="654"/>
                </a:lnTo>
                <a:lnTo>
                  <a:pt x="162" y="648"/>
                </a:lnTo>
                <a:lnTo>
                  <a:pt x="156" y="648"/>
                </a:lnTo>
                <a:lnTo>
                  <a:pt x="156" y="642"/>
                </a:lnTo>
                <a:lnTo>
                  <a:pt x="150" y="642"/>
                </a:lnTo>
                <a:lnTo>
                  <a:pt x="150" y="636"/>
                </a:lnTo>
                <a:lnTo>
                  <a:pt x="144" y="636"/>
                </a:lnTo>
                <a:lnTo>
                  <a:pt x="138" y="636"/>
                </a:lnTo>
                <a:lnTo>
                  <a:pt x="132" y="636"/>
                </a:lnTo>
                <a:lnTo>
                  <a:pt x="126" y="636"/>
                </a:lnTo>
                <a:lnTo>
                  <a:pt x="120" y="636"/>
                </a:lnTo>
                <a:lnTo>
                  <a:pt x="114" y="636"/>
                </a:lnTo>
                <a:lnTo>
                  <a:pt x="108" y="636"/>
                </a:lnTo>
                <a:lnTo>
                  <a:pt x="108" y="642"/>
                </a:lnTo>
                <a:lnTo>
                  <a:pt x="102" y="642"/>
                </a:lnTo>
                <a:lnTo>
                  <a:pt x="96" y="642"/>
                </a:lnTo>
                <a:lnTo>
                  <a:pt x="90" y="642"/>
                </a:lnTo>
                <a:lnTo>
                  <a:pt x="84" y="642"/>
                </a:lnTo>
                <a:lnTo>
                  <a:pt x="84" y="648"/>
                </a:lnTo>
                <a:lnTo>
                  <a:pt x="84" y="642"/>
                </a:lnTo>
                <a:lnTo>
                  <a:pt x="78" y="642"/>
                </a:lnTo>
                <a:lnTo>
                  <a:pt x="78" y="648"/>
                </a:lnTo>
                <a:lnTo>
                  <a:pt x="72" y="648"/>
                </a:lnTo>
                <a:lnTo>
                  <a:pt x="66" y="648"/>
                </a:lnTo>
                <a:lnTo>
                  <a:pt x="66" y="642"/>
                </a:lnTo>
                <a:lnTo>
                  <a:pt x="60" y="648"/>
                </a:lnTo>
                <a:lnTo>
                  <a:pt x="54" y="648"/>
                </a:lnTo>
                <a:lnTo>
                  <a:pt x="54" y="642"/>
                </a:lnTo>
                <a:lnTo>
                  <a:pt x="48" y="642"/>
                </a:lnTo>
                <a:lnTo>
                  <a:pt x="48" y="648"/>
                </a:lnTo>
                <a:lnTo>
                  <a:pt x="42" y="642"/>
                </a:lnTo>
                <a:lnTo>
                  <a:pt x="42" y="648"/>
                </a:lnTo>
                <a:lnTo>
                  <a:pt x="42" y="654"/>
                </a:lnTo>
                <a:lnTo>
                  <a:pt x="36" y="654"/>
                </a:lnTo>
                <a:lnTo>
                  <a:pt x="36" y="660"/>
                </a:lnTo>
                <a:lnTo>
                  <a:pt x="30" y="666"/>
                </a:lnTo>
                <a:lnTo>
                  <a:pt x="36" y="666"/>
                </a:lnTo>
                <a:lnTo>
                  <a:pt x="36" y="672"/>
                </a:lnTo>
                <a:lnTo>
                  <a:pt x="30" y="672"/>
                </a:lnTo>
                <a:lnTo>
                  <a:pt x="30" y="666"/>
                </a:lnTo>
                <a:lnTo>
                  <a:pt x="30" y="660"/>
                </a:lnTo>
                <a:lnTo>
                  <a:pt x="30" y="654"/>
                </a:lnTo>
                <a:lnTo>
                  <a:pt x="30" y="648"/>
                </a:lnTo>
                <a:lnTo>
                  <a:pt x="30" y="642"/>
                </a:lnTo>
                <a:lnTo>
                  <a:pt x="36" y="642"/>
                </a:lnTo>
                <a:lnTo>
                  <a:pt x="36" y="636"/>
                </a:lnTo>
                <a:lnTo>
                  <a:pt x="36" y="630"/>
                </a:lnTo>
                <a:lnTo>
                  <a:pt x="36" y="624"/>
                </a:lnTo>
                <a:lnTo>
                  <a:pt x="42" y="624"/>
                </a:lnTo>
                <a:lnTo>
                  <a:pt x="42" y="618"/>
                </a:lnTo>
                <a:lnTo>
                  <a:pt x="42" y="612"/>
                </a:lnTo>
                <a:lnTo>
                  <a:pt x="48" y="612"/>
                </a:lnTo>
                <a:lnTo>
                  <a:pt x="48" y="606"/>
                </a:lnTo>
                <a:lnTo>
                  <a:pt x="48" y="600"/>
                </a:lnTo>
                <a:lnTo>
                  <a:pt x="54" y="594"/>
                </a:lnTo>
                <a:lnTo>
                  <a:pt x="54" y="588"/>
                </a:lnTo>
                <a:lnTo>
                  <a:pt x="54" y="582"/>
                </a:lnTo>
                <a:lnTo>
                  <a:pt x="54" y="576"/>
                </a:lnTo>
                <a:lnTo>
                  <a:pt x="54" y="570"/>
                </a:lnTo>
                <a:lnTo>
                  <a:pt x="54" y="564"/>
                </a:lnTo>
                <a:lnTo>
                  <a:pt x="54" y="558"/>
                </a:lnTo>
                <a:lnTo>
                  <a:pt x="54" y="552"/>
                </a:lnTo>
                <a:lnTo>
                  <a:pt x="54" y="546"/>
                </a:lnTo>
                <a:lnTo>
                  <a:pt x="54" y="540"/>
                </a:lnTo>
                <a:lnTo>
                  <a:pt x="54" y="534"/>
                </a:lnTo>
                <a:lnTo>
                  <a:pt x="54" y="528"/>
                </a:lnTo>
                <a:lnTo>
                  <a:pt x="54" y="522"/>
                </a:lnTo>
                <a:lnTo>
                  <a:pt x="48" y="522"/>
                </a:lnTo>
                <a:lnTo>
                  <a:pt x="48" y="516"/>
                </a:lnTo>
                <a:lnTo>
                  <a:pt x="48" y="510"/>
                </a:lnTo>
                <a:lnTo>
                  <a:pt x="48" y="504"/>
                </a:lnTo>
                <a:lnTo>
                  <a:pt x="48" y="498"/>
                </a:lnTo>
                <a:lnTo>
                  <a:pt x="42" y="498"/>
                </a:lnTo>
                <a:lnTo>
                  <a:pt x="42" y="492"/>
                </a:lnTo>
                <a:lnTo>
                  <a:pt x="36" y="486"/>
                </a:lnTo>
                <a:lnTo>
                  <a:pt x="30" y="486"/>
                </a:lnTo>
                <a:lnTo>
                  <a:pt x="30" y="480"/>
                </a:lnTo>
                <a:lnTo>
                  <a:pt x="30" y="474"/>
                </a:lnTo>
                <a:lnTo>
                  <a:pt x="30" y="480"/>
                </a:lnTo>
                <a:lnTo>
                  <a:pt x="36" y="480"/>
                </a:lnTo>
                <a:lnTo>
                  <a:pt x="36" y="474"/>
                </a:lnTo>
                <a:lnTo>
                  <a:pt x="42" y="474"/>
                </a:lnTo>
                <a:lnTo>
                  <a:pt x="42" y="468"/>
                </a:lnTo>
                <a:lnTo>
                  <a:pt x="36" y="468"/>
                </a:lnTo>
                <a:lnTo>
                  <a:pt x="36" y="474"/>
                </a:lnTo>
                <a:lnTo>
                  <a:pt x="36" y="468"/>
                </a:lnTo>
                <a:lnTo>
                  <a:pt x="36" y="474"/>
                </a:lnTo>
                <a:lnTo>
                  <a:pt x="30" y="474"/>
                </a:lnTo>
                <a:lnTo>
                  <a:pt x="36" y="468"/>
                </a:lnTo>
                <a:lnTo>
                  <a:pt x="36" y="462"/>
                </a:lnTo>
                <a:lnTo>
                  <a:pt x="42" y="462"/>
                </a:lnTo>
                <a:lnTo>
                  <a:pt x="42" y="456"/>
                </a:lnTo>
                <a:lnTo>
                  <a:pt x="42" y="450"/>
                </a:lnTo>
                <a:lnTo>
                  <a:pt x="42" y="444"/>
                </a:lnTo>
                <a:lnTo>
                  <a:pt x="42" y="450"/>
                </a:lnTo>
                <a:lnTo>
                  <a:pt x="42" y="444"/>
                </a:lnTo>
                <a:lnTo>
                  <a:pt x="48" y="444"/>
                </a:lnTo>
                <a:lnTo>
                  <a:pt x="42" y="438"/>
                </a:lnTo>
                <a:lnTo>
                  <a:pt x="42" y="432"/>
                </a:lnTo>
                <a:lnTo>
                  <a:pt x="48" y="432"/>
                </a:lnTo>
                <a:lnTo>
                  <a:pt x="48" y="426"/>
                </a:lnTo>
                <a:lnTo>
                  <a:pt x="42" y="426"/>
                </a:lnTo>
                <a:lnTo>
                  <a:pt x="42" y="420"/>
                </a:lnTo>
                <a:lnTo>
                  <a:pt x="36" y="420"/>
                </a:lnTo>
                <a:lnTo>
                  <a:pt x="36" y="414"/>
                </a:lnTo>
                <a:lnTo>
                  <a:pt x="36" y="408"/>
                </a:lnTo>
                <a:lnTo>
                  <a:pt x="36" y="402"/>
                </a:lnTo>
                <a:lnTo>
                  <a:pt x="30" y="402"/>
                </a:lnTo>
                <a:lnTo>
                  <a:pt x="30" y="396"/>
                </a:lnTo>
                <a:lnTo>
                  <a:pt x="30" y="402"/>
                </a:lnTo>
                <a:lnTo>
                  <a:pt x="30" y="408"/>
                </a:lnTo>
                <a:lnTo>
                  <a:pt x="24" y="408"/>
                </a:lnTo>
                <a:lnTo>
                  <a:pt x="24" y="402"/>
                </a:lnTo>
                <a:lnTo>
                  <a:pt x="18" y="402"/>
                </a:lnTo>
                <a:lnTo>
                  <a:pt x="18" y="396"/>
                </a:lnTo>
                <a:lnTo>
                  <a:pt x="18" y="390"/>
                </a:lnTo>
                <a:lnTo>
                  <a:pt x="12" y="384"/>
                </a:lnTo>
                <a:lnTo>
                  <a:pt x="12" y="378"/>
                </a:lnTo>
                <a:lnTo>
                  <a:pt x="12" y="384"/>
                </a:lnTo>
                <a:lnTo>
                  <a:pt x="18" y="384"/>
                </a:lnTo>
                <a:lnTo>
                  <a:pt x="18" y="378"/>
                </a:lnTo>
                <a:lnTo>
                  <a:pt x="12" y="378"/>
                </a:lnTo>
                <a:lnTo>
                  <a:pt x="12" y="372"/>
                </a:lnTo>
                <a:lnTo>
                  <a:pt x="12" y="366"/>
                </a:lnTo>
                <a:lnTo>
                  <a:pt x="6" y="366"/>
                </a:lnTo>
                <a:lnTo>
                  <a:pt x="6" y="372"/>
                </a:lnTo>
                <a:lnTo>
                  <a:pt x="0" y="378"/>
                </a:lnTo>
                <a:lnTo>
                  <a:pt x="0" y="384"/>
                </a:lnTo>
                <a:lnTo>
                  <a:pt x="0" y="390"/>
                </a:lnTo>
                <a:lnTo>
                  <a:pt x="0" y="396"/>
                </a:lnTo>
                <a:lnTo>
                  <a:pt x="0" y="390"/>
                </a:lnTo>
                <a:lnTo>
                  <a:pt x="0" y="384"/>
                </a:lnTo>
                <a:lnTo>
                  <a:pt x="0" y="378"/>
                </a:lnTo>
                <a:lnTo>
                  <a:pt x="0" y="372"/>
                </a:lnTo>
                <a:lnTo>
                  <a:pt x="6" y="372"/>
                </a:lnTo>
                <a:lnTo>
                  <a:pt x="6" y="366"/>
                </a:lnTo>
                <a:lnTo>
                  <a:pt x="6" y="360"/>
                </a:lnTo>
                <a:lnTo>
                  <a:pt x="24" y="360"/>
                </a:lnTo>
                <a:lnTo>
                  <a:pt x="42" y="360"/>
                </a:lnTo>
                <a:lnTo>
                  <a:pt x="54" y="360"/>
                </a:lnTo>
                <a:lnTo>
                  <a:pt x="72" y="360"/>
                </a:lnTo>
                <a:lnTo>
                  <a:pt x="84" y="360"/>
                </a:lnTo>
                <a:lnTo>
                  <a:pt x="102" y="360"/>
                </a:lnTo>
                <a:lnTo>
                  <a:pt x="114" y="360"/>
                </a:lnTo>
                <a:lnTo>
                  <a:pt x="120" y="360"/>
                </a:lnTo>
                <a:lnTo>
                  <a:pt x="126" y="360"/>
                </a:lnTo>
                <a:lnTo>
                  <a:pt x="132" y="360"/>
                </a:lnTo>
                <a:lnTo>
                  <a:pt x="138" y="360"/>
                </a:lnTo>
                <a:lnTo>
                  <a:pt x="144" y="360"/>
                </a:lnTo>
                <a:lnTo>
                  <a:pt x="150" y="360"/>
                </a:lnTo>
                <a:lnTo>
                  <a:pt x="156" y="360"/>
                </a:lnTo>
                <a:lnTo>
                  <a:pt x="162" y="360"/>
                </a:lnTo>
                <a:lnTo>
                  <a:pt x="168" y="360"/>
                </a:lnTo>
                <a:lnTo>
                  <a:pt x="174" y="360"/>
                </a:lnTo>
                <a:lnTo>
                  <a:pt x="186" y="360"/>
                </a:lnTo>
                <a:lnTo>
                  <a:pt x="192" y="360"/>
                </a:lnTo>
                <a:lnTo>
                  <a:pt x="198" y="360"/>
                </a:lnTo>
                <a:lnTo>
                  <a:pt x="204" y="360"/>
                </a:lnTo>
                <a:lnTo>
                  <a:pt x="216" y="360"/>
                </a:lnTo>
                <a:lnTo>
                  <a:pt x="222" y="360"/>
                </a:lnTo>
                <a:lnTo>
                  <a:pt x="222" y="354"/>
                </a:lnTo>
                <a:lnTo>
                  <a:pt x="222" y="348"/>
                </a:lnTo>
                <a:lnTo>
                  <a:pt x="222" y="342"/>
                </a:lnTo>
                <a:lnTo>
                  <a:pt x="222" y="336"/>
                </a:lnTo>
                <a:lnTo>
                  <a:pt x="222" y="330"/>
                </a:lnTo>
                <a:lnTo>
                  <a:pt x="222" y="324"/>
                </a:lnTo>
                <a:lnTo>
                  <a:pt x="222" y="318"/>
                </a:lnTo>
                <a:lnTo>
                  <a:pt x="222" y="312"/>
                </a:lnTo>
                <a:lnTo>
                  <a:pt x="222" y="306"/>
                </a:lnTo>
                <a:lnTo>
                  <a:pt x="216" y="300"/>
                </a:lnTo>
                <a:lnTo>
                  <a:pt x="216" y="288"/>
                </a:lnTo>
                <a:lnTo>
                  <a:pt x="216" y="282"/>
                </a:lnTo>
                <a:lnTo>
                  <a:pt x="216" y="276"/>
                </a:lnTo>
                <a:lnTo>
                  <a:pt x="216" y="270"/>
                </a:lnTo>
                <a:lnTo>
                  <a:pt x="222" y="264"/>
                </a:lnTo>
                <a:lnTo>
                  <a:pt x="222" y="258"/>
                </a:lnTo>
                <a:lnTo>
                  <a:pt x="222" y="252"/>
                </a:lnTo>
                <a:lnTo>
                  <a:pt x="228" y="246"/>
                </a:lnTo>
                <a:lnTo>
                  <a:pt x="234" y="240"/>
                </a:lnTo>
                <a:lnTo>
                  <a:pt x="240" y="240"/>
                </a:lnTo>
                <a:lnTo>
                  <a:pt x="246" y="234"/>
                </a:lnTo>
                <a:lnTo>
                  <a:pt x="252" y="234"/>
                </a:lnTo>
                <a:lnTo>
                  <a:pt x="282" y="234"/>
                </a:lnTo>
                <a:lnTo>
                  <a:pt x="282" y="174"/>
                </a:lnTo>
                <a:lnTo>
                  <a:pt x="282" y="150"/>
                </a:lnTo>
                <a:lnTo>
                  <a:pt x="282" y="138"/>
                </a:lnTo>
                <a:lnTo>
                  <a:pt x="282" y="84"/>
                </a:lnTo>
                <a:lnTo>
                  <a:pt x="282" y="78"/>
                </a:lnTo>
                <a:lnTo>
                  <a:pt x="288" y="78"/>
                </a:lnTo>
                <a:lnTo>
                  <a:pt x="294" y="78"/>
                </a:lnTo>
                <a:lnTo>
                  <a:pt x="306" y="78"/>
                </a:lnTo>
                <a:lnTo>
                  <a:pt x="312" y="78"/>
                </a:lnTo>
                <a:lnTo>
                  <a:pt x="318" y="78"/>
                </a:lnTo>
                <a:lnTo>
                  <a:pt x="330" y="78"/>
                </a:lnTo>
                <a:lnTo>
                  <a:pt x="336" y="78"/>
                </a:lnTo>
                <a:lnTo>
                  <a:pt x="342" y="78"/>
                </a:lnTo>
                <a:lnTo>
                  <a:pt x="354" y="78"/>
                </a:lnTo>
                <a:lnTo>
                  <a:pt x="360" y="78"/>
                </a:lnTo>
                <a:lnTo>
                  <a:pt x="366" y="78"/>
                </a:lnTo>
                <a:lnTo>
                  <a:pt x="372" y="78"/>
                </a:lnTo>
                <a:lnTo>
                  <a:pt x="378" y="78"/>
                </a:lnTo>
                <a:lnTo>
                  <a:pt x="384" y="78"/>
                </a:lnTo>
                <a:lnTo>
                  <a:pt x="390" y="78"/>
                </a:lnTo>
                <a:lnTo>
                  <a:pt x="396" y="78"/>
                </a:lnTo>
                <a:lnTo>
                  <a:pt x="408" y="78"/>
                </a:lnTo>
                <a:lnTo>
                  <a:pt x="414" y="78"/>
                </a:lnTo>
                <a:lnTo>
                  <a:pt x="420" y="78"/>
                </a:lnTo>
                <a:lnTo>
                  <a:pt x="432" y="78"/>
                </a:lnTo>
                <a:lnTo>
                  <a:pt x="438" y="78"/>
                </a:lnTo>
                <a:lnTo>
                  <a:pt x="444" y="78"/>
                </a:lnTo>
                <a:lnTo>
                  <a:pt x="450" y="78"/>
                </a:lnTo>
                <a:lnTo>
                  <a:pt x="462" y="78"/>
                </a:lnTo>
                <a:lnTo>
                  <a:pt x="468" y="78"/>
                </a:lnTo>
                <a:lnTo>
                  <a:pt x="468" y="24"/>
                </a:lnTo>
                <a:lnTo>
                  <a:pt x="468" y="12"/>
                </a:lnTo>
                <a:lnTo>
                  <a:pt x="468" y="0"/>
                </a:lnTo>
                <a:lnTo>
                  <a:pt x="474" y="0"/>
                </a:lnTo>
                <a:lnTo>
                  <a:pt x="480" y="6"/>
                </a:lnTo>
                <a:lnTo>
                  <a:pt x="486" y="6"/>
                </a:lnTo>
                <a:lnTo>
                  <a:pt x="486" y="12"/>
                </a:lnTo>
                <a:lnTo>
                  <a:pt x="492" y="12"/>
                </a:lnTo>
                <a:lnTo>
                  <a:pt x="498" y="18"/>
                </a:lnTo>
                <a:lnTo>
                  <a:pt x="504" y="24"/>
                </a:lnTo>
                <a:lnTo>
                  <a:pt x="510" y="24"/>
                </a:lnTo>
                <a:lnTo>
                  <a:pt x="516" y="30"/>
                </a:lnTo>
                <a:lnTo>
                  <a:pt x="528" y="36"/>
                </a:lnTo>
                <a:lnTo>
                  <a:pt x="534" y="42"/>
                </a:lnTo>
                <a:lnTo>
                  <a:pt x="540" y="42"/>
                </a:lnTo>
                <a:lnTo>
                  <a:pt x="546" y="48"/>
                </a:lnTo>
                <a:lnTo>
                  <a:pt x="552" y="54"/>
                </a:lnTo>
                <a:lnTo>
                  <a:pt x="558" y="54"/>
                </a:lnTo>
                <a:lnTo>
                  <a:pt x="564" y="60"/>
                </a:lnTo>
                <a:lnTo>
                  <a:pt x="576" y="66"/>
                </a:lnTo>
                <a:lnTo>
                  <a:pt x="582" y="72"/>
                </a:lnTo>
                <a:lnTo>
                  <a:pt x="588" y="78"/>
                </a:lnTo>
                <a:lnTo>
                  <a:pt x="594" y="78"/>
                </a:lnTo>
                <a:lnTo>
                  <a:pt x="594" y="84"/>
                </a:lnTo>
                <a:lnTo>
                  <a:pt x="606" y="90"/>
                </a:lnTo>
                <a:lnTo>
                  <a:pt x="612" y="90"/>
                </a:lnTo>
                <a:lnTo>
                  <a:pt x="618" y="96"/>
                </a:lnTo>
                <a:lnTo>
                  <a:pt x="624" y="102"/>
                </a:lnTo>
                <a:lnTo>
                  <a:pt x="630" y="102"/>
                </a:lnTo>
                <a:lnTo>
                  <a:pt x="636" y="108"/>
                </a:lnTo>
                <a:lnTo>
                  <a:pt x="642" y="114"/>
                </a:lnTo>
                <a:lnTo>
                  <a:pt x="648" y="114"/>
                </a:lnTo>
                <a:lnTo>
                  <a:pt x="648" y="120"/>
                </a:lnTo>
                <a:lnTo>
                  <a:pt x="654" y="120"/>
                </a:lnTo>
                <a:lnTo>
                  <a:pt x="660" y="126"/>
                </a:lnTo>
                <a:lnTo>
                  <a:pt x="666" y="132"/>
                </a:lnTo>
                <a:lnTo>
                  <a:pt x="672" y="132"/>
                </a:lnTo>
                <a:lnTo>
                  <a:pt x="672" y="138"/>
                </a:lnTo>
                <a:lnTo>
                  <a:pt x="678" y="138"/>
                </a:lnTo>
                <a:lnTo>
                  <a:pt x="672" y="138"/>
                </a:lnTo>
                <a:lnTo>
                  <a:pt x="666" y="138"/>
                </a:lnTo>
                <a:lnTo>
                  <a:pt x="660" y="138"/>
                </a:lnTo>
                <a:lnTo>
                  <a:pt x="654" y="138"/>
                </a:lnTo>
                <a:lnTo>
                  <a:pt x="648" y="138"/>
                </a:lnTo>
                <a:lnTo>
                  <a:pt x="642" y="138"/>
                </a:lnTo>
                <a:lnTo>
                  <a:pt x="636" y="138"/>
                </a:lnTo>
                <a:lnTo>
                  <a:pt x="630" y="138"/>
                </a:lnTo>
                <a:lnTo>
                  <a:pt x="624" y="138"/>
                </a:lnTo>
                <a:lnTo>
                  <a:pt x="618" y="138"/>
                </a:lnTo>
                <a:lnTo>
                  <a:pt x="612" y="138"/>
                </a:lnTo>
                <a:lnTo>
                  <a:pt x="606" y="138"/>
                </a:lnTo>
                <a:lnTo>
                  <a:pt x="600" y="138"/>
                </a:lnTo>
                <a:lnTo>
                  <a:pt x="594" y="138"/>
                </a:lnTo>
                <a:lnTo>
                  <a:pt x="588" y="138"/>
                </a:lnTo>
                <a:lnTo>
                  <a:pt x="582" y="138"/>
                </a:lnTo>
                <a:lnTo>
                  <a:pt x="582" y="144"/>
                </a:lnTo>
                <a:lnTo>
                  <a:pt x="588" y="174"/>
                </a:lnTo>
                <a:lnTo>
                  <a:pt x="588" y="180"/>
                </a:lnTo>
                <a:lnTo>
                  <a:pt x="588" y="192"/>
                </a:lnTo>
                <a:lnTo>
                  <a:pt x="588" y="198"/>
                </a:lnTo>
                <a:lnTo>
                  <a:pt x="588" y="204"/>
                </a:lnTo>
                <a:lnTo>
                  <a:pt x="588" y="210"/>
                </a:lnTo>
                <a:lnTo>
                  <a:pt x="588" y="216"/>
                </a:lnTo>
                <a:lnTo>
                  <a:pt x="594" y="222"/>
                </a:lnTo>
                <a:lnTo>
                  <a:pt x="594" y="228"/>
                </a:lnTo>
                <a:lnTo>
                  <a:pt x="594" y="234"/>
                </a:lnTo>
                <a:lnTo>
                  <a:pt x="594" y="240"/>
                </a:lnTo>
                <a:lnTo>
                  <a:pt x="594" y="246"/>
                </a:lnTo>
                <a:lnTo>
                  <a:pt x="594" y="252"/>
                </a:lnTo>
                <a:lnTo>
                  <a:pt x="594" y="258"/>
                </a:lnTo>
                <a:lnTo>
                  <a:pt x="594" y="264"/>
                </a:lnTo>
                <a:lnTo>
                  <a:pt x="594" y="270"/>
                </a:lnTo>
                <a:lnTo>
                  <a:pt x="594" y="276"/>
                </a:lnTo>
                <a:lnTo>
                  <a:pt x="600" y="276"/>
                </a:lnTo>
                <a:lnTo>
                  <a:pt x="600" y="282"/>
                </a:lnTo>
                <a:lnTo>
                  <a:pt x="600" y="288"/>
                </a:lnTo>
                <a:lnTo>
                  <a:pt x="600" y="294"/>
                </a:lnTo>
                <a:lnTo>
                  <a:pt x="600" y="300"/>
                </a:lnTo>
                <a:lnTo>
                  <a:pt x="600" y="306"/>
                </a:lnTo>
                <a:lnTo>
                  <a:pt x="600" y="312"/>
                </a:lnTo>
                <a:lnTo>
                  <a:pt x="600" y="318"/>
                </a:lnTo>
                <a:lnTo>
                  <a:pt x="600" y="324"/>
                </a:lnTo>
                <a:lnTo>
                  <a:pt x="600" y="330"/>
                </a:lnTo>
                <a:lnTo>
                  <a:pt x="606" y="330"/>
                </a:lnTo>
                <a:lnTo>
                  <a:pt x="606" y="336"/>
                </a:lnTo>
                <a:lnTo>
                  <a:pt x="606" y="342"/>
                </a:lnTo>
                <a:lnTo>
                  <a:pt x="606" y="348"/>
                </a:lnTo>
                <a:lnTo>
                  <a:pt x="606" y="354"/>
                </a:lnTo>
                <a:lnTo>
                  <a:pt x="606" y="360"/>
                </a:lnTo>
                <a:lnTo>
                  <a:pt x="606" y="366"/>
                </a:lnTo>
                <a:lnTo>
                  <a:pt x="606" y="372"/>
                </a:lnTo>
                <a:lnTo>
                  <a:pt x="606" y="378"/>
                </a:lnTo>
                <a:lnTo>
                  <a:pt x="606" y="384"/>
                </a:lnTo>
                <a:lnTo>
                  <a:pt x="612" y="390"/>
                </a:lnTo>
                <a:lnTo>
                  <a:pt x="612" y="396"/>
                </a:lnTo>
                <a:lnTo>
                  <a:pt x="612" y="402"/>
                </a:lnTo>
                <a:lnTo>
                  <a:pt x="612" y="408"/>
                </a:lnTo>
                <a:lnTo>
                  <a:pt x="612" y="420"/>
                </a:lnTo>
                <a:lnTo>
                  <a:pt x="612" y="432"/>
                </a:lnTo>
                <a:lnTo>
                  <a:pt x="612" y="438"/>
                </a:lnTo>
                <a:lnTo>
                  <a:pt x="612" y="444"/>
                </a:lnTo>
                <a:lnTo>
                  <a:pt x="618" y="444"/>
                </a:lnTo>
                <a:lnTo>
                  <a:pt x="618" y="450"/>
                </a:lnTo>
                <a:lnTo>
                  <a:pt x="618" y="456"/>
                </a:lnTo>
                <a:lnTo>
                  <a:pt x="618" y="462"/>
                </a:lnTo>
                <a:lnTo>
                  <a:pt x="618" y="468"/>
                </a:lnTo>
                <a:lnTo>
                  <a:pt x="618" y="474"/>
                </a:lnTo>
                <a:lnTo>
                  <a:pt x="618" y="480"/>
                </a:lnTo>
                <a:lnTo>
                  <a:pt x="618" y="486"/>
                </a:lnTo>
                <a:lnTo>
                  <a:pt x="618" y="492"/>
                </a:lnTo>
                <a:lnTo>
                  <a:pt x="618" y="498"/>
                </a:lnTo>
                <a:lnTo>
                  <a:pt x="624" y="498"/>
                </a:lnTo>
                <a:lnTo>
                  <a:pt x="624" y="504"/>
                </a:lnTo>
                <a:lnTo>
                  <a:pt x="624" y="510"/>
                </a:lnTo>
                <a:lnTo>
                  <a:pt x="624" y="516"/>
                </a:lnTo>
                <a:lnTo>
                  <a:pt x="624" y="522"/>
                </a:lnTo>
                <a:lnTo>
                  <a:pt x="624" y="528"/>
                </a:lnTo>
                <a:lnTo>
                  <a:pt x="624" y="534"/>
                </a:lnTo>
                <a:lnTo>
                  <a:pt x="624" y="540"/>
                </a:lnTo>
                <a:lnTo>
                  <a:pt x="624" y="546"/>
                </a:lnTo>
                <a:lnTo>
                  <a:pt x="624" y="552"/>
                </a:lnTo>
                <a:lnTo>
                  <a:pt x="630" y="558"/>
                </a:lnTo>
                <a:lnTo>
                  <a:pt x="630" y="564"/>
                </a:lnTo>
                <a:lnTo>
                  <a:pt x="630" y="570"/>
                </a:lnTo>
                <a:lnTo>
                  <a:pt x="630" y="576"/>
                </a:lnTo>
                <a:lnTo>
                  <a:pt x="630" y="582"/>
                </a:lnTo>
                <a:lnTo>
                  <a:pt x="630" y="588"/>
                </a:lnTo>
                <a:lnTo>
                  <a:pt x="630" y="594"/>
                </a:lnTo>
                <a:lnTo>
                  <a:pt x="630" y="600"/>
                </a:lnTo>
                <a:lnTo>
                  <a:pt x="630" y="606"/>
                </a:lnTo>
                <a:lnTo>
                  <a:pt x="630" y="612"/>
                </a:lnTo>
                <a:lnTo>
                  <a:pt x="636" y="618"/>
                </a:lnTo>
                <a:lnTo>
                  <a:pt x="636" y="624"/>
                </a:lnTo>
                <a:lnTo>
                  <a:pt x="636" y="648"/>
                </a:lnTo>
                <a:lnTo>
                  <a:pt x="654" y="654"/>
                </a:lnTo>
                <a:lnTo>
                  <a:pt x="648" y="672"/>
                </a:lnTo>
                <a:lnTo>
                  <a:pt x="648" y="678"/>
                </a:lnTo>
                <a:lnTo>
                  <a:pt x="648" y="684"/>
                </a:lnTo>
                <a:lnTo>
                  <a:pt x="648" y="690"/>
                </a:lnTo>
                <a:lnTo>
                  <a:pt x="642" y="690"/>
                </a:lnTo>
                <a:lnTo>
                  <a:pt x="642" y="696"/>
                </a:lnTo>
                <a:lnTo>
                  <a:pt x="642" y="702"/>
                </a:lnTo>
                <a:lnTo>
                  <a:pt x="636" y="702"/>
                </a:lnTo>
                <a:lnTo>
                  <a:pt x="630" y="702"/>
                </a:lnTo>
                <a:lnTo>
                  <a:pt x="624" y="702"/>
                </a:lnTo>
                <a:lnTo>
                  <a:pt x="618" y="702"/>
                </a:lnTo>
                <a:lnTo>
                  <a:pt x="612" y="702"/>
                </a:lnTo>
                <a:lnTo>
                  <a:pt x="606" y="702"/>
                </a:lnTo>
                <a:lnTo>
                  <a:pt x="600" y="702"/>
                </a:lnTo>
                <a:lnTo>
                  <a:pt x="594" y="702"/>
                </a:lnTo>
                <a:lnTo>
                  <a:pt x="588" y="702"/>
                </a:lnTo>
                <a:lnTo>
                  <a:pt x="582" y="702"/>
                </a:lnTo>
                <a:lnTo>
                  <a:pt x="576" y="702"/>
                </a:lnTo>
                <a:lnTo>
                  <a:pt x="570" y="702"/>
                </a:lnTo>
                <a:lnTo>
                  <a:pt x="564" y="702"/>
                </a:lnTo>
                <a:lnTo>
                  <a:pt x="552" y="702"/>
                </a:lnTo>
                <a:lnTo>
                  <a:pt x="546" y="702"/>
                </a:lnTo>
                <a:lnTo>
                  <a:pt x="540" y="702"/>
                </a:lnTo>
                <a:lnTo>
                  <a:pt x="534" y="702"/>
                </a:lnTo>
                <a:lnTo>
                  <a:pt x="522" y="702"/>
                </a:lnTo>
                <a:lnTo>
                  <a:pt x="516" y="702"/>
                </a:lnTo>
                <a:lnTo>
                  <a:pt x="510" y="702"/>
                </a:lnTo>
                <a:lnTo>
                  <a:pt x="504" y="702"/>
                </a:lnTo>
                <a:lnTo>
                  <a:pt x="498" y="702"/>
                </a:lnTo>
                <a:lnTo>
                  <a:pt x="492" y="702"/>
                </a:lnTo>
                <a:lnTo>
                  <a:pt x="486" y="702"/>
                </a:lnTo>
                <a:lnTo>
                  <a:pt x="480" y="702"/>
                </a:lnTo>
                <a:lnTo>
                  <a:pt x="474" y="702"/>
                </a:lnTo>
                <a:lnTo>
                  <a:pt x="468" y="702"/>
                </a:lnTo>
                <a:lnTo>
                  <a:pt x="462" y="702"/>
                </a:lnTo>
                <a:lnTo>
                  <a:pt x="456" y="702"/>
                </a:lnTo>
                <a:lnTo>
                  <a:pt x="450" y="702"/>
                </a:lnTo>
                <a:lnTo>
                  <a:pt x="444" y="702"/>
                </a:lnTo>
                <a:lnTo>
                  <a:pt x="438" y="702"/>
                </a:lnTo>
                <a:lnTo>
                  <a:pt x="432" y="702"/>
                </a:lnTo>
                <a:lnTo>
                  <a:pt x="426" y="702"/>
                </a:lnTo>
                <a:lnTo>
                  <a:pt x="432" y="696"/>
                </a:lnTo>
                <a:lnTo>
                  <a:pt x="426" y="690"/>
                </a:lnTo>
                <a:lnTo>
                  <a:pt x="426" y="696"/>
                </a:lnTo>
                <a:lnTo>
                  <a:pt x="420" y="696"/>
                </a:lnTo>
                <a:lnTo>
                  <a:pt x="426" y="702"/>
                </a:lnTo>
                <a:lnTo>
                  <a:pt x="426" y="708"/>
                </a:lnTo>
                <a:lnTo>
                  <a:pt x="420" y="708"/>
                </a:lnTo>
                <a:lnTo>
                  <a:pt x="414" y="708"/>
                </a:lnTo>
                <a:lnTo>
                  <a:pt x="408" y="708"/>
                </a:lnTo>
                <a:lnTo>
                  <a:pt x="402" y="708"/>
                </a:lnTo>
                <a:lnTo>
                  <a:pt x="402" y="714"/>
                </a:lnTo>
                <a:lnTo>
                  <a:pt x="396" y="714"/>
                </a:lnTo>
                <a:lnTo>
                  <a:pt x="390" y="714"/>
                </a:lnTo>
                <a:lnTo>
                  <a:pt x="384" y="714"/>
                </a:lnTo>
                <a:lnTo>
                  <a:pt x="384" y="708"/>
                </a:lnTo>
                <a:lnTo>
                  <a:pt x="378" y="708"/>
                </a:lnTo>
                <a:lnTo>
                  <a:pt x="372" y="708"/>
                </a:lnTo>
                <a:lnTo>
                  <a:pt x="366" y="708"/>
                </a:lnTo>
                <a:lnTo>
                  <a:pt x="360" y="708"/>
                </a:lnTo>
                <a:lnTo>
                  <a:pt x="354" y="708"/>
                </a:lnTo>
                <a:lnTo>
                  <a:pt x="354" y="714"/>
                </a:lnTo>
                <a:lnTo>
                  <a:pt x="348" y="714"/>
                </a:lnTo>
                <a:lnTo>
                  <a:pt x="348" y="720"/>
                </a:lnTo>
                <a:lnTo>
                  <a:pt x="342" y="720"/>
                </a:lnTo>
                <a:lnTo>
                  <a:pt x="342" y="726"/>
                </a:lnTo>
                <a:lnTo>
                  <a:pt x="342" y="720"/>
                </a:lnTo>
                <a:lnTo>
                  <a:pt x="336" y="720"/>
                </a:lnTo>
                <a:lnTo>
                  <a:pt x="330" y="714"/>
                </a:lnTo>
                <a:lnTo>
                  <a:pt x="324" y="714"/>
                </a:lnTo>
                <a:lnTo>
                  <a:pt x="324" y="708"/>
                </a:lnTo>
                <a:lnTo>
                  <a:pt x="318" y="708"/>
                </a:lnTo>
                <a:lnTo>
                  <a:pt x="318" y="702"/>
                </a:lnTo>
                <a:lnTo>
                  <a:pt x="312" y="696"/>
                </a:lnTo>
                <a:lnTo>
                  <a:pt x="306" y="696"/>
                </a:lnTo>
                <a:lnTo>
                  <a:pt x="306" y="702"/>
                </a:lnTo>
                <a:lnTo>
                  <a:pt x="300" y="702"/>
                </a:lnTo>
                <a:lnTo>
                  <a:pt x="294" y="702"/>
                </a:lnTo>
                <a:lnTo>
                  <a:pt x="294" y="708"/>
                </a:lnTo>
                <a:lnTo>
                  <a:pt x="294" y="714"/>
                </a:lnTo>
                <a:lnTo>
                  <a:pt x="294" y="720"/>
                </a:lnTo>
                <a:lnTo>
                  <a:pt x="288" y="720"/>
                </a:lnTo>
                <a:lnTo>
                  <a:pt x="288" y="726"/>
                </a:lnTo>
                <a:lnTo>
                  <a:pt x="288" y="732"/>
                </a:lnTo>
                <a:lnTo>
                  <a:pt x="294" y="732"/>
                </a:lnTo>
                <a:lnTo>
                  <a:pt x="288" y="738"/>
                </a:lnTo>
                <a:lnTo>
                  <a:pt x="294" y="738"/>
                </a:lnTo>
                <a:lnTo>
                  <a:pt x="288" y="738"/>
                </a:lnTo>
                <a:lnTo>
                  <a:pt x="288" y="744"/>
                </a:lnTo>
                <a:lnTo>
                  <a:pt x="282" y="744"/>
                </a:lnTo>
                <a:lnTo>
                  <a:pt x="276" y="744"/>
                </a:lnTo>
                <a:lnTo>
                  <a:pt x="276" y="750"/>
                </a:lnTo>
                <a:lnTo>
                  <a:pt x="276" y="744"/>
                </a:lnTo>
                <a:lnTo>
                  <a:pt x="270" y="744"/>
                </a:lnTo>
                <a:lnTo>
                  <a:pt x="264" y="744"/>
                </a:lnTo>
                <a:close/>
                <a:moveTo>
                  <a:pt x="30" y="462"/>
                </a:moveTo>
                <a:lnTo>
                  <a:pt x="36" y="456"/>
                </a:lnTo>
                <a:lnTo>
                  <a:pt x="36" y="450"/>
                </a:lnTo>
                <a:lnTo>
                  <a:pt x="36" y="456"/>
                </a:lnTo>
                <a:lnTo>
                  <a:pt x="36" y="462"/>
                </a:lnTo>
                <a:lnTo>
                  <a:pt x="30" y="462"/>
                </a:lnTo>
                <a:lnTo>
                  <a:pt x="36" y="462"/>
                </a:lnTo>
                <a:lnTo>
                  <a:pt x="30" y="462"/>
                </a:lnTo>
                <a:close/>
                <a:moveTo>
                  <a:pt x="36" y="456"/>
                </a:moveTo>
                <a:lnTo>
                  <a:pt x="42" y="456"/>
                </a:lnTo>
                <a:lnTo>
                  <a:pt x="42" y="468"/>
                </a:lnTo>
                <a:lnTo>
                  <a:pt x="36" y="468"/>
                </a:lnTo>
                <a:lnTo>
                  <a:pt x="36" y="456"/>
                </a:lnTo>
                <a:close/>
                <a:moveTo>
                  <a:pt x="30" y="402"/>
                </a:moveTo>
                <a:lnTo>
                  <a:pt x="30" y="408"/>
                </a:lnTo>
                <a:lnTo>
                  <a:pt x="31" y="408"/>
                </a:lnTo>
                <a:lnTo>
                  <a:pt x="30" y="402"/>
                </a:lnTo>
                <a:close/>
                <a:moveTo>
                  <a:pt x="30" y="456"/>
                </a:moveTo>
                <a:lnTo>
                  <a:pt x="30" y="462"/>
                </a:lnTo>
                <a:lnTo>
                  <a:pt x="31" y="462"/>
                </a:lnTo>
                <a:lnTo>
                  <a:pt x="30" y="456"/>
                </a:lnTo>
                <a:close/>
                <a:moveTo>
                  <a:pt x="36" y="456"/>
                </a:moveTo>
                <a:lnTo>
                  <a:pt x="42" y="456"/>
                </a:lnTo>
                <a:lnTo>
                  <a:pt x="42" y="462"/>
                </a:lnTo>
                <a:lnTo>
                  <a:pt x="36" y="462"/>
                </a:lnTo>
                <a:lnTo>
                  <a:pt x="36" y="456"/>
                </a:lnTo>
                <a:close/>
                <a:moveTo>
                  <a:pt x="30" y="402"/>
                </a:moveTo>
                <a:lnTo>
                  <a:pt x="30" y="408"/>
                </a:lnTo>
                <a:lnTo>
                  <a:pt x="31" y="408"/>
                </a:lnTo>
                <a:lnTo>
                  <a:pt x="30" y="402"/>
                </a:lnTo>
                <a:close/>
              </a:path>
            </a:pathLst>
          </a:custGeom>
          <a:solidFill>
            <a:srgbClr val="0070C0"/>
          </a:solidFill>
          <a:ln w="9525" cap="flat" cmpd="sng">
            <a:solidFill>
              <a:schemeClr val="bg1"/>
            </a:solidFill>
            <a:prstDash val="solid"/>
            <a:round/>
            <a:headEnd type="none" w="med" len="med"/>
            <a:tailEnd type="none" w="med" len="med"/>
          </a:ln>
          <a:effectLst/>
        </p:spPr>
        <p:txBody>
          <a:bodyPr/>
          <a:lstStyle/>
          <a:p>
            <a:endParaRPr lang="en-CA" sz="612"/>
          </a:p>
        </p:txBody>
      </p:sp>
      <p:sp>
        <p:nvSpPr>
          <p:cNvPr id="22" name="Freeform 12">
            <a:extLst>
              <a:ext uri="{FF2B5EF4-FFF2-40B4-BE49-F238E27FC236}">
                <a16:creationId xmlns:a16="http://schemas.microsoft.com/office/drawing/2014/main" id="{D9F8136E-6FC0-FF4C-BD72-4C015244AF4F}"/>
              </a:ext>
            </a:extLst>
          </p:cNvPr>
          <p:cNvSpPr>
            <a:spLocks/>
          </p:cNvSpPr>
          <p:nvPr>
            <p:custDataLst>
              <p:tags r:id="rId11"/>
            </p:custDataLst>
          </p:nvPr>
        </p:nvSpPr>
        <p:spPr bwMode="gray">
          <a:xfrm>
            <a:off x="2762437" y="3298768"/>
            <a:ext cx="1055780" cy="750973"/>
          </a:xfrm>
          <a:custGeom>
            <a:avLst/>
            <a:gdLst>
              <a:gd name="T0" fmla="*/ 228652 w 918"/>
              <a:gd name="T1" fmla="*/ 209550 h 870"/>
              <a:gd name="T2" fmla="*/ 204430 w 918"/>
              <a:gd name="T3" fmla="*/ 222162 h 870"/>
              <a:gd name="T4" fmla="*/ 189897 w 918"/>
              <a:gd name="T5" fmla="*/ 228953 h 870"/>
              <a:gd name="T6" fmla="*/ 179240 w 918"/>
              <a:gd name="T7" fmla="*/ 239624 h 870"/>
              <a:gd name="T8" fmla="*/ 165675 w 918"/>
              <a:gd name="T9" fmla="*/ 245446 h 870"/>
              <a:gd name="T10" fmla="*/ 157925 w 918"/>
              <a:gd name="T11" fmla="*/ 252236 h 870"/>
              <a:gd name="T12" fmla="*/ 155987 w 918"/>
              <a:gd name="T13" fmla="*/ 266788 h 870"/>
              <a:gd name="T14" fmla="*/ 140485 w 918"/>
              <a:gd name="T15" fmla="*/ 273580 h 870"/>
              <a:gd name="T16" fmla="*/ 140485 w 918"/>
              <a:gd name="T17" fmla="*/ 282311 h 870"/>
              <a:gd name="T18" fmla="*/ 134672 w 918"/>
              <a:gd name="T19" fmla="*/ 296863 h 870"/>
              <a:gd name="T20" fmla="*/ 125952 w 918"/>
              <a:gd name="T21" fmla="*/ 309474 h 870"/>
              <a:gd name="T22" fmla="*/ 120139 w 918"/>
              <a:gd name="T23" fmla="*/ 298803 h 870"/>
              <a:gd name="T24" fmla="*/ 110451 w 918"/>
              <a:gd name="T25" fmla="*/ 305594 h 870"/>
              <a:gd name="T26" fmla="*/ 95917 w 918"/>
              <a:gd name="T27" fmla="*/ 303654 h 870"/>
              <a:gd name="T28" fmla="*/ 81384 w 918"/>
              <a:gd name="T29" fmla="*/ 305594 h 870"/>
              <a:gd name="T30" fmla="*/ 72665 w 918"/>
              <a:gd name="T31" fmla="*/ 292982 h 870"/>
              <a:gd name="T32" fmla="*/ 70727 w 918"/>
              <a:gd name="T33" fmla="*/ 282311 h 870"/>
              <a:gd name="T34" fmla="*/ 67821 w 918"/>
              <a:gd name="T35" fmla="*/ 268729 h 870"/>
              <a:gd name="T36" fmla="*/ 60069 w 918"/>
              <a:gd name="T37" fmla="*/ 264848 h 870"/>
              <a:gd name="T38" fmla="*/ 44568 w 918"/>
              <a:gd name="T39" fmla="*/ 268729 h 870"/>
              <a:gd name="T40" fmla="*/ 31972 w 918"/>
              <a:gd name="T41" fmla="*/ 273580 h 870"/>
              <a:gd name="T42" fmla="*/ 19377 w 918"/>
              <a:gd name="T43" fmla="*/ 273580 h 870"/>
              <a:gd name="T44" fmla="*/ 19377 w 918"/>
              <a:gd name="T45" fmla="*/ 264848 h 870"/>
              <a:gd name="T46" fmla="*/ 17439 w 918"/>
              <a:gd name="T47" fmla="*/ 254177 h 870"/>
              <a:gd name="T48" fmla="*/ 6782 w 918"/>
              <a:gd name="T49" fmla="*/ 241565 h 870"/>
              <a:gd name="T50" fmla="*/ 1938 w 918"/>
              <a:gd name="T51" fmla="*/ 222162 h 870"/>
              <a:gd name="T52" fmla="*/ 10657 w 918"/>
              <a:gd name="T53" fmla="*/ 213431 h 870"/>
              <a:gd name="T54" fmla="*/ 14533 w 918"/>
              <a:gd name="T55" fmla="*/ 198879 h 870"/>
              <a:gd name="T56" fmla="*/ 30035 w 918"/>
              <a:gd name="T57" fmla="*/ 204700 h 870"/>
              <a:gd name="T58" fmla="*/ 49412 w 918"/>
              <a:gd name="T59" fmla="*/ 202759 h 870"/>
              <a:gd name="T60" fmla="*/ 62007 w 918"/>
              <a:gd name="T61" fmla="*/ 200819 h 870"/>
              <a:gd name="T62" fmla="*/ 87198 w 918"/>
              <a:gd name="T63" fmla="*/ 200819 h 870"/>
              <a:gd name="T64" fmla="*/ 117233 w 918"/>
              <a:gd name="T65" fmla="*/ 200819 h 870"/>
              <a:gd name="T66" fmla="*/ 136610 w 918"/>
              <a:gd name="T67" fmla="*/ 194998 h 870"/>
              <a:gd name="T68" fmla="*/ 129828 w 918"/>
              <a:gd name="T69" fmla="*/ 158133 h 870"/>
              <a:gd name="T70" fmla="*/ 127890 w 918"/>
              <a:gd name="T71" fmla="*/ 131939 h 870"/>
              <a:gd name="T72" fmla="*/ 125952 w 918"/>
              <a:gd name="T73" fmla="*/ 108655 h 870"/>
              <a:gd name="T74" fmla="*/ 121108 w 918"/>
              <a:gd name="T75" fmla="*/ 81491 h 870"/>
              <a:gd name="T76" fmla="*/ 120139 w 918"/>
              <a:gd name="T77" fmla="*/ 57238 h 870"/>
              <a:gd name="T78" fmla="*/ 117233 w 918"/>
              <a:gd name="T79" fmla="*/ 33955 h 870"/>
              <a:gd name="T80" fmla="*/ 115295 w 918"/>
              <a:gd name="T81" fmla="*/ 0 h 870"/>
              <a:gd name="T82" fmla="*/ 140485 w 918"/>
              <a:gd name="T83" fmla="*/ 0 h 870"/>
              <a:gd name="T84" fmla="*/ 164707 w 918"/>
              <a:gd name="T85" fmla="*/ 12612 h 870"/>
              <a:gd name="T86" fmla="*/ 184084 w 918"/>
              <a:gd name="T87" fmla="*/ 26194 h 870"/>
              <a:gd name="T88" fmla="*/ 200555 w 918"/>
              <a:gd name="T89" fmla="*/ 36865 h 870"/>
              <a:gd name="T90" fmla="*/ 217995 w 918"/>
              <a:gd name="T91" fmla="*/ 49477 h 870"/>
              <a:gd name="T92" fmla="*/ 234465 w 918"/>
              <a:gd name="T93" fmla="*/ 62089 h 870"/>
              <a:gd name="T94" fmla="*/ 251904 w 918"/>
              <a:gd name="T95" fmla="*/ 74701 h 870"/>
              <a:gd name="T96" fmla="*/ 266437 w 918"/>
              <a:gd name="T97" fmla="*/ 91193 h 870"/>
              <a:gd name="T98" fmla="*/ 279033 w 918"/>
              <a:gd name="T99" fmla="*/ 100895 h 870"/>
              <a:gd name="T100" fmla="*/ 298410 w 918"/>
              <a:gd name="T101" fmla="*/ 106715 h 870"/>
              <a:gd name="T102" fmla="*/ 307130 w 918"/>
              <a:gd name="T103" fmla="*/ 124178 h 870"/>
              <a:gd name="T104" fmla="*/ 322631 w 918"/>
              <a:gd name="T105" fmla="*/ 128058 h 870"/>
              <a:gd name="T106" fmla="*/ 326507 w 918"/>
              <a:gd name="T107" fmla="*/ 145521 h 870"/>
              <a:gd name="T108" fmla="*/ 326507 w 918"/>
              <a:gd name="T109" fmla="*/ 170745 h 870"/>
              <a:gd name="T110" fmla="*/ 319725 w 918"/>
              <a:gd name="T111" fmla="*/ 194998 h 870"/>
              <a:gd name="T112" fmla="*/ 305192 w 918"/>
              <a:gd name="T113" fmla="*/ 204700 h 870"/>
              <a:gd name="T114" fmla="*/ 279033 w 918"/>
              <a:gd name="T115" fmla="*/ 204700 h 870"/>
              <a:gd name="T116" fmla="*/ 259656 w 918"/>
              <a:gd name="T117" fmla="*/ 211490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18" h="870">
                <a:moveTo>
                  <a:pt x="696" y="594"/>
                </a:moveTo>
                <a:lnTo>
                  <a:pt x="690" y="594"/>
                </a:lnTo>
                <a:lnTo>
                  <a:pt x="684" y="594"/>
                </a:lnTo>
                <a:lnTo>
                  <a:pt x="678" y="594"/>
                </a:lnTo>
                <a:lnTo>
                  <a:pt x="672" y="594"/>
                </a:lnTo>
                <a:lnTo>
                  <a:pt x="672" y="588"/>
                </a:lnTo>
                <a:lnTo>
                  <a:pt x="666" y="594"/>
                </a:lnTo>
                <a:lnTo>
                  <a:pt x="660" y="594"/>
                </a:lnTo>
                <a:lnTo>
                  <a:pt x="660" y="588"/>
                </a:lnTo>
                <a:lnTo>
                  <a:pt x="654" y="588"/>
                </a:lnTo>
                <a:lnTo>
                  <a:pt x="648" y="588"/>
                </a:lnTo>
                <a:lnTo>
                  <a:pt x="642" y="588"/>
                </a:lnTo>
                <a:lnTo>
                  <a:pt x="642" y="594"/>
                </a:lnTo>
                <a:lnTo>
                  <a:pt x="636" y="594"/>
                </a:lnTo>
                <a:lnTo>
                  <a:pt x="636" y="600"/>
                </a:lnTo>
                <a:lnTo>
                  <a:pt x="630" y="600"/>
                </a:lnTo>
                <a:lnTo>
                  <a:pt x="630" y="606"/>
                </a:lnTo>
                <a:lnTo>
                  <a:pt x="624" y="606"/>
                </a:lnTo>
                <a:lnTo>
                  <a:pt x="618" y="606"/>
                </a:lnTo>
                <a:lnTo>
                  <a:pt x="612" y="612"/>
                </a:lnTo>
                <a:lnTo>
                  <a:pt x="594" y="618"/>
                </a:lnTo>
                <a:lnTo>
                  <a:pt x="594" y="624"/>
                </a:lnTo>
                <a:lnTo>
                  <a:pt x="588" y="624"/>
                </a:lnTo>
                <a:lnTo>
                  <a:pt x="576" y="624"/>
                </a:lnTo>
                <a:lnTo>
                  <a:pt x="576" y="630"/>
                </a:lnTo>
                <a:lnTo>
                  <a:pt x="576" y="636"/>
                </a:lnTo>
                <a:lnTo>
                  <a:pt x="570" y="636"/>
                </a:lnTo>
                <a:lnTo>
                  <a:pt x="570" y="642"/>
                </a:lnTo>
                <a:lnTo>
                  <a:pt x="564" y="642"/>
                </a:lnTo>
                <a:lnTo>
                  <a:pt x="558" y="642"/>
                </a:lnTo>
                <a:lnTo>
                  <a:pt x="558" y="636"/>
                </a:lnTo>
                <a:lnTo>
                  <a:pt x="552" y="636"/>
                </a:lnTo>
                <a:lnTo>
                  <a:pt x="546" y="636"/>
                </a:lnTo>
                <a:lnTo>
                  <a:pt x="540" y="636"/>
                </a:lnTo>
                <a:lnTo>
                  <a:pt x="540" y="642"/>
                </a:lnTo>
                <a:lnTo>
                  <a:pt x="534" y="642"/>
                </a:lnTo>
                <a:lnTo>
                  <a:pt x="534" y="648"/>
                </a:lnTo>
                <a:lnTo>
                  <a:pt x="528" y="648"/>
                </a:lnTo>
                <a:lnTo>
                  <a:pt x="528" y="654"/>
                </a:lnTo>
                <a:lnTo>
                  <a:pt x="522" y="654"/>
                </a:lnTo>
                <a:lnTo>
                  <a:pt x="522" y="660"/>
                </a:lnTo>
                <a:lnTo>
                  <a:pt x="522" y="666"/>
                </a:lnTo>
                <a:lnTo>
                  <a:pt x="522" y="672"/>
                </a:lnTo>
                <a:lnTo>
                  <a:pt x="516" y="672"/>
                </a:lnTo>
                <a:lnTo>
                  <a:pt x="510" y="672"/>
                </a:lnTo>
                <a:lnTo>
                  <a:pt x="504" y="672"/>
                </a:lnTo>
                <a:lnTo>
                  <a:pt x="504" y="666"/>
                </a:lnTo>
                <a:lnTo>
                  <a:pt x="504" y="672"/>
                </a:lnTo>
                <a:lnTo>
                  <a:pt x="504" y="678"/>
                </a:lnTo>
                <a:lnTo>
                  <a:pt x="504" y="684"/>
                </a:lnTo>
                <a:lnTo>
                  <a:pt x="504" y="690"/>
                </a:lnTo>
                <a:lnTo>
                  <a:pt x="504" y="696"/>
                </a:lnTo>
                <a:lnTo>
                  <a:pt x="498" y="696"/>
                </a:lnTo>
                <a:lnTo>
                  <a:pt x="492" y="696"/>
                </a:lnTo>
                <a:lnTo>
                  <a:pt x="492" y="702"/>
                </a:lnTo>
                <a:lnTo>
                  <a:pt x="486" y="702"/>
                </a:lnTo>
                <a:lnTo>
                  <a:pt x="486" y="696"/>
                </a:lnTo>
                <a:lnTo>
                  <a:pt x="480" y="696"/>
                </a:lnTo>
                <a:lnTo>
                  <a:pt x="474" y="690"/>
                </a:lnTo>
                <a:lnTo>
                  <a:pt x="468" y="690"/>
                </a:lnTo>
                <a:lnTo>
                  <a:pt x="462" y="690"/>
                </a:lnTo>
                <a:lnTo>
                  <a:pt x="462" y="684"/>
                </a:lnTo>
                <a:lnTo>
                  <a:pt x="468" y="684"/>
                </a:lnTo>
                <a:lnTo>
                  <a:pt x="462" y="684"/>
                </a:lnTo>
                <a:lnTo>
                  <a:pt x="462" y="678"/>
                </a:lnTo>
                <a:lnTo>
                  <a:pt x="462" y="684"/>
                </a:lnTo>
                <a:lnTo>
                  <a:pt x="456" y="684"/>
                </a:lnTo>
                <a:lnTo>
                  <a:pt x="456" y="690"/>
                </a:lnTo>
                <a:lnTo>
                  <a:pt x="450" y="696"/>
                </a:lnTo>
                <a:lnTo>
                  <a:pt x="450" y="702"/>
                </a:lnTo>
                <a:lnTo>
                  <a:pt x="444" y="702"/>
                </a:lnTo>
                <a:lnTo>
                  <a:pt x="444" y="708"/>
                </a:lnTo>
                <a:lnTo>
                  <a:pt x="450" y="708"/>
                </a:lnTo>
                <a:lnTo>
                  <a:pt x="450" y="714"/>
                </a:lnTo>
                <a:lnTo>
                  <a:pt x="450" y="720"/>
                </a:lnTo>
                <a:lnTo>
                  <a:pt x="450" y="726"/>
                </a:lnTo>
                <a:lnTo>
                  <a:pt x="444" y="726"/>
                </a:lnTo>
                <a:lnTo>
                  <a:pt x="438" y="726"/>
                </a:lnTo>
                <a:lnTo>
                  <a:pt x="432" y="726"/>
                </a:lnTo>
                <a:lnTo>
                  <a:pt x="432" y="732"/>
                </a:lnTo>
                <a:lnTo>
                  <a:pt x="438" y="732"/>
                </a:lnTo>
                <a:lnTo>
                  <a:pt x="438" y="738"/>
                </a:lnTo>
                <a:lnTo>
                  <a:pt x="438" y="744"/>
                </a:lnTo>
                <a:lnTo>
                  <a:pt x="438" y="750"/>
                </a:lnTo>
                <a:lnTo>
                  <a:pt x="432" y="750"/>
                </a:lnTo>
                <a:lnTo>
                  <a:pt x="432" y="756"/>
                </a:lnTo>
                <a:lnTo>
                  <a:pt x="426" y="756"/>
                </a:lnTo>
                <a:lnTo>
                  <a:pt x="432" y="756"/>
                </a:lnTo>
                <a:lnTo>
                  <a:pt x="432" y="762"/>
                </a:lnTo>
                <a:lnTo>
                  <a:pt x="426" y="762"/>
                </a:lnTo>
                <a:lnTo>
                  <a:pt x="420" y="762"/>
                </a:lnTo>
                <a:lnTo>
                  <a:pt x="420" y="768"/>
                </a:lnTo>
                <a:lnTo>
                  <a:pt x="414" y="768"/>
                </a:lnTo>
                <a:lnTo>
                  <a:pt x="408" y="768"/>
                </a:lnTo>
                <a:lnTo>
                  <a:pt x="402" y="768"/>
                </a:lnTo>
                <a:lnTo>
                  <a:pt x="396" y="768"/>
                </a:lnTo>
                <a:lnTo>
                  <a:pt x="396" y="774"/>
                </a:lnTo>
                <a:lnTo>
                  <a:pt x="390" y="774"/>
                </a:lnTo>
                <a:lnTo>
                  <a:pt x="384" y="774"/>
                </a:lnTo>
                <a:lnTo>
                  <a:pt x="384" y="780"/>
                </a:lnTo>
                <a:lnTo>
                  <a:pt x="384" y="774"/>
                </a:lnTo>
                <a:lnTo>
                  <a:pt x="384" y="780"/>
                </a:lnTo>
                <a:lnTo>
                  <a:pt x="390" y="780"/>
                </a:lnTo>
                <a:lnTo>
                  <a:pt x="390" y="786"/>
                </a:lnTo>
                <a:lnTo>
                  <a:pt x="390" y="792"/>
                </a:lnTo>
                <a:lnTo>
                  <a:pt x="390" y="786"/>
                </a:lnTo>
                <a:lnTo>
                  <a:pt x="390" y="792"/>
                </a:lnTo>
                <a:lnTo>
                  <a:pt x="396" y="792"/>
                </a:lnTo>
                <a:lnTo>
                  <a:pt x="396" y="798"/>
                </a:lnTo>
                <a:lnTo>
                  <a:pt x="396" y="804"/>
                </a:lnTo>
                <a:lnTo>
                  <a:pt x="390" y="804"/>
                </a:lnTo>
                <a:lnTo>
                  <a:pt x="390" y="810"/>
                </a:lnTo>
                <a:lnTo>
                  <a:pt x="390" y="816"/>
                </a:lnTo>
                <a:lnTo>
                  <a:pt x="384" y="816"/>
                </a:lnTo>
                <a:lnTo>
                  <a:pt x="378" y="816"/>
                </a:lnTo>
                <a:lnTo>
                  <a:pt x="378" y="822"/>
                </a:lnTo>
                <a:lnTo>
                  <a:pt x="378" y="828"/>
                </a:lnTo>
                <a:lnTo>
                  <a:pt x="384" y="828"/>
                </a:lnTo>
                <a:lnTo>
                  <a:pt x="384" y="834"/>
                </a:lnTo>
                <a:lnTo>
                  <a:pt x="378" y="834"/>
                </a:lnTo>
                <a:lnTo>
                  <a:pt x="378" y="840"/>
                </a:lnTo>
                <a:lnTo>
                  <a:pt x="378" y="846"/>
                </a:lnTo>
                <a:lnTo>
                  <a:pt x="378" y="852"/>
                </a:lnTo>
                <a:lnTo>
                  <a:pt x="378" y="858"/>
                </a:lnTo>
                <a:lnTo>
                  <a:pt x="378" y="852"/>
                </a:lnTo>
                <a:lnTo>
                  <a:pt x="372" y="852"/>
                </a:lnTo>
                <a:lnTo>
                  <a:pt x="366" y="852"/>
                </a:lnTo>
                <a:lnTo>
                  <a:pt x="366" y="858"/>
                </a:lnTo>
                <a:lnTo>
                  <a:pt x="360" y="858"/>
                </a:lnTo>
                <a:lnTo>
                  <a:pt x="354" y="858"/>
                </a:lnTo>
                <a:lnTo>
                  <a:pt x="354" y="864"/>
                </a:lnTo>
                <a:lnTo>
                  <a:pt x="354" y="870"/>
                </a:lnTo>
                <a:lnTo>
                  <a:pt x="348" y="870"/>
                </a:lnTo>
                <a:lnTo>
                  <a:pt x="342" y="870"/>
                </a:lnTo>
                <a:lnTo>
                  <a:pt x="342" y="864"/>
                </a:lnTo>
                <a:lnTo>
                  <a:pt x="336" y="864"/>
                </a:lnTo>
                <a:lnTo>
                  <a:pt x="342" y="864"/>
                </a:lnTo>
                <a:lnTo>
                  <a:pt x="342" y="858"/>
                </a:lnTo>
                <a:lnTo>
                  <a:pt x="342" y="852"/>
                </a:lnTo>
                <a:lnTo>
                  <a:pt x="336" y="852"/>
                </a:lnTo>
                <a:lnTo>
                  <a:pt x="336" y="846"/>
                </a:lnTo>
                <a:lnTo>
                  <a:pt x="342" y="846"/>
                </a:lnTo>
                <a:lnTo>
                  <a:pt x="336" y="846"/>
                </a:lnTo>
                <a:lnTo>
                  <a:pt x="336" y="840"/>
                </a:lnTo>
                <a:lnTo>
                  <a:pt x="330" y="840"/>
                </a:lnTo>
                <a:lnTo>
                  <a:pt x="324" y="840"/>
                </a:lnTo>
                <a:lnTo>
                  <a:pt x="330" y="846"/>
                </a:lnTo>
                <a:lnTo>
                  <a:pt x="324" y="846"/>
                </a:lnTo>
                <a:lnTo>
                  <a:pt x="318" y="846"/>
                </a:lnTo>
                <a:lnTo>
                  <a:pt x="318" y="840"/>
                </a:lnTo>
                <a:lnTo>
                  <a:pt x="312" y="840"/>
                </a:lnTo>
                <a:lnTo>
                  <a:pt x="312" y="846"/>
                </a:lnTo>
                <a:lnTo>
                  <a:pt x="312" y="852"/>
                </a:lnTo>
                <a:lnTo>
                  <a:pt x="318" y="852"/>
                </a:lnTo>
                <a:lnTo>
                  <a:pt x="318" y="858"/>
                </a:lnTo>
                <a:lnTo>
                  <a:pt x="312" y="858"/>
                </a:lnTo>
                <a:lnTo>
                  <a:pt x="306" y="858"/>
                </a:lnTo>
                <a:lnTo>
                  <a:pt x="300" y="858"/>
                </a:lnTo>
                <a:lnTo>
                  <a:pt x="294" y="858"/>
                </a:lnTo>
                <a:lnTo>
                  <a:pt x="294" y="864"/>
                </a:lnTo>
                <a:lnTo>
                  <a:pt x="294" y="870"/>
                </a:lnTo>
                <a:lnTo>
                  <a:pt x="288" y="870"/>
                </a:lnTo>
                <a:lnTo>
                  <a:pt x="288" y="864"/>
                </a:lnTo>
                <a:lnTo>
                  <a:pt x="282" y="864"/>
                </a:lnTo>
                <a:lnTo>
                  <a:pt x="276" y="864"/>
                </a:lnTo>
                <a:lnTo>
                  <a:pt x="276" y="858"/>
                </a:lnTo>
                <a:lnTo>
                  <a:pt x="270" y="858"/>
                </a:lnTo>
                <a:lnTo>
                  <a:pt x="270" y="852"/>
                </a:lnTo>
                <a:lnTo>
                  <a:pt x="264" y="852"/>
                </a:lnTo>
                <a:lnTo>
                  <a:pt x="258" y="852"/>
                </a:lnTo>
                <a:lnTo>
                  <a:pt x="258" y="858"/>
                </a:lnTo>
                <a:lnTo>
                  <a:pt x="252" y="858"/>
                </a:lnTo>
                <a:lnTo>
                  <a:pt x="252" y="864"/>
                </a:lnTo>
                <a:lnTo>
                  <a:pt x="246" y="864"/>
                </a:lnTo>
                <a:lnTo>
                  <a:pt x="246" y="870"/>
                </a:lnTo>
                <a:lnTo>
                  <a:pt x="240" y="870"/>
                </a:lnTo>
                <a:lnTo>
                  <a:pt x="240" y="864"/>
                </a:lnTo>
                <a:lnTo>
                  <a:pt x="240" y="858"/>
                </a:lnTo>
                <a:lnTo>
                  <a:pt x="234" y="858"/>
                </a:lnTo>
                <a:lnTo>
                  <a:pt x="228" y="858"/>
                </a:lnTo>
                <a:lnTo>
                  <a:pt x="228" y="852"/>
                </a:lnTo>
                <a:lnTo>
                  <a:pt x="222" y="852"/>
                </a:lnTo>
                <a:lnTo>
                  <a:pt x="222" y="846"/>
                </a:lnTo>
                <a:lnTo>
                  <a:pt x="222" y="840"/>
                </a:lnTo>
                <a:lnTo>
                  <a:pt x="222" y="834"/>
                </a:lnTo>
                <a:lnTo>
                  <a:pt x="222" y="828"/>
                </a:lnTo>
                <a:lnTo>
                  <a:pt x="222" y="822"/>
                </a:lnTo>
                <a:lnTo>
                  <a:pt x="216" y="822"/>
                </a:lnTo>
                <a:lnTo>
                  <a:pt x="210" y="822"/>
                </a:lnTo>
                <a:lnTo>
                  <a:pt x="210" y="828"/>
                </a:lnTo>
                <a:lnTo>
                  <a:pt x="204" y="828"/>
                </a:lnTo>
                <a:lnTo>
                  <a:pt x="204" y="822"/>
                </a:lnTo>
                <a:lnTo>
                  <a:pt x="204" y="816"/>
                </a:lnTo>
                <a:lnTo>
                  <a:pt x="210" y="816"/>
                </a:lnTo>
                <a:lnTo>
                  <a:pt x="210" y="810"/>
                </a:lnTo>
                <a:lnTo>
                  <a:pt x="210" y="804"/>
                </a:lnTo>
                <a:lnTo>
                  <a:pt x="216" y="804"/>
                </a:lnTo>
                <a:lnTo>
                  <a:pt x="216" y="810"/>
                </a:lnTo>
                <a:lnTo>
                  <a:pt x="216" y="804"/>
                </a:lnTo>
                <a:lnTo>
                  <a:pt x="210" y="804"/>
                </a:lnTo>
                <a:lnTo>
                  <a:pt x="210" y="798"/>
                </a:lnTo>
                <a:lnTo>
                  <a:pt x="204" y="798"/>
                </a:lnTo>
                <a:lnTo>
                  <a:pt x="204" y="792"/>
                </a:lnTo>
                <a:lnTo>
                  <a:pt x="198" y="792"/>
                </a:lnTo>
                <a:lnTo>
                  <a:pt x="198" y="786"/>
                </a:lnTo>
                <a:lnTo>
                  <a:pt x="204" y="786"/>
                </a:lnTo>
                <a:lnTo>
                  <a:pt x="198" y="786"/>
                </a:lnTo>
                <a:lnTo>
                  <a:pt x="192" y="786"/>
                </a:lnTo>
                <a:lnTo>
                  <a:pt x="192" y="780"/>
                </a:lnTo>
                <a:lnTo>
                  <a:pt x="192" y="774"/>
                </a:lnTo>
                <a:lnTo>
                  <a:pt x="192" y="768"/>
                </a:lnTo>
                <a:lnTo>
                  <a:pt x="192" y="762"/>
                </a:lnTo>
                <a:lnTo>
                  <a:pt x="192" y="768"/>
                </a:lnTo>
                <a:lnTo>
                  <a:pt x="192" y="762"/>
                </a:lnTo>
                <a:lnTo>
                  <a:pt x="186" y="762"/>
                </a:lnTo>
                <a:lnTo>
                  <a:pt x="192" y="756"/>
                </a:lnTo>
                <a:lnTo>
                  <a:pt x="186" y="756"/>
                </a:lnTo>
                <a:lnTo>
                  <a:pt x="186" y="750"/>
                </a:lnTo>
                <a:lnTo>
                  <a:pt x="186" y="744"/>
                </a:lnTo>
                <a:lnTo>
                  <a:pt x="180" y="744"/>
                </a:lnTo>
                <a:lnTo>
                  <a:pt x="180" y="738"/>
                </a:lnTo>
                <a:lnTo>
                  <a:pt x="174" y="738"/>
                </a:lnTo>
                <a:lnTo>
                  <a:pt x="168" y="738"/>
                </a:lnTo>
                <a:lnTo>
                  <a:pt x="162" y="738"/>
                </a:lnTo>
                <a:lnTo>
                  <a:pt x="162" y="744"/>
                </a:lnTo>
                <a:lnTo>
                  <a:pt x="162" y="738"/>
                </a:lnTo>
                <a:lnTo>
                  <a:pt x="162" y="744"/>
                </a:lnTo>
                <a:lnTo>
                  <a:pt x="168" y="744"/>
                </a:lnTo>
                <a:lnTo>
                  <a:pt x="168" y="750"/>
                </a:lnTo>
                <a:lnTo>
                  <a:pt x="162" y="750"/>
                </a:lnTo>
                <a:lnTo>
                  <a:pt x="156" y="750"/>
                </a:lnTo>
                <a:lnTo>
                  <a:pt x="156" y="756"/>
                </a:lnTo>
                <a:lnTo>
                  <a:pt x="150" y="756"/>
                </a:lnTo>
                <a:lnTo>
                  <a:pt x="144" y="756"/>
                </a:lnTo>
                <a:lnTo>
                  <a:pt x="144" y="762"/>
                </a:lnTo>
                <a:lnTo>
                  <a:pt x="144" y="768"/>
                </a:lnTo>
                <a:lnTo>
                  <a:pt x="138" y="762"/>
                </a:lnTo>
                <a:lnTo>
                  <a:pt x="132" y="762"/>
                </a:lnTo>
                <a:lnTo>
                  <a:pt x="126" y="762"/>
                </a:lnTo>
                <a:lnTo>
                  <a:pt x="126" y="756"/>
                </a:lnTo>
                <a:lnTo>
                  <a:pt x="120" y="756"/>
                </a:lnTo>
                <a:lnTo>
                  <a:pt x="114" y="756"/>
                </a:lnTo>
                <a:lnTo>
                  <a:pt x="108" y="756"/>
                </a:lnTo>
                <a:lnTo>
                  <a:pt x="102" y="756"/>
                </a:lnTo>
                <a:lnTo>
                  <a:pt x="102" y="762"/>
                </a:lnTo>
                <a:lnTo>
                  <a:pt x="96" y="762"/>
                </a:lnTo>
                <a:lnTo>
                  <a:pt x="102" y="762"/>
                </a:lnTo>
                <a:lnTo>
                  <a:pt x="96" y="762"/>
                </a:lnTo>
                <a:lnTo>
                  <a:pt x="96" y="768"/>
                </a:lnTo>
                <a:lnTo>
                  <a:pt x="96" y="762"/>
                </a:lnTo>
                <a:lnTo>
                  <a:pt x="96" y="768"/>
                </a:lnTo>
                <a:lnTo>
                  <a:pt x="90" y="768"/>
                </a:lnTo>
                <a:lnTo>
                  <a:pt x="90" y="774"/>
                </a:lnTo>
                <a:lnTo>
                  <a:pt x="84" y="774"/>
                </a:lnTo>
                <a:lnTo>
                  <a:pt x="84" y="768"/>
                </a:lnTo>
                <a:lnTo>
                  <a:pt x="84" y="762"/>
                </a:lnTo>
                <a:lnTo>
                  <a:pt x="78" y="762"/>
                </a:lnTo>
                <a:lnTo>
                  <a:pt x="78" y="756"/>
                </a:lnTo>
                <a:lnTo>
                  <a:pt x="72" y="756"/>
                </a:lnTo>
                <a:lnTo>
                  <a:pt x="66" y="756"/>
                </a:lnTo>
                <a:lnTo>
                  <a:pt x="66" y="762"/>
                </a:lnTo>
                <a:lnTo>
                  <a:pt x="60" y="762"/>
                </a:lnTo>
                <a:lnTo>
                  <a:pt x="60" y="768"/>
                </a:lnTo>
                <a:lnTo>
                  <a:pt x="54" y="768"/>
                </a:lnTo>
                <a:lnTo>
                  <a:pt x="54" y="762"/>
                </a:lnTo>
                <a:lnTo>
                  <a:pt x="48" y="762"/>
                </a:lnTo>
                <a:lnTo>
                  <a:pt x="48" y="756"/>
                </a:lnTo>
                <a:lnTo>
                  <a:pt x="42" y="756"/>
                </a:lnTo>
                <a:lnTo>
                  <a:pt x="48" y="756"/>
                </a:lnTo>
                <a:lnTo>
                  <a:pt x="48" y="750"/>
                </a:lnTo>
                <a:lnTo>
                  <a:pt x="48" y="744"/>
                </a:lnTo>
                <a:lnTo>
                  <a:pt x="54" y="744"/>
                </a:lnTo>
                <a:lnTo>
                  <a:pt x="48" y="744"/>
                </a:lnTo>
                <a:lnTo>
                  <a:pt x="54" y="744"/>
                </a:lnTo>
                <a:lnTo>
                  <a:pt x="48" y="744"/>
                </a:lnTo>
                <a:lnTo>
                  <a:pt x="54" y="744"/>
                </a:lnTo>
                <a:lnTo>
                  <a:pt x="54" y="738"/>
                </a:lnTo>
                <a:lnTo>
                  <a:pt x="48" y="738"/>
                </a:lnTo>
                <a:lnTo>
                  <a:pt x="48" y="732"/>
                </a:lnTo>
                <a:lnTo>
                  <a:pt x="48" y="726"/>
                </a:lnTo>
                <a:lnTo>
                  <a:pt x="54" y="726"/>
                </a:lnTo>
                <a:lnTo>
                  <a:pt x="48" y="726"/>
                </a:lnTo>
                <a:lnTo>
                  <a:pt x="48" y="720"/>
                </a:lnTo>
                <a:lnTo>
                  <a:pt x="48" y="714"/>
                </a:lnTo>
                <a:lnTo>
                  <a:pt x="54" y="714"/>
                </a:lnTo>
                <a:lnTo>
                  <a:pt x="54" y="708"/>
                </a:lnTo>
                <a:lnTo>
                  <a:pt x="48" y="708"/>
                </a:lnTo>
                <a:lnTo>
                  <a:pt x="48" y="714"/>
                </a:lnTo>
                <a:lnTo>
                  <a:pt x="48" y="708"/>
                </a:lnTo>
                <a:lnTo>
                  <a:pt x="48" y="702"/>
                </a:lnTo>
                <a:lnTo>
                  <a:pt x="42" y="702"/>
                </a:lnTo>
                <a:lnTo>
                  <a:pt x="42" y="696"/>
                </a:lnTo>
                <a:lnTo>
                  <a:pt x="42" y="690"/>
                </a:lnTo>
                <a:lnTo>
                  <a:pt x="36" y="690"/>
                </a:lnTo>
                <a:lnTo>
                  <a:pt x="30" y="690"/>
                </a:lnTo>
                <a:lnTo>
                  <a:pt x="30" y="684"/>
                </a:lnTo>
                <a:lnTo>
                  <a:pt x="30" y="690"/>
                </a:lnTo>
                <a:lnTo>
                  <a:pt x="24" y="690"/>
                </a:lnTo>
                <a:lnTo>
                  <a:pt x="24" y="684"/>
                </a:lnTo>
                <a:lnTo>
                  <a:pt x="18" y="678"/>
                </a:lnTo>
                <a:lnTo>
                  <a:pt x="12" y="672"/>
                </a:lnTo>
                <a:lnTo>
                  <a:pt x="12" y="666"/>
                </a:lnTo>
                <a:lnTo>
                  <a:pt x="18" y="666"/>
                </a:lnTo>
                <a:lnTo>
                  <a:pt x="18" y="660"/>
                </a:lnTo>
                <a:lnTo>
                  <a:pt x="18" y="654"/>
                </a:lnTo>
                <a:lnTo>
                  <a:pt x="18" y="648"/>
                </a:lnTo>
                <a:lnTo>
                  <a:pt x="18" y="642"/>
                </a:lnTo>
                <a:lnTo>
                  <a:pt x="18" y="636"/>
                </a:lnTo>
                <a:lnTo>
                  <a:pt x="12" y="636"/>
                </a:lnTo>
                <a:lnTo>
                  <a:pt x="12" y="630"/>
                </a:lnTo>
                <a:lnTo>
                  <a:pt x="6" y="630"/>
                </a:lnTo>
                <a:lnTo>
                  <a:pt x="6" y="624"/>
                </a:lnTo>
                <a:lnTo>
                  <a:pt x="6" y="618"/>
                </a:lnTo>
                <a:lnTo>
                  <a:pt x="6" y="612"/>
                </a:lnTo>
                <a:lnTo>
                  <a:pt x="0" y="612"/>
                </a:lnTo>
                <a:lnTo>
                  <a:pt x="0" y="606"/>
                </a:lnTo>
                <a:lnTo>
                  <a:pt x="6" y="606"/>
                </a:lnTo>
                <a:lnTo>
                  <a:pt x="12" y="606"/>
                </a:lnTo>
                <a:lnTo>
                  <a:pt x="12" y="612"/>
                </a:lnTo>
                <a:lnTo>
                  <a:pt x="12" y="606"/>
                </a:lnTo>
                <a:lnTo>
                  <a:pt x="18" y="606"/>
                </a:lnTo>
                <a:lnTo>
                  <a:pt x="24" y="606"/>
                </a:lnTo>
                <a:lnTo>
                  <a:pt x="24" y="600"/>
                </a:lnTo>
                <a:lnTo>
                  <a:pt x="30" y="600"/>
                </a:lnTo>
                <a:lnTo>
                  <a:pt x="24" y="600"/>
                </a:lnTo>
                <a:lnTo>
                  <a:pt x="30" y="594"/>
                </a:lnTo>
                <a:lnTo>
                  <a:pt x="24" y="594"/>
                </a:lnTo>
                <a:lnTo>
                  <a:pt x="24" y="588"/>
                </a:lnTo>
                <a:lnTo>
                  <a:pt x="24" y="582"/>
                </a:lnTo>
                <a:lnTo>
                  <a:pt x="30" y="582"/>
                </a:lnTo>
                <a:lnTo>
                  <a:pt x="30" y="576"/>
                </a:lnTo>
                <a:lnTo>
                  <a:pt x="30" y="570"/>
                </a:lnTo>
                <a:lnTo>
                  <a:pt x="30" y="564"/>
                </a:lnTo>
                <a:lnTo>
                  <a:pt x="36" y="564"/>
                </a:lnTo>
                <a:lnTo>
                  <a:pt x="42" y="564"/>
                </a:lnTo>
                <a:lnTo>
                  <a:pt x="42" y="558"/>
                </a:lnTo>
                <a:lnTo>
                  <a:pt x="48" y="558"/>
                </a:lnTo>
                <a:lnTo>
                  <a:pt x="54" y="564"/>
                </a:lnTo>
                <a:lnTo>
                  <a:pt x="54" y="570"/>
                </a:lnTo>
                <a:lnTo>
                  <a:pt x="60" y="570"/>
                </a:lnTo>
                <a:lnTo>
                  <a:pt x="60" y="576"/>
                </a:lnTo>
                <a:lnTo>
                  <a:pt x="66" y="576"/>
                </a:lnTo>
                <a:lnTo>
                  <a:pt x="72" y="582"/>
                </a:lnTo>
                <a:lnTo>
                  <a:pt x="78" y="582"/>
                </a:lnTo>
                <a:lnTo>
                  <a:pt x="78" y="588"/>
                </a:lnTo>
                <a:lnTo>
                  <a:pt x="78" y="582"/>
                </a:lnTo>
                <a:lnTo>
                  <a:pt x="84" y="582"/>
                </a:lnTo>
                <a:lnTo>
                  <a:pt x="84" y="576"/>
                </a:lnTo>
                <a:lnTo>
                  <a:pt x="90" y="576"/>
                </a:lnTo>
                <a:lnTo>
                  <a:pt x="90" y="570"/>
                </a:lnTo>
                <a:lnTo>
                  <a:pt x="96" y="570"/>
                </a:lnTo>
                <a:lnTo>
                  <a:pt x="102" y="570"/>
                </a:lnTo>
                <a:lnTo>
                  <a:pt x="108" y="570"/>
                </a:lnTo>
                <a:lnTo>
                  <a:pt x="114" y="570"/>
                </a:lnTo>
                <a:lnTo>
                  <a:pt x="120" y="570"/>
                </a:lnTo>
                <a:lnTo>
                  <a:pt x="120" y="576"/>
                </a:lnTo>
                <a:lnTo>
                  <a:pt x="126" y="576"/>
                </a:lnTo>
                <a:lnTo>
                  <a:pt x="132" y="576"/>
                </a:lnTo>
                <a:lnTo>
                  <a:pt x="138" y="576"/>
                </a:lnTo>
                <a:lnTo>
                  <a:pt x="138" y="570"/>
                </a:lnTo>
                <a:lnTo>
                  <a:pt x="144" y="570"/>
                </a:lnTo>
                <a:lnTo>
                  <a:pt x="150" y="570"/>
                </a:lnTo>
                <a:lnTo>
                  <a:pt x="156" y="570"/>
                </a:lnTo>
                <a:lnTo>
                  <a:pt x="162" y="570"/>
                </a:lnTo>
                <a:lnTo>
                  <a:pt x="162" y="564"/>
                </a:lnTo>
                <a:lnTo>
                  <a:pt x="156" y="558"/>
                </a:lnTo>
                <a:lnTo>
                  <a:pt x="162" y="558"/>
                </a:lnTo>
                <a:lnTo>
                  <a:pt x="162" y="552"/>
                </a:lnTo>
                <a:lnTo>
                  <a:pt x="168" y="558"/>
                </a:lnTo>
                <a:lnTo>
                  <a:pt x="162" y="564"/>
                </a:lnTo>
                <a:lnTo>
                  <a:pt x="168" y="564"/>
                </a:lnTo>
                <a:lnTo>
                  <a:pt x="174" y="564"/>
                </a:lnTo>
                <a:lnTo>
                  <a:pt x="180" y="564"/>
                </a:lnTo>
                <a:lnTo>
                  <a:pt x="186" y="564"/>
                </a:lnTo>
                <a:lnTo>
                  <a:pt x="192" y="564"/>
                </a:lnTo>
                <a:lnTo>
                  <a:pt x="198" y="564"/>
                </a:lnTo>
                <a:lnTo>
                  <a:pt x="204" y="564"/>
                </a:lnTo>
                <a:lnTo>
                  <a:pt x="210" y="564"/>
                </a:lnTo>
                <a:lnTo>
                  <a:pt x="216" y="564"/>
                </a:lnTo>
                <a:lnTo>
                  <a:pt x="222" y="564"/>
                </a:lnTo>
                <a:lnTo>
                  <a:pt x="228" y="564"/>
                </a:lnTo>
                <a:lnTo>
                  <a:pt x="234" y="564"/>
                </a:lnTo>
                <a:lnTo>
                  <a:pt x="240" y="564"/>
                </a:lnTo>
                <a:lnTo>
                  <a:pt x="246" y="564"/>
                </a:lnTo>
                <a:lnTo>
                  <a:pt x="252" y="564"/>
                </a:lnTo>
                <a:lnTo>
                  <a:pt x="258" y="564"/>
                </a:lnTo>
                <a:lnTo>
                  <a:pt x="270" y="564"/>
                </a:lnTo>
                <a:lnTo>
                  <a:pt x="276" y="564"/>
                </a:lnTo>
                <a:lnTo>
                  <a:pt x="282" y="564"/>
                </a:lnTo>
                <a:lnTo>
                  <a:pt x="288" y="564"/>
                </a:lnTo>
                <a:lnTo>
                  <a:pt x="300" y="564"/>
                </a:lnTo>
                <a:lnTo>
                  <a:pt x="306" y="564"/>
                </a:lnTo>
                <a:lnTo>
                  <a:pt x="312" y="564"/>
                </a:lnTo>
                <a:lnTo>
                  <a:pt x="318" y="564"/>
                </a:lnTo>
                <a:lnTo>
                  <a:pt x="324" y="564"/>
                </a:lnTo>
                <a:lnTo>
                  <a:pt x="330" y="564"/>
                </a:lnTo>
                <a:lnTo>
                  <a:pt x="336" y="564"/>
                </a:lnTo>
                <a:lnTo>
                  <a:pt x="342" y="564"/>
                </a:lnTo>
                <a:lnTo>
                  <a:pt x="348" y="564"/>
                </a:lnTo>
                <a:lnTo>
                  <a:pt x="354" y="564"/>
                </a:lnTo>
                <a:lnTo>
                  <a:pt x="360" y="564"/>
                </a:lnTo>
                <a:lnTo>
                  <a:pt x="366" y="564"/>
                </a:lnTo>
                <a:lnTo>
                  <a:pt x="372" y="564"/>
                </a:lnTo>
                <a:lnTo>
                  <a:pt x="378" y="564"/>
                </a:lnTo>
                <a:lnTo>
                  <a:pt x="378" y="558"/>
                </a:lnTo>
                <a:lnTo>
                  <a:pt x="378" y="552"/>
                </a:lnTo>
                <a:lnTo>
                  <a:pt x="384" y="552"/>
                </a:lnTo>
                <a:lnTo>
                  <a:pt x="384" y="546"/>
                </a:lnTo>
                <a:lnTo>
                  <a:pt x="384" y="540"/>
                </a:lnTo>
                <a:lnTo>
                  <a:pt x="384" y="534"/>
                </a:lnTo>
                <a:lnTo>
                  <a:pt x="390" y="516"/>
                </a:lnTo>
                <a:lnTo>
                  <a:pt x="372" y="510"/>
                </a:lnTo>
                <a:lnTo>
                  <a:pt x="372" y="486"/>
                </a:lnTo>
                <a:lnTo>
                  <a:pt x="372" y="480"/>
                </a:lnTo>
                <a:lnTo>
                  <a:pt x="366" y="474"/>
                </a:lnTo>
                <a:lnTo>
                  <a:pt x="366" y="468"/>
                </a:lnTo>
                <a:lnTo>
                  <a:pt x="366" y="462"/>
                </a:lnTo>
                <a:lnTo>
                  <a:pt x="366" y="456"/>
                </a:lnTo>
                <a:lnTo>
                  <a:pt x="366" y="450"/>
                </a:lnTo>
                <a:lnTo>
                  <a:pt x="366" y="444"/>
                </a:lnTo>
                <a:lnTo>
                  <a:pt x="366" y="438"/>
                </a:lnTo>
                <a:lnTo>
                  <a:pt x="366" y="432"/>
                </a:lnTo>
                <a:lnTo>
                  <a:pt x="366" y="426"/>
                </a:lnTo>
                <a:lnTo>
                  <a:pt x="366" y="420"/>
                </a:lnTo>
                <a:lnTo>
                  <a:pt x="360" y="414"/>
                </a:lnTo>
                <a:lnTo>
                  <a:pt x="360" y="408"/>
                </a:lnTo>
                <a:lnTo>
                  <a:pt x="360" y="402"/>
                </a:lnTo>
                <a:lnTo>
                  <a:pt x="360" y="396"/>
                </a:lnTo>
                <a:lnTo>
                  <a:pt x="360" y="390"/>
                </a:lnTo>
                <a:lnTo>
                  <a:pt x="360" y="384"/>
                </a:lnTo>
                <a:lnTo>
                  <a:pt x="360" y="378"/>
                </a:lnTo>
                <a:lnTo>
                  <a:pt x="360" y="372"/>
                </a:lnTo>
                <a:lnTo>
                  <a:pt x="360" y="366"/>
                </a:lnTo>
                <a:lnTo>
                  <a:pt x="360" y="360"/>
                </a:lnTo>
                <a:lnTo>
                  <a:pt x="354" y="360"/>
                </a:lnTo>
                <a:lnTo>
                  <a:pt x="354" y="354"/>
                </a:lnTo>
                <a:lnTo>
                  <a:pt x="354" y="348"/>
                </a:lnTo>
                <a:lnTo>
                  <a:pt x="354" y="342"/>
                </a:lnTo>
                <a:lnTo>
                  <a:pt x="354" y="336"/>
                </a:lnTo>
                <a:lnTo>
                  <a:pt x="354" y="330"/>
                </a:lnTo>
                <a:lnTo>
                  <a:pt x="354" y="324"/>
                </a:lnTo>
                <a:lnTo>
                  <a:pt x="354" y="318"/>
                </a:lnTo>
                <a:lnTo>
                  <a:pt x="354" y="312"/>
                </a:lnTo>
                <a:lnTo>
                  <a:pt x="354" y="306"/>
                </a:lnTo>
                <a:lnTo>
                  <a:pt x="348" y="306"/>
                </a:lnTo>
                <a:lnTo>
                  <a:pt x="348" y="300"/>
                </a:lnTo>
                <a:lnTo>
                  <a:pt x="348" y="294"/>
                </a:lnTo>
                <a:lnTo>
                  <a:pt x="348" y="282"/>
                </a:lnTo>
                <a:lnTo>
                  <a:pt x="348" y="270"/>
                </a:lnTo>
                <a:lnTo>
                  <a:pt x="348" y="264"/>
                </a:lnTo>
                <a:lnTo>
                  <a:pt x="348" y="258"/>
                </a:lnTo>
                <a:lnTo>
                  <a:pt x="348" y="252"/>
                </a:lnTo>
                <a:lnTo>
                  <a:pt x="342" y="246"/>
                </a:lnTo>
                <a:lnTo>
                  <a:pt x="342" y="240"/>
                </a:lnTo>
                <a:lnTo>
                  <a:pt x="342" y="234"/>
                </a:lnTo>
                <a:lnTo>
                  <a:pt x="342" y="228"/>
                </a:lnTo>
                <a:lnTo>
                  <a:pt x="342" y="222"/>
                </a:lnTo>
                <a:lnTo>
                  <a:pt x="342" y="216"/>
                </a:lnTo>
                <a:lnTo>
                  <a:pt x="342" y="210"/>
                </a:lnTo>
                <a:lnTo>
                  <a:pt x="342" y="204"/>
                </a:lnTo>
                <a:lnTo>
                  <a:pt x="342" y="198"/>
                </a:lnTo>
                <a:lnTo>
                  <a:pt x="342" y="192"/>
                </a:lnTo>
                <a:lnTo>
                  <a:pt x="336" y="192"/>
                </a:lnTo>
                <a:lnTo>
                  <a:pt x="336" y="186"/>
                </a:lnTo>
                <a:lnTo>
                  <a:pt x="336" y="180"/>
                </a:lnTo>
                <a:lnTo>
                  <a:pt x="336" y="174"/>
                </a:lnTo>
                <a:lnTo>
                  <a:pt x="336" y="168"/>
                </a:lnTo>
                <a:lnTo>
                  <a:pt x="336" y="162"/>
                </a:lnTo>
                <a:lnTo>
                  <a:pt x="336" y="156"/>
                </a:lnTo>
                <a:lnTo>
                  <a:pt x="336" y="150"/>
                </a:lnTo>
                <a:lnTo>
                  <a:pt x="336" y="144"/>
                </a:lnTo>
                <a:lnTo>
                  <a:pt x="336" y="138"/>
                </a:lnTo>
                <a:lnTo>
                  <a:pt x="330" y="138"/>
                </a:lnTo>
                <a:lnTo>
                  <a:pt x="330" y="132"/>
                </a:lnTo>
                <a:lnTo>
                  <a:pt x="330" y="126"/>
                </a:lnTo>
                <a:lnTo>
                  <a:pt x="330" y="120"/>
                </a:lnTo>
                <a:lnTo>
                  <a:pt x="330" y="114"/>
                </a:lnTo>
                <a:lnTo>
                  <a:pt x="330" y="108"/>
                </a:lnTo>
                <a:lnTo>
                  <a:pt x="330" y="102"/>
                </a:lnTo>
                <a:lnTo>
                  <a:pt x="330" y="96"/>
                </a:lnTo>
                <a:lnTo>
                  <a:pt x="330" y="90"/>
                </a:lnTo>
                <a:lnTo>
                  <a:pt x="330" y="84"/>
                </a:lnTo>
                <a:lnTo>
                  <a:pt x="324" y="78"/>
                </a:lnTo>
                <a:lnTo>
                  <a:pt x="324" y="72"/>
                </a:lnTo>
                <a:lnTo>
                  <a:pt x="324" y="66"/>
                </a:lnTo>
                <a:lnTo>
                  <a:pt x="324" y="60"/>
                </a:lnTo>
                <a:lnTo>
                  <a:pt x="324" y="54"/>
                </a:lnTo>
                <a:lnTo>
                  <a:pt x="324" y="42"/>
                </a:lnTo>
                <a:lnTo>
                  <a:pt x="324" y="36"/>
                </a:lnTo>
                <a:lnTo>
                  <a:pt x="318" y="6"/>
                </a:lnTo>
                <a:lnTo>
                  <a:pt x="318" y="0"/>
                </a:lnTo>
                <a:lnTo>
                  <a:pt x="324" y="0"/>
                </a:lnTo>
                <a:lnTo>
                  <a:pt x="330" y="0"/>
                </a:lnTo>
                <a:lnTo>
                  <a:pt x="336" y="0"/>
                </a:lnTo>
                <a:lnTo>
                  <a:pt x="342" y="0"/>
                </a:lnTo>
                <a:lnTo>
                  <a:pt x="348" y="0"/>
                </a:lnTo>
                <a:lnTo>
                  <a:pt x="354" y="0"/>
                </a:lnTo>
                <a:lnTo>
                  <a:pt x="360" y="0"/>
                </a:lnTo>
                <a:lnTo>
                  <a:pt x="366" y="0"/>
                </a:lnTo>
                <a:lnTo>
                  <a:pt x="372" y="0"/>
                </a:lnTo>
                <a:lnTo>
                  <a:pt x="378" y="0"/>
                </a:lnTo>
                <a:lnTo>
                  <a:pt x="384" y="0"/>
                </a:lnTo>
                <a:lnTo>
                  <a:pt x="390" y="0"/>
                </a:lnTo>
                <a:lnTo>
                  <a:pt x="396" y="0"/>
                </a:lnTo>
                <a:lnTo>
                  <a:pt x="402" y="0"/>
                </a:lnTo>
                <a:lnTo>
                  <a:pt x="408" y="0"/>
                </a:lnTo>
                <a:lnTo>
                  <a:pt x="414" y="0"/>
                </a:lnTo>
                <a:lnTo>
                  <a:pt x="420" y="6"/>
                </a:lnTo>
                <a:lnTo>
                  <a:pt x="426" y="6"/>
                </a:lnTo>
                <a:lnTo>
                  <a:pt x="426" y="12"/>
                </a:lnTo>
                <a:lnTo>
                  <a:pt x="432" y="12"/>
                </a:lnTo>
                <a:lnTo>
                  <a:pt x="438" y="18"/>
                </a:lnTo>
                <a:lnTo>
                  <a:pt x="444" y="24"/>
                </a:lnTo>
                <a:lnTo>
                  <a:pt x="450" y="24"/>
                </a:lnTo>
                <a:lnTo>
                  <a:pt x="456" y="30"/>
                </a:lnTo>
                <a:lnTo>
                  <a:pt x="462" y="36"/>
                </a:lnTo>
                <a:lnTo>
                  <a:pt x="468" y="36"/>
                </a:lnTo>
                <a:lnTo>
                  <a:pt x="474" y="42"/>
                </a:lnTo>
                <a:lnTo>
                  <a:pt x="480" y="42"/>
                </a:lnTo>
                <a:lnTo>
                  <a:pt x="480" y="48"/>
                </a:lnTo>
                <a:lnTo>
                  <a:pt x="486" y="48"/>
                </a:lnTo>
                <a:lnTo>
                  <a:pt x="486" y="54"/>
                </a:lnTo>
                <a:lnTo>
                  <a:pt x="492" y="54"/>
                </a:lnTo>
                <a:lnTo>
                  <a:pt x="498" y="60"/>
                </a:lnTo>
                <a:lnTo>
                  <a:pt x="504" y="60"/>
                </a:lnTo>
                <a:lnTo>
                  <a:pt x="504" y="66"/>
                </a:lnTo>
                <a:lnTo>
                  <a:pt x="510" y="66"/>
                </a:lnTo>
                <a:lnTo>
                  <a:pt x="516" y="72"/>
                </a:lnTo>
                <a:lnTo>
                  <a:pt x="522" y="72"/>
                </a:lnTo>
                <a:lnTo>
                  <a:pt x="522" y="78"/>
                </a:lnTo>
                <a:lnTo>
                  <a:pt x="528" y="78"/>
                </a:lnTo>
                <a:lnTo>
                  <a:pt x="534" y="84"/>
                </a:lnTo>
                <a:lnTo>
                  <a:pt x="540" y="84"/>
                </a:lnTo>
                <a:lnTo>
                  <a:pt x="540" y="90"/>
                </a:lnTo>
                <a:lnTo>
                  <a:pt x="546" y="90"/>
                </a:lnTo>
                <a:lnTo>
                  <a:pt x="546" y="96"/>
                </a:lnTo>
                <a:lnTo>
                  <a:pt x="552" y="96"/>
                </a:lnTo>
                <a:lnTo>
                  <a:pt x="558" y="96"/>
                </a:lnTo>
                <a:lnTo>
                  <a:pt x="558" y="102"/>
                </a:lnTo>
                <a:lnTo>
                  <a:pt x="564" y="102"/>
                </a:lnTo>
                <a:lnTo>
                  <a:pt x="564" y="108"/>
                </a:lnTo>
                <a:lnTo>
                  <a:pt x="570" y="108"/>
                </a:lnTo>
                <a:lnTo>
                  <a:pt x="576" y="114"/>
                </a:lnTo>
                <a:lnTo>
                  <a:pt x="582" y="114"/>
                </a:lnTo>
                <a:lnTo>
                  <a:pt x="582" y="120"/>
                </a:lnTo>
                <a:lnTo>
                  <a:pt x="588" y="120"/>
                </a:lnTo>
                <a:lnTo>
                  <a:pt x="588" y="126"/>
                </a:lnTo>
                <a:lnTo>
                  <a:pt x="594" y="126"/>
                </a:lnTo>
                <a:lnTo>
                  <a:pt x="600" y="132"/>
                </a:lnTo>
                <a:lnTo>
                  <a:pt x="606" y="132"/>
                </a:lnTo>
                <a:lnTo>
                  <a:pt x="606" y="138"/>
                </a:lnTo>
                <a:lnTo>
                  <a:pt x="612" y="138"/>
                </a:lnTo>
                <a:lnTo>
                  <a:pt x="618" y="144"/>
                </a:lnTo>
                <a:lnTo>
                  <a:pt x="624" y="144"/>
                </a:lnTo>
                <a:lnTo>
                  <a:pt x="624" y="150"/>
                </a:lnTo>
                <a:lnTo>
                  <a:pt x="630" y="150"/>
                </a:lnTo>
                <a:lnTo>
                  <a:pt x="636" y="156"/>
                </a:lnTo>
                <a:lnTo>
                  <a:pt x="642" y="156"/>
                </a:lnTo>
                <a:lnTo>
                  <a:pt x="642" y="162"/>
                </a:lnTo>
                <a:lnTo>
                  <a:pt x="648" y="162"/>
                </a:lnTo>
                <a:lnTo>
                  <a:pt x="648" y="168"/>
                </a:lnTo>
                <a:lnTo>
                  <a:pt x="654" y="168"/>
                </a:lnTo>
                <a:lnTo>
                  <a:pt x="660" y="168"/>
                </a:lnTo>
                <a:lnTo>
                  <a:pt x="660" y="174"/>
                </a:lnTo>
                <a:lnTo>
                  <a:pt x="666" y="174"/>
                </a:lnTo>
                <a:lnTo>
                  <a:pt x="666" y="180"/>
                </a:lnTo>
                <a:lnTo>
                  <a:pt x="672" y="180"/>
                </a:lnTo>
                <a:lnTo>
                  <a:pt x="678" y="180"/>
                </a:lnTo>
                <a:lnTo>
                  <a:pt x="678" y="186"/>
                </a:lnTo>
                <a:lnTo>
                  <a:pt x="684" y="186"/>
                </a:lnTo>
                <a:lnTo>
                  <a:pt x="684" y="192"/>
                </a:lnTo>
                <a:lnTo>
                  <a:pt x="690" y="198"/>
                </a:lnTo>
                <a:lnTo>
                  <a:pt x="696" y="198"/>
                </a:lnTo>
                <a:lnTo>
                  <a:pt x="696" y="204"/>
                </a:lnTo>
                <a:lnTo>
                  <a:pt x="702" y="204"/>
                </a:lnTo>
                <a:lnTo>
                  <a:pt x="708" y="210"/>
                </a:lnTo>
                <a:lnTo>
                  <a:pt x="714" y="210"/>
                </a:lnTo>
                <a:lnTo>
                  <a:pt x="714" y="216"/>
                </a:lnTo>
                <a:lnTo>
                  <a:pt x="720" y="216"/>
                </a:lnTo>
                <a:lnTo>
                  <a:pt x="726" y="222"/>
                </a:lnTo>
                <a:lnTo>
                  <a:pt x="732" y="222"/>
                </a:lnTo>
                <a:lnTo>
                  <a:pt x="738" y="228"/>
                </a:lnTo>
                <a:lnTo>
                  <a:pt x="744" y="234"/>
                </a:lnTo>
                <a:lnTo>
                  <a:pt x="750" y="234"/>
                </a:lnTo>
                <a:lnTo>
                  <a:pt x="750" y="240"/>
                </a:lnTo>
                <a:lnTo>
                  <a:pt x="750" y="246"/>
                </a:lnTo>
                <a:lnTo>
                  <a:pt x="750" y="252"/>
                </a:lnTo>
                <a:lnTo>
                  <a:pt x="750" y="258"/>
                </a:lnTo>
                <a:lnTo>
                  <a:pt x="756" y="258"/>
                </a:lnTo>
                <a:lnTo>
                  <a:pt x="762" y="258"/>
                </a:lnTo>
                <a:lnTo>
                  <a:pt x="762" y="264"/>
                </a:lnTo>
                <a:lnTo>
                  <a:pt x="768" y="264"/>
                </a:lnTo>
                <a:lnTo>
                  <a:pt x="774" y="264"/>
                </a:lnTo>
                <a:lnTo>
                  <a:pt x="774" y="270"/>
                </a:lnTo>
                <a:lnTo>
                  <a:pt x="774" y="276"/>
                </a:lnTo>
                <a:lnTo>
                  <a:pt x="780" y="276"/>
                </a:lnTo>
                <a:lnTo>
                  <a:pt x="780" y="282"/>
                </a:lnTo>
                <a:lnTo>
                  <a:pt x="786" y="282"/>
                </a:lnTo>
                <a:lnTo>
                  <a:pt x="786" y="288"/>
                </a:lnTo>
                <a:lnTo>
                  <a:pt x="786" y="282"/>
                </a:lnTo>
                <a:lnTo>
                  <a:pt x="786" y="288"/>
                </a:lnTo>
                <a:lnTo>
                  <a:pt x="792" y="288"/>
                </a:lnTo>
                <a:lnTo>
                  <a:pt x="798" y="288"/>
                </a:lnTo>
                <a:lnTo>
                  <a:pt x="804" y="288"/>
                </a:lnTo>
                <a:lnTo>
                  <a:pt x="810" y="288"/>
                </a:lnTo>
                <a:lnTo>
                  <a:pt x="816" y="288"/>
                </a:lnTo>
                <a:lnTo>
                  <a:pt x="816" y="294"/>
                </a:lnTo>
                <a:lnTo>
                  <a:pt x="816" y="300"/>
                </a:lnTo>
                <a:lnTo>
                  <a:pt x="822" y="300"/>
                </a:lnTo>
                <a:lnTo>
                  <a:pt x="828" y="300"/>
                </a:lnTo>
                <a:lnTo>
                  <a:pt x="834" y="300"/>
                </a:lnTo>
                <a:lnTo>
                  <a:pt x="840" y="300"/>
                </a:lnTo>
                <a:lnTo>
                  <a:pt x="840" y="306"/>
                </a:lnTo>
                <a:lnTo>
                  <a:pt x="846" y="306"/>
                </a:lnTo>
                <a:lnTo>
                  <a:pt x="852" y="306"/>
                </a:lnTo>
                <a:lnTo>
                  <a:pt x="858" y="306"/>
                </a:lnTo>
                <a:lnTo>
                  <a:pt x="858" y="312"/>
                </a:lnTo>
                <a:lnTo>
                  <a:pt x="864" y="312"/>
                </a:lnTo>
                <a:lnTo>
                  <a:pt x="864" y="318"/>
                </a:lnTo>
                <a:lnTo>
                  <a:pt x="864" y="324"/>
                </a:lnTo>
                <a:lnTo>
                  <a:pt x="864" y="330"/>
                </a:lnTo>
                <a:lnTo>
                  <a:pt x="864" y="336"/>
                </a:lnTo>
                <a:lnTo>
                  <a:pt x="864" y="342"/>
                </a:lnTo>
                <a:lnTo>
                  <a:pt x="864" y="348"/>
                </a:lnTo>
                <a:lnTo>
                  <a:pt x="858" y="348"/>
                </a:lnTo>
                <a:lnTo>
                  <a:pt x="858" y="354"/>
                </a:lnTo>
                <a:lnTo>
                  <a:pt x="864" y="360"/>
                </a:lnTo>
                <a:lnTo>
                  <a:pt x="870" y="360"/>
                </a:lnTo>
                <a:lnTo>
                  <a:pt x="870" y="366"/>
                </a:lnTo>
                <a:lnTo>
                  <a:pt x="876" y="366"/>
                </a:lnTo>
                <a:lnTo>
                  <a:pt x="876" y="360"/>
                </a:lnTo>
                <a:lnTo>
                  <a:pt x="882" y="360"/>
                </a:lnTo>
                <a:lnTo>
                  <a:pt x="888" y="360"/>
                </a:lnTo>
                <a:lnTo>
                  <a:pt x="894" y="360"/>
                </a:lnTo>
                <a:lnTo>
                  <a:pt x="900" y="360"/>
                </a:lnTo>
                <a:lnTo>
                  <a:pt x="906" y="360"/>
                </a:lnTo>
                <a:lnTo>
                  <a:pt x="906" y="354"/>
                </a:lnTo>
                <a:lnTo>
                  <a:pt x="912" y="354"/>
                </a:lnTo>
                <a:lnTo>
                  <a:pt x="918" y="354"/>
                </a:lnTo>
                <a:lnTo>
                  <a:pt x="918" y="360"/>
                </a:lnTo>
                <a:lnTo>
                  <a:pt x="918" y="366"/>
                </a:lnTo>
                <a:lnTo>
                  <a:pt x="918" y="372"/>
                </a:lnTo>
                <a:lnTo>
                  <a:pt x="918" y="378"/>
                </a:lnTo>
                <a:lnTo>
                  <a:pt x="918" y="384"/>
                </a:lnTo>
                <a:lnTo>
                  <a:pt x="918" y="390"/>
                </a:lnTo>
                <a:lnTo>
                  <a:pt x="918" y="396"/>
                </a:lnTo>
                <a:lnTo>
                  <a:pt x="918" y="402"/>
                </a:lnTo>
                <a:lnTo>
                  <a:pt x="918" y="408"/>
                </a:lnTo>
                <a:lnTo>
                  <a:pt x="918" y="414"/>
                </a:lnTo>
                <a:lnTo>
                  <a:pt x="918" y="420"/>
                </a:lnTo>
                <a:lnTo>
                  <a:pt x="918" y="426"/>
                </a:lnTo>
                <a:lnTo>
                  <a:pt x="918" y="432"/>
                </a:lnTo>
                <a:lnTo>
                  <a:pt x="918" y="438"/>
                </a:lnTo>
                <a:lnTo>
                  <a:pt x="918" y="444"/>
                </a:lnTo>
                <a:lnTo>
                  <a:pt x="918" y="450"/>
                </a:lnTo>
                <a:lnTo>
                  <a:pt x="918" y="456"/>
                </a:lnTo>
                <a:lnTo>
                  <a:pt x="918" y="462"/>
                </a:lnTo>
                <a:lnTo>
                  <a:pt x="918" y="468"/>
                </a:lnTo>
                <a:lnTo>
                  <a:pt x="918" y="474"/>
                </a:lnTo>
                <a:lnTo>
                  <a:pt x="918" y="480"/>
                </a:lnTo>
                <a:lnTo>
                  <a:pt x="912" y="480"/>
                </a:lnTo>
                <a:lnTo>
                  <a:pt x="912" y="486"/>
                </a:lnTo>
                <a:lnTo>
                  <a:pt x="912" y="492"/>
                </a:lnTo>
                <a:lnTo>
                  <a:pt x="912" y="498"/>
                </a:lnTo>
                <a:lnTo>
                  <a:pt x="912" y="504"/>
                </a:lnTo>
                <a:lnTo>
                  <a:pt x="912" y="510"/>
                </a:lnTo>
                <a:lnTo>
                  <a:pt x="912" y="516"/>
                </a:lnTo>
                <a:lnTo>
                  <a:pt x="912" y="522"/>
                </a:lnTo>
                <a:lnTo>
                  <a:pt x="906" y="528"/>
                </a:lnTo>
                <a:lnTo>
                  <a:pt x="906" y="534"/>
                </a:lnTo>
                <a:lnTo>
                  <a:pt x="906" y="540"/>
                </a:lnTo>
                <a:lnTo>
                  <a:pt x="900" y="546"/>
                </a:lnTo>
                <a:lnTo>
                  <a:pt x="900" y="552"/>
                </a:lnTo>
                <a:lnTo>
                  <a:pt x="900" y="558"/>
                </a:lnTo>
                <a:lnTo>
                  <a:pt x="894" y="558"/>
                </a:lnTo>
                <a:lnTo>
                  <a:pt x="888" y="558"/>
                </a:lnTo>
                <a:lnTo>
                  <a:pt x="888" y="564"/>
                </a:lnTo>
                <a:lnTo>
                  <a:pt x="882" y="564"/>
                </a:lnTo>
                <a:lnTo>
                  <a:pt x="882" y="570"/>
                </a:lnTo>
                <a:lnTo>
                  <a:pt x="882" y="576"/>
                </a:lnTo>
                <a:lnTo>
                  <a:pt x="876" y="576"/>
                </a:lnTo>
                <a:lnTo>
                  <a:pt x="870" y="576"/>
                </a:lnTo>
                <a:lnTo>
                  <a:pt x="864" y="576"/>
                </a:lnTo>
                <a:lnTo>
                  <a:pt x="858" y="576"/>
                </a:lnTo>
                <a:lnTo>
                  <a:pt x="852" y="576"/>
                </a:lnTo>
                <a:lnTo>
                  <a:pt x="846" y="576"/>
                </a:lnTo>
                <a:lnTo>
                  <a:pt x="840" y="576"/>
                </a:lnTo>
                <a:lnTo>
                  <a:pt x="834" y="576"/>
                </a:lnTo>
                <a:lnTo>
                  <a:pt x="828" y="576"/>
                </a:lnTo>
                <a:lnTo>
                  <a:pt x="822" y="576"/>
                </a:lnTo>
                <a:lnTo>
                  <a:pt x="816" y="576"/>
                </a:lnTo>
                <a:lnTo>
                  <a:pt x="810" y="576"/>
                </a:lnTo>
                <a:lnTo>
                  <a:pt x="804" y="576"/>
                </a:lnTo>
                <a:lnTo>
                  <a:pt x="798" y="576"/>
                </a:lnTo>
                <a:lnTo>
                  <a:pt x="792" y="576"/>
                </a:lnTo>
                <a:lnTo>
                  <a:pt x="786" y="576"/>
                </a:lnTo>
                <a:lnTo>
                  <a:pt x="780" y="576"/>
                </a:lnTo>
                <a:lnTo>
                  <a:pt x="774" y="576"/>
                </a:lnTo>
                <a:lnTo>
                  <a:pt x="768" y="576"/>
                </a:lnTo>
                <a:lnTo>
                  <a:pt x="762" y="576"/>
                </a:lnTo>
                <a:lnTo>
                  <a:pt x="762" y="582"/>
                </a:lnTo>
                <a:lnTo>
                  <a:pt x="756" y="582"/>
                </a:lnTo>
                <a:lnTo>
                  <a:pt x="750" y="582"/>
                </a:lnTo>
                <a:lnTo>
                  <a:pt x="750" y="588"/>
                </a:lnTo>
                <a:lnTo>
                  <a:pt x="744" y="588"/>
                </a:lnTo>
                <a:lnTo>
                  <a:pt x="744" y="594"/>
                </a:lnTo>
                <a:lnTo>
                  <a:pt x="738" y="594"/>
                </a:lnTo>
                <a:lnTo>
                  <a:pt x="732" y="594"/>
                </a:lnTo>
                <a:lnTo>
                  <a:pt x="726" y="594"/>
                </a:lnTo>
                <a:lnTo>
                  <a:pt x="726" y="600"/>
                </a:lnTo>
                <a:lnTo>
                  <a:pt x="720" y="600"/>
                </a:lnTo>
                <a:lnTo>
                  <a:pt x="720" y="594"/>
                </a:lnTo>
                <a:lnTo>
                  <a:pt x="714" y="594"/>
                </a:lnTo>
                <a:lnTo>
                  <a:pt x="708" y="594"/>
                </a:lnTo>
                <a:lnTo>
                  <a:pt x="702" y="594"/>
                </a:lnTo>
                <a:lnTo>
                  <a:pt x="696" y="59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3" name="Freeform 13">
            <a:extLst>
              <a:ext uri="{FF2B5EF4-FFF2-40B4-BE49-F238E27FC236}">
                <a16:creationId xmlns:a16="http://schemas.microsoft.com/office/drawing/2014/main" id="{44F600C8-70C9-1D4F-A43D-B4D43B4E516A}"/>
              </a:ext>
            </a:extLst>
          </p:cNvPr>
          <p:cNvSpPr>
            <a:spLocks/>
          </p:cNvSpPr>
          <p:nvPr>
            <p:custDataLst>
              <p:tags r:id="rId12"/>
            </p:custDataLst>
          </p:nvPr>
        </p:nvSpPr>
        <p:spPr bwMode="gray">
          <a:xfrm>
            <a:off x="3196832" y="3805664"/>
            <a:ext cx="503593" cy="280511"/>
          </a:xfrm>
          <a:custGeom>
            <a:avLst/>
            <a:gdLst>
              <a:gd name="T0" fmla="*/ 119010 w 438"/>
              <a:gd name="T1" fmla="*/ 86927 h 324"/>
              <a:gd name="T2" fmla="*/ 108366 w 438"/>
              <a:gd name="T3" fmla="*/ 83020 h 324"/>
              <a:gd name="T4" fmla="*/ 101594 w 438"/>
              <a:gd name="T5" fmla="*/ 83996 h 324"/>
              <a:gd name="T6" fmla="*/ 95788 w 438"/>
              <a:gd name="T7" fmla="*/ 86927 h 324"/>
              <a:gd name="T8" fmla="*/ 89015 w 438"/>
              <a:gd name="T9" fmla="*/ 83996 h 324"/>
              <a:gd name="T10" fmla="*/ 76437 w 438"/>
              <a:gd name="T11" fmla="*/ 83996 h 324"/>
              <a:gd name="T12" fmla="*/ 63859 w 438"/>
              <a:gd name="T13" fmla="*/ 83996 h 324"/>
              <a:gd name="T14" fmla="*/ 53216 w 438"/>
              <a:gd name="T15" fmla="*/ 86927 h 324"/>
              <a:gd name="T16" fmla="*/ 53216 w 438"/>
              <a:gd name="T17" fmla="*/ 97670 h 324"/>
              <a:gd name="T18" fmla="*/ 53216 w 438"/>
              <a:gd name="T19" fmla="*/ 106460 h 324"/>
              <a:gd name="T20" fmla="*/ 53216 w 438"/>
              <a:gd name="T21" fmla="*/ 113297 h 324"/>
              <a:gd name="T22" fmla="*/ 51280 w 438"/>
              <a:gd name="T23" fmla="*/ 113297 h 324"/>
              <a:gd name="T24" fmla="*/ 44508 w 438"/>
              <a:gd name="T25" fmla="*/ 106460 h 324"/>
              <a:gd name="T26" fmla="*/ 36767 w 438"/>
              <a:gd name="T27" fmla="*/ 106460 h 324"/>
              <a:gd name="T28" fmla="*/ 27091 w 438"/>
              <a:gd name="T29" fmla="*/ 110368 h 324"/>
              <a:gd name="T30" fmla="*/ 23222 w 438"/>
              <a:gd name="T31" fmla="*/ 113297 h 324"/>
              <a:gd name="T32" fmla="*/ 17416 w 438"/>
              <a:gd name="T33" fmla="*/ 110368 h 324"/>
              <a:gd name="T34" fmla="*/ 14513 w 438"/>
              <a:gd name="T35" fmla="*/ 108414 h 324"/>
              <a:gd name="T36" fmla="*/ 10643 w 438"/>
              <a:gd name="T37" fmla="*/ 103531 h 324"/>
              <a:gd name="T38" fmla="*/ 8708 w 438"/>
              <a:gd name="T39" fmla="*/ 101577 h 324"/>
              <a:gd name="T40" fmla="*/ 1935 w 438"/>
              <a:gd name="T41" fmla="*/ 99624 h 324"/>
              <a:gd name="T42" fmla="*/ 0 w 438"/>
              <a:gd name="T43" fmla="*/ 88880 h 324"/>
              <a:gd name="T44" fmla="*/ 1935 w 438"/>
              <a:gd name="T45" fmla="*/ 83020 h 324"/>
              <a:gd name="T46" fmla="*/ 6773 w 438"/>
              <a:gd name="T47" fmla="*/ 73253 h 324"/>
              <a:gd name="T48" fmla="*/ 1935 w 438"/>
              <a:gd name="T49" fmla="*/ 69346 h 324"/>
              <a:gd name="T50" fmla="*/ 6773 w 438"/>
              <a:gd name="T51" fmla="*/ 64463 h 324"/>
              <a:gd name="T52" fmla="*/ 17416 w 438"/>
              <a:gd name="T53" fmla="*/ 62509 h 324"/>
              <a:gd name="T54" fmla="*/ 21286 w 438"/>
              <a:gd name="T55" fmla="*/ 58602 h 324"/>
              <a:gd name="T56" fmla="*/ 21286 w 438"/>
              <a:gd name="T57" fmla="*/ 49812 h 324"/>
              <a:gd name="T58" fmla="*/ 23222 w 438"/>
              <a:gd name="T59" fmla="*/ 42975 h 324"/>
              <a:gd name="T60" fmla="*/ 29994 w 438"/>
              <a:gd name="T61" fmla="*/ 34185 h 324"/>
              <a:gd name="T62" fmla="*/ 31929 w 438"/>
              <a:gd name="T63" fmla="*/ 37115 h 324"/>
              <a:gd name="T64" fmla="*/ 40638 w 438"/>
              <a:gd name="T65" fmla="*/ 39068 h 324"/>
              <a:gd name="T66" fmla="*/ 44508 w 438"/>
              <a:gd name="T67" fmla="*/ 30278 h 324"/>
              <a:gd name="T68" fmla="*/ 51280 w 438"/>
              <a:gd name="T69" fmla="*/ 28324 h 324"/>
              <a:gd name="T70" fmla="*/ 55151 w 438"/>
              <a:gd name="T71" fmla="*/ 19534 h 324"/>
              <a:gd name="T72" fmla="*/ 63859 w 438"/>
              <a:gd name="T73" fmla="*/ 19534 h 324"/>
              <a:gd name="T74" fmla="*/ 70632 w 438"/>
              <a:gd name="T75" fmla="*/ 12697 h 324"/>
              <a:gd name="T76" fmla="*/ 87080 w 438"/>
              <a:gd name="T77" fmla="*/ 6837 h 324"/>
              <a:gd name="T78" fmla="*/ 93853 w 438"/>
              <a:gd name="T79" fmla="*/ 0 h 324"/>
              <a:gd name="T80" fmla="*/ 104497 w 438"/>
              <a:gd name="T81" fmla="*/ 0 h 324"/>
              <a:gd name="T82" fmla="*/ 112237 w 438"/>
              <a:gd name="T83" fmla="*/ 3906 h 324"/>
              <a:gd name="T84" fmla="*/ 115139 w 438"/>
              <a:gd name="T85" fmla="*/ 15627 h 324"/>
              <a:gd name="T86" fmla="*/ 117075 w 438"/>
              <a:gd name="T87" fmla="*/ 21487 h 324"/>
              <a:gd name="T88" fmla="*/ 119010 w 438"/>
              <a:gd name="T89" fmla="*/ 28324 h 324"/>
              <a:gd name="T90" fmla="*/ 127717 w 438"/>
              <a:gd name="T91" fmla="*/ 32231 h 324"/>
              <a:gd name="T92" fmla="*/ 131588 w 438"/>
              <a:gd name="T93" fmla="*/ 37115 h 324"/>
              <a:gd name="T94" fmla="*/ 127717 w 438"/>
              <a:gd name="T95" fmla="*/ 39068 h 324"/>
              <a:gd name="T96" fmla="*/ 134491 w 438"/>
              <a:gd name="T97" fmla="*/ 47859 h 324"/>
              <a:gd name="T98" fmla="*/ 142231 w 438"/>
              <a:gd name="T99" fmla="*/ 52742 h 324"/>
              <a:gd name="T100" fmla="*/ 152875 w 438"/>
              <a:gd name="T101" fmla="*/ 52742 h 324"/>
              <a:gd name="T102" fmla="*/ 150939 w 438"/>
              <a:gd name="T103" fmla="*/ 58602 h 324"/>
              <a:gd name="T104" fmla="*/ 152875 w 438"/>
              <a:gd name="T105" fmla="*/ 69346 h 324"/>
              <a:gd name="T106" fmla="*/ 144166 w 438"/>
              <a:gd name="T107" fmla="*/ 76183 h 324"/>
              <a:gd name="T108" fmla="*/ 135459 w 438"/>
              <a:gd name="T109" fmla="*/ 76183 h 324"/>
              <a:gd name="T110" fmla="*/ 134491 w 438"/>
              <a:gd name="T111" fmla="*/ 78136 h 324"/>
              <a:gd name="T112" fmla="*/ 129653 w 438"/>
              <a:gd name="T113" fmla="*/ 83020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38" h="324">
                <a:moveTo>
                  <a:pt x="360" y="234"/>
                </a:moveTo>
                <a:lnTo>
                  <a:pt x="354" y="234"/>
                </a:lnTo>
                <a:lnTo>
                  <a:pt x="348" y="234"/>
                </a:lnTo>
                <a:lnTo>
                  <a:pt x="342" y="234"/>
                </a:lnTo>
                <a:lnTo>
                  <a:pt x="342" y="240"/>
                </a:lnTo>
                <a:lnTo>
                  <a:pt x="336" y="240"/>
                </a:lnTo>
                <a:lnTo>
                  <a:pt x="336" y="234"/>
                </a:lnTo>
                <a:lnTo>
                  <a:pt x="330" y="234"/>
                </a:lnTo>
                <a:lnTo>
                  <a:pt x="324" y="234"/>
                </a:lnTo>
                <a:lnTo>
                  <a:pt x="318" y="234"/>
                </a:lnTo>
                <a:lnTo>
                  <a:pt x="312" y="228"/>
                </a:lnTo>
                <a:lnTo>
                  <a:pt x="306" y="228"/>
                </a:lnTo>
                <a:lnTo>
                  <a:pt x="300" y="228"/>
                </a:lnTo>
                <a:lnTo>
                  <a:pt x="294" y="228"/>
                </a:lnTo>
                <a:lnTo>
                  <a:pt x="288" y="228"/>
                </a:lnTo>
                <a:lnTo>
                  <a:pt x="294" y="228"/>
                </a:lnTo>
                <a:lnTo>
                  <a:pt x="288" y="228"/>
                </a:lnTo>
                <a:lnTo>
                  <a:pt x="288" y="234"/>
                </a:lnTo>
                <a:lnTo>
                  <a:pt x="288" y="228"/>
                </a:lnTo>
                <a:lnTo>
                  <a:pt x="282" y="228"/>
                </a:lnTo>
                <a:lnTo>
                  <a:pt x="282" y="234"/>
                </a:lnTo>
                <a:lnTo>
                  <a:pt x="276" y="234"/>
                </a:lnTo>
                <a:lnTo>
                  <a:pt x="276" y="240"/>
                </a:lnTo>
                <a:lnTo>
                  <a:pt x="270" y="240"/>
                </a:lnTo>
                <a:lnTo>
                  <a:pt x="270" y="234"/>
                </a:lnTo>
                <a:lnTo>
                  <a:pt x="264" y="234"/>
                </a:lnTo>
                <a:lnTo>
                  <a:pt x="258" y="234"/>
                </a:lnTo>
                <a:lnTo>
                  <a:pt x="258" y="240"/>
                </a:lnTo>
                <a:lnTo>
                  <a:pt x="258" y="234"/>
                </a:lnTo>
                <a:lnTo>
                  <a:pt x="252" y="234"/>
                </a:lnTo>
                <a:lnTo>
                  <a:pt x="246" y="234"/>
                </a:lnTo>
                <a:lnTo>
                  <a:pt x="240" y="234"/>
                </a:lnTo>
                <a:lnTo>
                  <a:pt x="234" y="234"/>
                </a:lnTo>
                <a:lnTo>
                  <a:pt x="228" y="234"/>
                </a:lnTo>
                <a:lnTo>
                  <a:pt x="222" y="234"/>
                </a:lnTo>
                <a:lnTo>
                  <a:pt x="216" y="234"/>
                </a:lnTo>
                <a:lnTo>
                  <a:pt x="210" y="234"/>
                </a:lnTo>
                <a:lnTo>
                  <a:pt x="204" y="234"/>
                </a:lnTo>
                <a:lnTo>
                  <a:pt x="198" y="234"/>
                </a:lnTo>
                <a:lnTo>
                  <a:pt x="192" y="234"/>
                </a:lnTo>
                <a:lnTo>
                  <a:pt x="186" y="234"/>
                </a:lnTo>
                <a:lnTo>
                  <a:pt x="180" y="234"/>
                </a:lnTo>
                <a:lnTo>
                  <a:pt x="174" y="234"/>
                </a:lnTo>
                <a:lnTo>
                  <a:pt x="168" y="234"/>
                </a:lnTo>
                <a:lnTo>
                  <a:pt x="162" y="234"/>
                </a:lnTo>
                <a:lnTo>
                  <a:pt x="156" y="234"/>
                </a:lnTo>
                <a:lnTo>
                  <a:pt x="150" y="234"/>
                </a:lnTo>
                <a:lnTo>
                  <a:pt x="150" y="240"/>
                </a:lnTo>
                <a:lnTo>
                  <a:pt x="144" y="240"/>
                </a:lnTo>
                <a:lnTo>
                  <a:pt x="144" y="246"/>
                </a:lnTo>
                <a:lnTo>
                  <a:pt x="144" y="252"/>
                </a:lnTo>
                <a:lnTo>
                  <a:pt x="144" y="258"/>
                </a:lnTo>
                <a:lnTo>
                  <a:pt x="144" y="264"/>
                </a:lnTo>
                <a:lnTo>
                  <a:pt x="150" y="270"/>
                </a:lnTo>
                <a:lnTo>
                  <a:pt x="150" y="276"/>
                </a:lnTo>
                <a:lnTo>
                  <a:pt x="150" y="282"/>
                </a:lnTo>
                <a:lnTo>
                  <a:pt x="150" y="288"/>
                </a:lnTo>
                <a:lnTo>
                  <a:pt x="150" y="294"/>
                </a:lnTo>
                <a:lnTo>
                  <a:pt x="156" y="294"/>
                </a:lnTo>
                <a:lnTo>
                  <a:pt x="150" y="294"/>
                </a:lnTo>
                <a:lnTo>
                  <a:pt x="150" y="300"/>
                </a:lnTo>
                <a:lnTo>
                  <a:pt x="156" y="300"/>
                </a:lnTo>
                <a:lnTo>
                  <a:pt x="150" y="306"/>
                </a:lnTo>
                <a:lnTo>
                  <a:pt x="150" y="312"/>
                </a:lnTo>
                <a:lnTo>
                  <a:pt x="156" y="312"/>
                </a:lnTo>
                <a:lnTo>
                  <a:pt x="150" y="312"/>
                </a:lnTo>
                <a:lnTo>
                  <a:pt x="150" y="318"/>
                </a:lnTo>
                <a:lnTo>
                  <a:pt x="156" y="318"/>
                </a:lnTo>
                <a:lnTo>
                  <a:pt x="156" y="324"/>
                </a:lnTo>
                <a:lnTo>
                  <a:pt x="150" y="324"/>
                </a:lnTo>
                <a:lnTo>
                  <a:pt x="144" y="318"/>
                </a:lnTo>
                <a:lnTo>
                  <a:pt x="144" y="312"/>
                </a:lnTo>
                <a:lnTo>
                  <a:pt x="138" y="312"/>
                </a:lnTo>
                <a:lnTo>
                  <a:pt x="138" y="306"/>
                </a:lnTo>
                <a:lnTo>
                  <a:pt x="132" y="306"/>
                </a:lnTo>
                <a:lnTo>
                  <a:pt x="132" y="300"/>
                </a:lnTo>
                <a:lnTo>
                  <a:pt x="126" y="300"/>
                </a:lnTo>
                <a:lnTo>
                  <a:pt x="126" y="294"/>
                </a:lnTo>
                <a:lnTo>
                  <a:pt x="126" y="300"/>
                </a:lnTo>
                <a:lnTo>
                  <a:pt x="120" y="300"/>
                </a:lnTo>
                <a:lnTo>
                  <a:pt x="120" y="294"/>
                </a:lnTo>
                <a:lnTo>
                  <a:pt x="114" y="294"/>
                </a:lnTo>
                <a:lnTo>
                  <a:pt x="108" y="294"/>
                </a:lnTo>
                <a:lnTo>
                  <a:pt x="102" y="294"/>
                </a:lnTo>
                <a:lnTo>
                  <a:pt x="96" y="294"/>
                </a:lnTo>
                <a:lnTo>
                  <a:pt x="96" y="300"/>
                </a:lnTo>
                <a:lnTo>
                  <a:pt x="90" y="300"/>
                </a:lnTo>
                <a:lnTo>
                  <a:pt x="84" y="300"/>
                </a:lnTo>
                <a:lnTo>
                  <a:pt x="84" y="306"/>
                </a:lnTo>
                <a:lnTo>
                  <a:pt x="78" y="306"/>
                </a:lnTo>
                <a:lnTo>
                  <a:pt x="78" y="300"/>
                </a:lnTo>
                <a:lnTo>
                  <a:pt x="72" y="306"/>
                </a:lnTo>
                <a:lnTo>
                  <a:pt x="66" y="306"/>
                </a:lnTo>
                <a:lnTo>
                  <a:pt x="66" y="312"/>
                </a:lnTo>
                <a:lnTo>
                  <a:pt x="60" y="312"/>
                </a:lnTo>
                <a:lnTo>
                  <a:pt x="66" y="312"/>
                </a:lnTo>
                <a:lnTo>
                  <a:pt x="60" y="312"/>
                </a:lnTo>
                <a:lnTo>
                  <a:pt x="54" y="312"/>
                </a:lnTo>
                <a:lnTo>
                  <a:pt x="54" y="306"/>
                </a:lnTo>
                <a:lnTo>
                  <a:pt x="54" y="312"/>
                </a:lnTo>
                <a:lnTo>
                  <a:pt x="48" y="312"/>
                </a:lnTo>
                <a:lnTo>
                  <a:pt x="48" y="306"/>
                </a:lnTo>
                <a:lnTo>
                  <a:pt x="48" y="312"/>
                </a:lnTo>
                <a:lnTo>
                  <a:pt x="42" y="312"/>
                </a:lnTo>
                <a:lnTo>
                  <a:pt x="42" y="306"/>
                </a:lnTo>
                <a:lnTo>
                  <a:pt x="36" y="306"/>
                </a:lnTo>
                <a:lnTo>
                  <a:pt x="42" y="306"/>
                </a:lnTo>
                <a:lnTo>
                  <a:pt x="42" y="300"/>
                </a:lnTo>
                <a:lnTo>
                  <a:pt x="36" y="300"/>
                </a:lnTo>
                <a:lnTo>
                  <a:pt x="30" y="300"/>
                </a:lnTo>
                <a:lnTo>
                  <a:pt x="30" y="294"/>
                </a:lnTo>
                <a:lnTo>
                  <a:pt x="30" y="288"/>
                </a:lnTo>
                <a:lnTo>
                  <a:pt x="24" y="288"/>
                </a:lnTo>
                <a:lnTo>
                  <a:pt x="30" y="288"/>
                </a:lnTo>
                <a:lnTo>
                  <a:pt x="24" y="288"/>
                </a:lnTo>
                <a:lnTo>
                  <a:pt x="24" y="282"/>
                </a:lnTo>
                <a:lnTo>
                  <a:pt x="24" y="288"/>
                </a:lnTo>
                <a:lnTo>
                  <a:pt x="24" y="282"/>
                </a:lnTo>
                <a:lnTo>
                  <a:pt x="24" y="288"/>
                </a:lnTo>
                <a:lnTo>
                  <a:pt x="24" y="282"/>
                </a:lnTo>
                <a:lnTo>
                  <a:pt x="18" y="282"/>
                </a:lnTo>
                <a:lnTo>
                  <a:pt x="24" y="282"/>
                </a:lnTo>
                <a:lnTo>
                  <a:pt x="18" y="282"/>
                </a:lnTo>
                <a:lnTo>
                  <a:pt x="18" y="276"/>
                </a:lnTo>
                <a:lnTo>
                  <a:pt x="12" y="276"/>
                </a:lnTo>
                <a:lnTo>
                  <a:pt x="6" y="276"/>
                </a:lnTo>
                <a:lnTo>
                  <a:pt x="6" y="270"/>
                </a:lnTo>
                <a:lnTo>
                  <a:pt x="0" y="270"/>
                </a:lnTo>
                <a:lnTo>
                  <a:pt x="0" y="264"/>
                </a:lnTo>
                <a:lnTo>
                  <a:pt x="0" y="258"/>
                </a:lnTo>
                <a:lnTo>
                  <a:pt x="0" y="252"/>
                </a:lnTo>
                <a:lnTo>
                  <a:pt x="0" y="246"/>
                </a:lnTo>
                <a:lnTo>
                  <a:pt x="6" y="246"/>
                </a:lnTo>
                <a:lnTo>
                  <a:pt x="6" y="240"/>
                </a:lnTo>
                <a:lnTo>
                  <a:pt x="0" y="240"/>
                </a:lnTo>
                <a:lnTo>
                  <a:pt x="0" y="234"/>
                </a:lnTo>
                <a:lnTo>
                  <a:pt x="0" y="228"/>
                </a:lnTo>
                <a:lnTo>
                  <a:pt x="6" y="228"/>
                </a:lnTo>
                <a:lnTo>
                  <a:pt x="12" y="228"/>
                </a:lnTo>
                <a:lnTo>
                  <a:pt x="12" y="222"/>
                </a:lnTo>
                <a:lnTo>
                  <a:pt x="12" y="216"/>
                </a:lnTo>
                <a:lnTo>
                  <a:pt x="18" y="216"/>
                </a:lnTo>
                <a:lnTo>
                  <a:pt x="18" y="210"/>
                </a:lnTo>
                <a:lnTo>
                  <a:pt x="18" y="204"/>
                </a:lnTo>
                <a:lnTo>
                  <a:pt x="12" y="204"/>
                </a:lnTo>
                <a:lnTo>
                  <a:pt x="12" y="198"/>
                </a:lnTo>
                <a:lnTo>
                  <a:pt x="12" y="204"/>
                </a:lnTo>
                <a:lnTo>
                  <a:pt x="12" y="198"/>
                </a:lnTo>
                <a:lnTo>
                  <a:pt x="12" y="192"/>
                </a:lnTo>
                <a:lnTo>
                  <a:pt x="6" y="192"/>
                </a:lnTo>
                <a:lnTo>
                  <a:pt x="6" y="186"/>
                </a:lnTo>
                <a:lnTo>
                  <a:pt x="6" y="192"/>
                </a:lnTo>
                <a:lnTo>
                  <a:pt x="6" y="186"/>
                </a:lnTo>
                <a:lnTo>
                  <a:pt x="12" y="186"/>
                </a:lnTo>
                <a:lnTo>
                  <a:pt x="18" y="186"/>
                </a:lnTo>
                <a:lnTo>
                  <a:pt x="18" y="180"/>
                </a:lnTo>
                <a:lnTo>
                  <a:pt x="24" y="180"/>
                </a:lnTo>
                <a:lnTo>
                  <a:pt x="30" y="180"/>
                </a:lnTo>
                <a:lnTo>
                  <a:pt x="36" y="180"/>
                </a:lnTo>
                <a:lnTo>
                  <a:pt x="42" y="180"/>
                </a:lnTo>
                <a:lnTo>
                  <a:pt x="42" y="174"/>
                </a:lnTo>
                <a:lnTo>
                  <a:pt x="48" y="174"/>
                </a:lnTo>
                <a:lnTo>
                  <a:pt x="54" y="174"/>
                </a:lnTo>
                <a:lnTo>
                  <a:pt x="54" y="168"/>
                </a:lnTo>
                <a:lnTo>
                  <a:pt x="48" y="168"/>
                </a:lnTo>
                <a:lnTo>
                  <a:pt x="54" y="168"/>
                </a:lnTo>
                <a:lnTo>
                  <a:pt x="54" y="162"/>
                </a:lnTo>
                <a:lnTo>
                  <a:pt x="60" y="162"/>
                </a:lnTo>
                <a:lnTo>
                  <a:pt x="60" y="156"/>
                </a:lnTo>
                <a:lnTo>
                  <a:pt x="60" y="150"/>
                </a:lnTo>
                <a:lnTo>
                  <a:pt x="60" y="144"/>
                </a:lnTo>
                <a:lnTo>
                  <a:pt x="54" y="144"/>
                </a:lnTo>
                <a:lnTo>
                  <a:pt x="54" y="138"/>
                </a:lnTo>
                <a:lnTo>
                  <a:pt x="60" y="138"/>
                </a:lnTo>
                <a:lnTo>
                  <a:pt x="66" y="138"/>
                </a:lnTo>
                <a:lnTo>
                  <a:pt x="72" y="138"/>
                </a:lnTo>
                <a:lnTo>
                  <a:pt x="72" y="132"/>
                </a:lnTo>
                <a:lnTo>
                  <a:pt x="72" y="126"/>
                </a:lnTo>
                <a:lnTo>
                  <a:pt x="72" y="120"/>
                </a:lnTo>
                <a:lnTo>
                  <a:pt x="66" y="120"/>
                </a:lnTo>
                <a:lnTo>
                  <a:pt x="66" y="114"/>
                </a:lnTo>
                <a:lnTo>
                  <a:pt x="72" y="114"/>
                </a:lnTo>
                <a:lnTo>
                  <a:pt x="72" y="108"/>
                </a:lnTo>
                <a:lnTo>
                  <a:pt x="78" y="102"/>
                </a:lnTo>
                <a:lnTo>
                  <a:pt x="78" y="96"/>
                </a:lnTo>
                <a:lnTo>
                  <a:pt x="84" y="96"/>
                </a:lnTo>
                <a:lnTo>
                  <a:pt x="84" y="90"/>
                </a:lnTo>
                <a:lnTo>
                  <a:pt x="84" y="96"/>
                </a:lnTo>
                <a:lnTo>
                  <a:pt x="90" y="96"/>
                </a:lnTo>
                <a:lnTo>
                  <a:pt x="84" y="96"/>
                </a:lnTo>
                <a:lnTo>
                  <a:pt x="84" y="102"/>
                </a:lnTo>
                <a:lnTo>
                  <a:pt x="90" y="102"/>
                </a:lnTo>
                <a:lnTo>
                  <a:pt x="96" y="102"/>
                </a:lnTo>
                <a:lnTo>
                  <a:pt x="102" y="108"/>
                </a:lnTo>
                <a:lnTo>
                  <a:pt x="108" y="108"/>
                </a:lnTo>
                <a:lnTo>
                  <a:pt x="108" y="114"/>
                </a:lnTo>
                <a:lnTo>
                  <a:pt x="114" y="114"/>
                </a:lnTo>
                <a:lnTo>
                  <a:pt x="114" y="108"/>
                </a:lnTo>
                <a:lnTo>
                  <a:pt x="120" y="108"/>
                </a:lnTo>
                <a:lnTo>
                  <a:pt x="126" y="108"/>
                </a:lnTo>
                <a:lnTo>
                  <a:pt x="126" y="102"/>
                </a:lnTo>
                <a:lnTo>
                  <a:pt x="126" y="96"/>
                </a:lnTo>
                <a:lnTo>
                  <a:pt x="126" y="90"/>
                </a:lnTo>
                <a:lnTo>
                  <a:pt x="126" y="84"/>
                </a:lnTo>
                <a:lnTo>
                  <a:pt x="126" y="78"/>
                </a:lnTo>
                <a:lnTo>
                  <a:pt x="126" y="84"/>
                </a:lnTo>
                <a:lnTo>
                  <a:pt x="132" y="84"/>
                </a:lnTo>
                <a:lnTo>
                  <a:pt x="138" y="84"/>
                </a:lnTo>
                <a:lnTo>
                  <a:pt x="144" y="84"/>
                </a:lnTo>
                <a:lnTo>
                  <a:pt x="144" y="78"/>
                </a:lnTo>
                <a:lnTo>
                  <a:pt x="144" y="72"/>
                </a:lnTo>
                <a:lnTo>
                  <a:pt x="144" y="66"/>
                </a:lnTo>
                <a:lnTo>
                  <a:pt x="150" y="66"/>
                </a:lnTo>
                <a:lnTo>
                  <a:pt x="150" y="60"/>
                </a:lnTo>
                <a:lnTo>
                  <a:pt x="156" y="60"/>
                </a:lnTo>
                <a:lnTo>
                  <a:pt x="156" y="54"/>
                </a:lnTo>
                <a:lnTo>
                  <a:pt x="162" y="54"/>
                </a:lnTo>
                <a:lnTo>
                  <a:pt x="162" y="48"/>
                </a:lnTo>
                <a:lnTo>
                  <a:pt x="168" y="48"/>
                </a:lnTo>
                <a:lnTo>
                  <a:pt x="174" y="48"/>
                </a:lnTo>
                <a:lnTo>
                  <a:pt x="180" y="48"/>
                </a:lnTo>
                <a:lnTo>
                  <a:pt x="180" y="54"/>
                </a:lnTo>
                <a:lnTo>
                  <a:pt x="186" y="54"/>
                </a:lnTo>
                <a:lnTo>
                  <a:pt x="192" y="54"/>
                </a:lnTo>
                <a:lnTo>
                  <a:pt x="192" y="48"/>
                </a:lnTo>
                <a:lnTo>
                  <a:pt x="198" y="48"/>
                </a:lnTo>
                <a:lnTo>
                  <a:pt x="198" y="42"/>
                </a:lnTo>
                <a:lnTo>
                  <a:pt x="198" y="36"/>
                </a:lnTo>
                <a:lnTo>
                  <a:pt x="210" y="36"/>
                </a:lnTo>
                <a:lnTo>
                  <a:pt x="216" y="36"/>
                </a:lnTo>
                <a:lnTo>
                  <a:pt x="216" y="30"/>
                </a:lnTo>
                <a:lnTo>
                  <a:pt x="234" y="24"/>
                </a:lnTo>
                <a:lnTo>
                  <a:pt x="240" y="18"/>
                </a:lnTo>
                <a:lnTo>
                  <a:pt x="246" y="18"/>
                </a:lnTo>
                <a:lnTo>
                  <a:pt x="252" y="18"/>
                </a:lnTo>
                <a:lnTo>
                  <a:pt x="252" y="12"/>
                </a:lnTo>
                <a:lnTo>
                  <a:pt x="258" y="12"/>
                </a:lnTo>
                <a:lnTo>
                  <a:pt x="258" y="6"/>
                </a:lnTo>
                <a:lnTo>
                  <a:pt x="264" y="6"/>
                </a:lnTo>
                <a:lnTo>
                  <a:pt x="264" y="0"/>
                </a:lnTo>
                <a:lnTo>
                  <a:pt x="270" y="0"/>
                </a:lnTo>
                <a:lnTo>
                  <a:pt x="276" y="0"/>
                </a:lnTo>
                <a:lnTo>
                  <a:pt x="282" y="0"/>
                </a:lnTo>
                <a:lnTo>
                  <a:pt x="282" y="6"/>
                </a:lnTo>
                <a:lnTo>
                  <a:pt x="288" y="6"/>
                </a:lnTo>
                <a:lnTo>
                  <a:pt x="294" y="0"/>
                </a:lnTo>
                <a:lnTo>
                  <a:pt x="294" y="6"/>
                </a:lnTo>
                <a:lnTo>
                  <a:pt x="300" y="6"/>
                </a:lnTo>
                <a:lnTo>
                  <a:pt x="306" y="6"/>
                </a:lnTo>
                <a:lnTo>
                  <a:pt x="312" y="6"/>
                </a:lnTo>
                <a:lnTo>
                  <a:pt x="318" y="6"/>
                </a:lnTo>
                <a:lnTo>
                  <a:pt x="318" y="12"/>
                </a:lnTo>
                <a:lnTo>
                  <a:pt x="318" y="18"/>
                </a:lnTo>
                <a:lnTo>
                  <a:pt x="318" y="24"/>
                </a:lnTo>
                <a:lnTo>
                  <a:pt x="318" y="30"/>
                </a:lnTo>
                <a:lnTo>
                  <a:pt x="318" y="36"/>
                </a:lnTo>
                <a:lnTo>
                  <a:pt x="318" y="42"/>
                </a:lnTo>
                <a:lnTo>
                  <a:pt x="324" y="42"/>
                </a:lnTo>
                <a:lnTo>
                  <a:pt x="324" y="48"/>
                </a:lnTo>
                <a:lnTo>
                  <a:pt x="330" y="48"/>
                </a:lnTo>
                <a:lnTo>
                  <a:pt x="330" y="54"/>
                </a:lnTo>
                <a:lnTo>
                  <a:pt x="324" y="54"/>
                </a:lnTo>
                <a:lnTo>
                  <a:pt x="324" y="60"/>
                </a:lnTo>
                <a:lnTo>
                  <a:pt x="330" y="60"/>
                </a:lnTo>
                <a:lnTo>
                  <a:pt x="330" y="66"/>
                </a:lnTo>
                <a:lnTo>
                  <a:pt x="336" y="66"/>
                </a:lnTo>
                <a:lnTo>
                  <a:pt x="330" y="66"/>
                </a:lnTo>
                <a:lnTo>
                  <a:pt x="330" y="72"/>
                </a:lnTo>
                <a:lnTo>
                  <a:pt x="336" y="72"/>
                </a:lnTo>
                <a:lnTo>
                  <a:pt x="336" y="78"/>
                </a:lnTo>
                <a:lnTo>
                  <a:pt x="342" y="78"/>
                </a:lnTo>
                <a:lnTo>
                  <a:pt x="342" y="84"/>
                </a:lnTo>
                <a:lnTo>
                  <a:pt x="348" y="84"/>
                </a:lnTo>
                <a:lnTo>
                  <a:pt x="354" y="84"/>
                </a:lnTo>
                <a:lnTo>
                  <a:pt x="360" y="84"/>
                </a:lnTo>
                <a:lnTo>
                  <a:pt x="360" y="90"/>
                </a:lnTo>
                <a:lnTo>
                  <a:pt x="366" y="90"/>
                </a:lnTo>
                <a:lnTo>
                  <a:pt x="366" y="96"/>
                </a:lnTo>
                <a:lnTo>
                  <a:pt x="372" y="96"/>
                </a:lnTo>
                <a:lnTo>
                  <a:pt x="372" y="102"/>
                </a:lnTo>
                <a:lnTo>
                  <a:pt x="372" y="96"/>
                </a:lnTo>
                <a:lnTo>
                  <a:pt x="372" y="102"/>
                </a:lnTo>
                <a:lnTo>
                  <a:pt x="378" y="96"/>
                </a:lnTo>
                <a:lnTo>
                  <a:pt x="378" y="102"/>
                </a:lnTo>
                <a:lnTo>
                  <a:pt x="372" y="102"/>
                </a:lnTo>
                <a:lnTo>
                  <a:pt x="366" y="102"/>
                </a:lnTo>
                <a:lnTo>
                  <a:pt x="360" y="102"/>
                </a:lnTo>
                <a:lnTo>
                  <a:pt x="360" y="108"/>
                </a:lnTo>
                <a:lnTo>
                  <a:pt x="360" y="114"/>
                </a:lnTo>
                <a:lnTo>
                  <a:pt x="360" y="120"/>
                </a:lnTo>
                <a:lnTo>
                  <a:pt x="366" y="120"/>
                </a:lnTo>
                <a:lnTo>
                  <a:pt x="372" y="126"/>
                </a:lnTo>
                <a:lnTo>
                  <a:pt x="378" y="126"/>
                </a:lnTo>
                <a:lnTo>
                  <a:pt x="378" y="132"/>
                </a:lnTo>
                <a:lnTo>
                  <a:pt x="384" y="132"/>
                </a:lnTo>
                <a:lnTo>
                  <a:pt x="384" y="138"/>
                </a:lnTo>
                <a:lnTo>
                  <a:pt x="390" y="138"/>
                </a:lnTo>
                <a:lnTo>
                  <a:pt x="390" y="144"/>
                </a:lnTo>
                <a:lnTo>
                  <a:pt x="396" y="144"/>
                </a:lnTo>
                <a:lnTo>
                  <a:pt x="402" y="144"/>
                </a:lnTo>
                <a:lnTo>
                  <a:pt x="408" y="144"/>
                </a:lnTo>
                <a:lnTo>
                  <a:pt x="414" y="138"/>
                </a:lnTo>
                <a:lnTo>
                  <a:pt x="420" y="138"/>
                </a:lnTo>
                <a:lnTo>
                  <a:pt x="426" y="138"/>
                </a:lnTo>
                <a:lnTo>
                  <a:pt x="426" y="144"/>
                </a:lnTo>
                <a:lnTo>
                  <a:pt x="432" y="144"/>
                </a:lnTo>
                <a:lnTo>
                  <a:pt x="432" y="150"/>
                </a:lnTo>
                <a:lnTo>
                  <a:pt x="432" y="156"/>
                </a:lnTo>
                <a:lnTo>
                  <a:pt x="426" y="156"/>
                </a:lnTo>
                <a:lnTo>
                  <a:pt x="420" y="156"/>
                </a:lnTo>
                <a:lnTo>
                  <a:pt x="420" y="162"/>
                </a:lnTo>
                <a:lnTo>
                  <a:pt x="426" y="162"/>
                </a:lnTo>
                <a:lnTo>
                  <a:pt x="426" y="168"/>
                </a:lnTo>
                <a:lnTo>
                  <a:pt x="432" y="174"/>
                </a:lnTo>
                <a:lnTo>
                  <a:pt x="438" y="180"/>
                </a:lnTo>
                <a:lnTo>
                  <a:pt x="438" y="186"/>
                </a:lnTo>
                <a:lnTo>
                  <a:pt x="438" y="192"/>
                </a:lnTo>
                <a:lnTo>
                  <a:pt x="432" y="192"/>
                </a:lnTo>
                <a:lnTo>
                  <a:pt x="432" y="198"/>
                </a:lnTo>
                <a:lnTo>
                  <a:pt x="432" y="204"/>
                </a:lnTo>
                <a:lnTo>
                  <a:pt x="426" y="204"/>
                </a:lnTo>
                <a:lnTo>
                  <a:pt x="420" y="210"/>
                </a:lnTo>
                <a:lnTo>
                  <a:pt x="414" y="210"/>
                </a:lnTo>
                <a:lnTo>
                  <a:pt x="408" y="210"/>
                </a:lnTo>
                <a:lnTo>
                  <a:pt x="402" y="210"/>
                </a:lnTo>
                <a:lnTo>
                  <a:pt x="396" y="210"/>
                </a:lnTo>
                <a:lnTo>
                  <a:pt x="396" y="216"/>
                </a:lnTo>
                <a:lnTo>
                  <a:pt x="396" y="210"/>
                </a:lnTo>
                <a:lnTo>
                  <a:pt x="390" y="210"/>
                </a:lnTo>
                <a:lnTo>
                  <a:pt x="384" y="210"/>
                </a:lnTo>
                <a:lnTo>
                  <a:pt x="384" y="216"/>
                </a:lnTo>
                <a:lnTo>
                  <a:pt x="378" y="216"/>
                </a:lnTo>
                <a:lnTo>
                  <a:pt x="384" y="216"/>
                </a:lnTo>
                <a:lnTo>
                  <a:pt x="378" y="216"/>
                </a:lnTo>
                <a:lnTo>
                  <a:pt x="378" y="222"/>
                </a:lnTo>
                <a:lnTo>
                  <a:pt x="378" y="216"/>
                </a:lnTo>
                <a:lnTo>
                  <a:pt x="378" y="222"/>
                </a:lnTo>
                <a:lnTo>
                  <a:pt x="372" y="222"/>
                </a:lnTo>
                <a:lnTo>
                  <a:pt x="372" y="228"/>
                </a:lnTo>
                <a:lnTo>
                  <a:pt x="366" y="228"/>
                </a:lnTo>
                <a:lnTo>
                  <a:pt x="366" y="234"/>
                </a:lnTo>
                <a:lnTo>
                  <a:pt x="366" y="228"/>
                </a:lnTo>
                <a:lnTo>
                  <a:pt x="360" y="228"/>
                </a:lnTo>
                <a:lnTo>
                  <a:pt x="360" y="23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4" name="Freeform 14">
            <a:extLst>
              <a:ext uri="{FF2B5EF4-FFF2-40B4-BE49-F238E27FC236}">
                <a16:creationId xmlns:a16="http://schemas.microsoft.com/office/drawing/2014/main" id="{23D1D482-FBF1-B040-8D0E-D930BE522D1B}"/>
              </a:ext>
            </a:extLst>
          </p:cNvPr>
          <p:cNvSpPr>
            <a:spLocks/>
          </p:cNvSpPr>
          <p:nvPr>
            <p:custDataLst>
              <p:tags r:id="rId13"/>
            </p:custDataLst>
          </p:nvPr>
        </p:nvSpPr>
        <p:spPr bwMode="gray">
          <a:xfrm>
            <a:off x="3341136" y="4004451"/>
            <a:ext cx="282719" cy="310329"/>
          </a:xfrm>
          <a:custGeom>
            <a:avLst/>
            <a:gdLst>
              <a:gd name="T0" fmla="*/ 6778 w 246"/>
              <a:gd name="T1" fmla="*/ 121066 h 360"/>
              <a:gd name="T2" fmla="*/ 8714 w 246"/>
              <a:gd name="T3" fmla="*/ 121066 h 360"/>
              <a:gd name="T4" fmla="*/ 10651 w 246"/>
              <a:gd name="T5" fmla="*/ 117192 h 360"/>
              <a:gd name="T6" fmla="*/ 10651 w 246"/>
              <a:gd name="T7" fmla="*/ 115254 h 360"/>
              <a:gd name="T8" fmla="*/ 6778 w 246"/>
              <a:gd name="T9" fmla="*/ 108475 h 360"/>
              <a:gd name="T10" fmla="*/ 3873 w 246"/>
              <a:gd name="T11" fmla="*/ 104601 h 360"/>
              <a:gd name="T12" fmla="*/ 1936 w 246"/>
              <a:gd name="T13" fmla="*/ 95884 h 360"/>
              <a:gd name="T14" fmla="*/ 0 w 246"/>
              <a:gd name="T15" fmla="*/ 87168 h 360"/>
              <a:gd name="T16" fmla="*/ 3873 w 246"/>
              <a:gd name="T17" fmla="*/ 78451 h 360"/>
              <a:gd name="T18" fmla="*/ 6778 w 246"/>
              <a:gd name="T19" fmla="*/ 72639 h 360"/>
              <a:gd name="T20" fmla="*/ 8714 w 246"/>
              <a:gd name="T21" fmla="*/ 63923 h 360"/>
              <a:gd name="T22" fmla="*/ 14523 w 246"/>
              <a:gd name="T23" fmla="*/ 60049 h 360"/>
              <a:gd name="T24" fmla="*/ 12587 w 246"/>
              <a:gd name="T25" fmla="*/ 51332 h 360"/>
              <a:gd name="T26" fmla="*/ 10651 w 246"/>
              <a:gd name="T27" fmla="*/ 42615 h 360"/>
              <a:gd name="T28" fmla="*/ 10651 w 246"/>
              <a:gd name="T29" fmla="*/ 36804 h 360"/>
              <a:gd name="T30" fmla="*/ 10651 w 246"/>
              <a:gd name="T31" fmla="*/ 30024 h 360"/>
              <a:gd name="T32" fmla="*/ 8714 w 246"/>
              <a:gd name="T33" fmla="*/ 23245 h 360"/>
              <a:gd name="T34" fmla="*/ 8714 w 246"/>
              <a:gd name="T35" fmla="*/ 17434 h 360"/>
              <a:gd name="T36" fmla="*/ 6778 w 246"/>
              <a:gd name="T37" fmla="*/ 6780 h 360"/>
              <a:gd name="T38" fmla="*/ 12587 w 246"/>
              <a:gd name="T39" fmla="*/ 1937 h 360"/>
              <a:gd name="T40" fmla="*/ 23237 w 246"/>
              <a:gd name="T41" fmla="*/ 1937 h 360"/>
              <a:gd name="T42" fmla="*/ 33887 w 246"/>
              <a:gd name="T43" fmla="*/ 1937 h 360"/>
              <a:gd name="T44" fmla="*/ 44538 w 246"/>
              <a:gd name="T45" fmla="*/ 1937 h 360"/>
              <a:gd name="T46" fmla="*/ 51316 w 246"/>
              <a:gd name="T47" fmla="*/ 1937 h 360"/>
              <a:gd name="T48" fmla="*/ 55188 w 246"/>
              <a:gd name="T49" fmla="*/ 0 h 360"/>
              <a:gd name="T50" fmla="*/ 57125 w 246"/>
              <a:gd name="T51" fmla="*/ 0 h 360"/>
              <a:gd name="T52" fmla="*/ 63902 w 246"/>
              <a:gd name="T53" fmla="*/ 3874 h 360"/>
              <a:gd name="T54" fmla="*/ 63902 w 246"/>
              <a:gd name="T55" fmla="*/ 10654 h 360"/>
              <a:gd name="T56" fmla="*/ 70679 w 246"/>
              <a:gd name="T57" fmla="*/ 14528 h 360"/>
              <a:gd name="T58" fmla="*/ 70679 w 246"/>
              <a:gd name="T59" fmla="*/ 17434 h 360"/>
              <a:gd name="T60" fmla="*/ 70679 w 246"/>
              <a:gd name="T61" fmla="*/ 23245 h 360"/>
              <a:gd name="T62" fmla="*/ 70679 w 246"/>
              <a:gd name="T63" fmla="*/ 30024 h 360"/>
              <a:gd name="T64" fmla="*/ 70679 w 246"/>
              <a:gd name="T65" fmla="*/ 31961 h 360"/>
              <a:gd name="T66" fmla="*/ 72616 w 246"/>
              <a:gd name="T67" fmla="*/ 31961 h 360"/>
              <a:gd name="T68" fmla="*/ 74552 w 246"/>
              <a:gd name="T69" fmla="*/ 36804 h 360"/>
              <a:gd name="T70" fmla="*/ 74552 w 246"/>
              <a:gd name="T71" fmla="*/ 42615 h 360"/>
              <a:gd name="T72" fmla="*/ 72616 w 246"/>
              <a:gd name="T73" fmla="*/ 51332 h 360"/>
              <a:gd name="T74" fmla="*/ 78425 w 246"/>
              <a:gd name="T75" fmla="*/ 55206 h 360"/>
              <a:gd name="T76" fmla="*/ 76489 w 246"/>
              <a:gd name="T77" fmla="*/ 63923 h 360"/>
              <a:gd name="T78" fmla="*/ 74552 w 246"/>
              <a:gd name="T79" fmla="*/ 72639 h 360"/>
              <a:gd name="T80" fmla="*/ 76489 w 246"/>
              <a:gd name="T81" fmla="*/ 81357 h 360"/>
              <a:gd name="T82" fmla="*/ 76489 w 246"/>
              <a:gd name="T83" fmla="*/ 87168 h 360"/>
              <a:gd name="T84" fmla="*/ 78425 w 246"/>
              <a:gd name="T85" fmla="*/ 91042 h 360"/>
              <a:gd name="T86" fmla="*/ 83266 w 246"/>
              <a:gd name="T87" fmla="*/ 97821 h 360"/>
              <a:gd name="T88" fmla="*/ 83266 w 246"/>
              <a:gd name="T89" fmla="*/ 104601 h 360"/>
              <a:gd name="T90" fmla="*/ 74552 w 246"/>
              <a:gd name="T91" fmla="*/ 106538 h 360"/>
              <a:gd name="T92" fmla="*/ 65839 w 246"/>
              <a:gd name="T93" fmla="*/ 108475 h 360"/>
              <a:gd name="T94" fmla="*/ 60030 w 246"/>
              <a:gd name="T95" fmla="*/ 113318 h 360"/>
              <a:gd name="T96" fmla="*/ 51316 w 246"/>
              <a:gd name="T97" fmla="*/ 115254 h 360"/>
              <a:gd name="T98" fmla="*/ 44538 w 246"/>
              <a:gd name="T99" fmla="*/ 119128 h 360"/>
              <a:gd name="T100" fmla="*/ 36792 w 246"/>
              <a:gd name="T101" fmla="*/ 121066 h 360"/>
              <a:gd name="T102" fmla="*/ 30014 w 246"/>
              <a:gd name="T103" fmla="*/ 125908 h 360"/>
              <a:gd name="T104" fmla="*/ 21301 w 246"/>
              <a:gd name="T105" fmla="*/ 127846 h 360"/>
              <a:gd name="T106" fmla="*/ 19364 w 246"/>
              <a:gd name="T107" fmla="*/ 123972 h 360"/>
              <a:gd name="T108" fmla="*/ 8714 w 246"/>
              <a:gd name="T109" fmla="*/ 121066 h 3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6" h="360">
                <a:moveTo>
                  <a:pt x="6" y="342"/>
                </a:moveTo>
                <a:lnTo>
                  <a:pt x="6" y="336"/>
                </a:lnTo>
                <a:lnTo>
                  <a:pt x="12" y="336"/>
                </a:lnTo>
                <a:lnTo>
                  <a:pt x="12" y="342"/>
                </a:lnTo>
                <a:lnTo>
                  <a:pt x="18" y="342"/>
                </a:lnTo>
                <a:lnTo>
                  <a:pt x="18" y="336"/>
                </a:lnTo>
                <a:lnTo>
                  <a:pt x="24" y="336"/>
                </a:lnTo>
                <a:lnTo>
                  <a:pt x="24" y="342"/>
                </a:lnTo>
                <a:lnTo>
                  <a:pt x="24" y="336"/>
                </a:lnTo>
                <a:lnTo>
                  <a:pt x="24" y="342"/>
                </a:lnTo>
                <a:lnTo>
                  <a:pt x="24" y="336"/>
                </a:lnTo>
                <a:lnTo>
                  <a:pt x="30" y="336"/>
                </a:lnTo>
                <a:lnTo>
                  <a:pt x="24" y="336"/>
                </a:lnTo>
                <a:lnTo>
                  <a:pt x="24" y="330"/>
                </a:lnTo>
                <a:lnTo>
                  <a:pt x="30" y="330"/>
                </a:lnTo>
                <a:lnTo>
                  <a:pt x="24" y="330"/>
                </a:lnTo>
                <a:lnTo>
                  <a:pt x="30" y="330"/>
                </a:lnTo>
                <a:lnTo>
                  <a:pt x="24" y="330"/>
                </a:lnTo>
                <a:lnTo>
                  <a:pt x="24" y="324"/>
                </a:lnTo>
                <a:lnTo>
                  <a:pt x="30" y="324"/>
                </a:lnTo>
                <a:lnTo>
                  <a:pt x="30" y="318"/>
                </a:lnTo>
                <a:lnTo>
                  <a:pt x="24" y="318"/>
                </a:lnTo>
                <a:lnTo>
                  <a:pt x="24" y="312"/>
                </a:lnTo>
                <a:lnTo>
                  <a:pt x="24" y="306"/>
                </a:lnTo>
                <a:lnTo>
                  <a:pt x="18" y="306"/>
                </a:lnTo>
                <a:lnTo>
                  <a:pt x="18" y="312"/>
                </a:lnTo>
                <a:lnTo>
                  <a:pt x="18" y="306"/>
                </a:lnTo>
                <a:lnTo>
                  <a:pt x="12" y="306"/>
                </a:lnTo>
                <a:lnTo>
                  <a:pt x="12" y="300"/>
                </a:lnTo>
                <a:lnTo>
                  <a:pt x="12" y="294"/>
                </a:lnTo>
                <a:lnTo>
                  <a:pt x="12" y="288"/>
                </a:lnTo>
                <a:lnTo>
                  <a:pt x="6" y="288"/>
                </a:lnTo>
                <a:lnTo>
                  <a:pt x="6" y="282"/>
                </a:lnTo>
                <a:lnTo>
                  <a:pt x="6" y="276"/>
                </a:lnTo>
                <a:lnTo>
                  <a:pt x="6" y="270"/>
                </a:lnTo>
                <a:lnTo>
                  <a:pt x="0" y="270"/>
                </a:lnTo>
                <a:lnTo>
                  <a:pt x="0" y="264"/>
                </a:lnTo>
                <a:lnTo>
                  <a:pt x="0" y="258"/>
                </a:lnTo>
                <a:lnTo>
                  <a:pt x="0" y="252"/>
                </a:lnTo>
                <a:lnTo>
                  <a:pt x="0" y="246"/>
                </a:lnTo>
                <a:lnTo>
                  <a:pt x="0" y="240"/>
                </a:lnTo>
                <a:lnTo>
                  <a:pt x="6" y="234"/>
                </a:lnTo>
                <a:lnTo>
                  <a:pt x="6" y="228"/>
                </a:lnTo>
                <a:lnTo>
                  <a:pt x="12" y="228"/>
                </a:lnTo>
                <a:lnTo>
                  <a:pt x="12" y="222"/>
                </a:lnTo>
                <a:lnTo>
                  <a:pt x="18" y="222"/>
                </a:lnTo>
                <a:lnTo>
                  <a:pt x="12" y="216"/>
                </a:lnTo>
                <a:lnTo>
                  <a:pt x="18" y="216"/>
                </a:lnTo>
                <a:lnTo>
                  <a:pt x="18" y="210"/>
                </a:lnTo>
                <a:lnTo>
                  <a:pt x="18" y="204"/>
                </a:lnTo>
                <a:lnTo>
                  <a:pt x="18" y="198"/>
                </a:lnTo>
                <a:lnTo>
                  <a:pt x="18" y="192"/>
                </a:lnTo>
                <a:lnTo>
                  <a:pt x="24" y="192"/>
                </a:lnTo>
                <a:lnTo>
                  <a:pt x="24" y="186"/>
                </a:lnTo>
                <a:lnTo>
                  <a:pt x="24" y="180"/>
                </a:lnTo>
                <a:lnTo>
                  <a:pt x="30" y="180"/>
                </a:lnTo>
                <a:lnTo>
                  <a:pt x="30" y="174"/>
                </a:lnTo>
                <a:lnTo>
                  <a:pt x="36" y="174"/>
                </a:lnTo>
                <a:lnTo>
                  <a:pt x="36" y="168"/>
                </a:lnTo>
                <a:lnTo>
                  <a:pt x="42" y="168"/>
                </a:lnTo>
                <a:lnTo>
                  <a:pt x="42" y="162"/>
                </a:lnTo>
                <a:lnTo>
                  <a:pt x="42" y="156"/>
                </a:lnTo>
                <a:lnTo>
                  <a:pt x="42" y="150"/>
                </a:lnTo>
                <a:lnTo>
                  <a:pt x="36" y="150"/>
                </a:lnTo>
                <a:lnTo>
                  <a:pt x="36" y="144"/>
                </a:lnTo>
                <a:lnTo>
                  <a:pt x="36" y="138"/>
                </a:lnTo>
                <a:lnTo>
                  <a:pt x="36" y="132"/>
                </a:lnTo>
                <a:lnTo>
                  <a:pt x="36" y="126"/>
                </a:lnTo>
                <a:lnTo>
                  <a:pt x="30" y="126"/>
                </a:lnTo>
                <a:lnTo>
                  <a:pt x="30" y="120"/>
                </a:lnTo>
                <a:lnTo>
                  <a:pt x="24" y="120"/>
                </a:lnTo>
                <a:lnTo>
                  <a:pt x="24" y="114"/>
                </a:lnTo>
                <a:lnTo>
                  <a:pt x="30" y="114"/>
                </a:lnTo>
                <a:lnTo>
                  <a:pt x="30" y="108"/>
                </a:lnTo>
                <a:lnTo>
                  <a:pt x="30" y="102"/>
                </a:lnTo>
                <a:lnTo>
                  <a:pt x="30" y="96"/>
                </a:lnTo>
                <a:lnTo>
                  <a:pt x="30" y="90"/>
                </a:lnTo>
                <a:lnTo>
                  <a:pt x="24" y="90"/>
                </a:lnTo>
                <a:lnTo>
                  <a:pt x="24" y="84"/>
                </a:lnTo>
                <a:lnTo>
                  <a:pt x="30" y="84"/>
                </a:lnTo>
                <a:lnTo>
                  <a:pt x="24" y="84"/>
                </a:lnTo>
                <a:lnTo>
                  <a:pt x="24" y="78"/>
                </a:lnTo>
                <a:lnTo>
                  <a:pt x="30" y="72"/>
                </a:lnTo>
                <a:lnTo>
                  <a:pt x="24" y="72"/>
                </a:lnTo>
                <a:lnTo>
                  <a:pt x="24" y="66"/>
                </a:lnTo>
                <a:lnTo>
                  <a:pt x="30" y="66"/>
                </a:lnTo>
                <a:lnTo>
                  <a:pt x="24" y="66"/>
                </a:lnTo>
                <a:lnTo>
                  <a:pt x="24" y="60"/>
                </a:lnTo>
                <a:lnTo>
                  <a:pt x="24" y="54"/>
                </a:lnTo>
                <a:lnTo>
                  <a:pt x="24" y="48"/>
                </a:lnTo>
                <a:lnTo>
                  <a:pt x="24" y="42"/>
                </a:lnTo>
                <a:lnTo>
                  <a:pt x="18" y="36"/>
                </a:lnTo>
                <a:lnTo>
                  <a:pt x="18" y="30"/>
                </a:lnTo>
                <a:lnTo>
                  <a:pt x="18" y="24"/>
                </a:lnTo>
                <a:lnTo>
                  <a:pt x="18" y="18"/>
                </a:lnTo>
                <a:lnTo>
                  <a:pt x="18" y="12"/>
                </a:lnTo>
                <a:lnTo>
                  <a:pt x="24" y="12"/>
                </a:lnTo>
                <a:lnTo>
                  <a:pt x="24" y="6"/>
                </a:lnTo>
                <a:lnTo>
                  <a:pt x="30" y="6"/>
                </a:lnTo>
                <a:lnTo>
                  <a:pt x="36" y="6"/>
                </a:lnTo>
                <a:lnTo>
                  <a:pt x="42" y="6"/>
                </a:lnTo>
                <a:lnTo>
                  <a:pt x="48" y="6"/>
                </a:lnTo>
                <a:lnTo>
                  <a:pt x="54" y="6"/>
                </a:lnTo>
                <a:lnTo>
                  <a:pt x="60" y="6"/>
                </a:lnTo>
                <a:lnTo>
                  <a:pt x="66" y="6"/>
                </a:lnTo>
                <a:lnTo>
                  <a:pt x="72" y="6"/>
                </a:lnTo>
                <a:lnTo>
                  <a:pt x="78" y="6"/>
                </a:lnTo>
                <a:lnTo>
                  <a:pt x="84" y="6"/>
                </a:lnTo>
                <a:lnTo>
                  <a:pt x="90" y="6"/>
                </a:lnTo>
                <a:lnTo>
                  <a:pt x="96" y="6"/>
                </a:lnTo>
                <a:lnTo>
                  <a:pt x="102" y="6"/>
                </a:lnTo>
                <a:lnTo>
                  <a:pt x="108" y="6"/>
                </a:lnTo>
                <a:lnTo>
                  <a:pt x="114" y="6"/>
                </a:lnTo>
                <a:lnTo>
                  <a:pt x="120" y="6"/>
                </a:lnTo>
                <a:lnTo>
                  <a:pt x="126" y="6"/>
                </a:lnTo>
                <a:lnTo>
                  <a:pt x="132" y="6"/>
                </a:lnTo>
                <a:lnTo>
                  <a:pt x="132" y="12"/>
                </a:lnTo>
                <a:lnTo>
                  <a:pt x="132" y="6"/>
                </a:lnTo>
                <a:lnTo>
                  <a:pt x="138" y="6"/>
                </a:lnTo>
                <a:lnTo>
                  <a:pt x="144" y="6"/>
                </a:lnTo>
                <a:lnTo>
                  <a:pt x="144" y="12"/>
                </a:lnTo>
                <a:lnTo>
                  <a:pt x="150" y="12"/>
                </a:lnTo>
                <a:lnTo>
                  <a:pt x="150" y="6"/>
                </a:lnTo>
                <a:lnTo>
                  <a:pt x="156" y="6"/>
                </a:lnTo>
                <a:lnTo>
                  <a:pt x="156" y="0"/>
                </a:lnTo>
                <a:lnTo>
                  <a:pt x="162" y="0"/>
                </a:lnTo>
                <a:lnTo>
                  <a:pt x="162" y="6"/>
                </a:lnTo>
                <a:lnTo>
                  <a:pt x="162" y="0"/>
                </a:lnTo>
                <a:lnTo>
                  <a:pt x="168" y="0"/>
                </a:lnTo>
                <a:lnTo>
                  <a:pt x="162" y="0"/>
                </a:lnTo>
                <a:lnTo>
                  <a:pt x="168" y="0"/>
                </a:lnTo>
                <a:lnTo>
                  <a:pt x="174" y="0"/>
                </a:lnTo>
                <a:lnTo>
                  <a:pt x="180" y="0"/>
                </a:lnTo>
                <a:lnTo>
                  <a:pt x="180" y="6"/>
                </a:lnTo>
                <a:lnTo>
                  <a:pt x="180" y="12"/>
                </a:lnTo>
                <a:lnTo>
                  <a:pt x="180" y="18"/>
                </a:lnTo>
                <a:lnTo>
                  <a:pt x="174" y="18"/>
                </a:lnTo>
                <a:lnTo>
                  <a:pt x="174" y="24"/>
                </a:lnTo>
                <a:lnTo>
                  <a:pt x="174" y="30"/>
                </a:lnTo>
                <a:lnTo>
                  <a:pt x="180" y="30"/>
                </a:lnTo>
                <a:lnTo>
                  <a:pt x="186" y="30"/>
                </a:lnTo>
                <a:lnTo>
                  <a:pt x="186" y="36"/>
                </a:lnTo>
                <a:lnTo>
                  <a:pt x="192" y="36"/>
                </a:lnTo>
                <a:lnTo>
                  <a:pt x="192" y="42"/>
                </a:lnTo>
                <a:lnTo>
                  <a:pt x="198" y="42"/>
                </a:lnTo>
                <a:lnTo>
                  <a:pt x="198" y="48"/>
                </a:lnTo>
                <a:lnTo>
                  <a:pt x="198" y="42"/>
                </a:lnTo>
                <a:lnTo>
                  <a:pt x="198" y="48"/>
                </a:lnTo>
                <a:lnTo>
                  <a:pt x="204" y="48"/>
                </a:lnTo>
                <a:lnTo>
                  <a:pt x="198" y="48"/>
                </a:lnTo>
                <a:lnTo>
                  <a:pt x="198" y="54"/>
                </a:lnTo>
                <a:lnTo>
                  <a:pt x="198" y="60"/>
                </a:lnTo>
                <a:lnTo>
                  <a:pt x="204" y="60"/>
                </a:lnTo>
                <a:lnTo>
                  <a:pt x="198" y="60"/>
                </a:lnTo>
                <a:lnTo>
                  <a:pt x="198" y="66"/>
                </a:lnTo>
                <a:lnTo>
                  <a:pt x="204" y="66"/>
                </a:lnTo>
                <a:lnTo>
                  <a:pt x="198" y="66"/>
                </a:lnTo>
                <a:lnTo>
                  <a:pt x="198" y="72"/>
                </a:lnTo>
                <a:lnTo>
                  <a:pt x="198" y="78"/>
                </a:lnTo>
                <a:lnTo>
                  <a:pt x="198" y="84"/>
                </a:lnTo>
                <a:lnTo>
                  <a:pt x="204" y="84"/>
                </a:lnTo>
                <a:lnTo>
                  <a:pt x="204" y="90"/>
                </a:lnTo>
                <a:lnTo>
                  <a:pt x="198" y="90"/>
                </a:lnTo>
                <a:lnTo>
                  <a:pt x="192" y="90"/>
                </a:lnTo>
                <a:lnTo>
                  <a:pt x="198" y="90"/>
                </a:lnTo>
                <a:lnTo>
                  <a:pt x="198" y="96"/>
                </a:lnTo>
                <a:lnTo>
                  <a:pt x="192" y="96"/>
                </a:lnTo>
                <a:lnTo>
                  <a:pt x="198" y="96"/>
                </a:lnTo>
                <a:lnTo>
                  <a:pt x="198" y="90"/>
                </a:lnTo>
                <a:lnTo>
                  <a:pt x="204" y="90"/>
                </a:lnTo>
                <a:lnTo>
                  <a:pt x="204" y="96"/>
                </a:lnTo>
                <a:lnTo>
                  <a:pt x="204" y="90"/>
                </a:lnTo>
                <a:lnTo>
                  <a:pt x="204" y="96"/>
                </a:lnTo>
                <a:lnTo>
                  <a:pt x="210" y="96"/>
                </a:lnTo>
                <a:lnTo>
                  <a:pt x="210" y="102"/>
                </a:lnTo>
                <a:lnTo>
                  <a:pt x="210" y="108"/>
                </a:lnTo>
                <a:lnTo>
                  <a:pt x="210" y="114"/>
                </a:lnTo>
                <a:lnTo>
                  <a:pt x="204" y="114"/>
                </a:lnTo>
                <a:lnTo>
                  <a:pt x="204" y="120"/>
                </a:lnTo>
                <a:lnTo>
                  <a:pt x="210" y="120"/>
                </a:lnTo>
                <a:lnTo>
                  <a:pt x="210" y="126"/>
                </a:lnTo>
                <a:lnTo>
                  <a:pt x="210" y="132"/>
                </a:lnTo>
                <a:lnTo>
                  <a:pt x="204" y="132"/>
                </a:lnTo>
                <a:lnTo>
                  <a:pt x="204" y="138"/>
                </a:lnTo>
                <a:lnTo>
                  <a:pt x="204" y="144"/>
                </a:lnTo>
                <a:lnTo>
                  <a:pt x="210" y="144"/>
                </a:lnTo>
                <a:lnTo>
                  <a:pt x="210" y="150"/>
                </a:lnTo>
                <a:lnTo>
                  <a:pt x="216" y="150"/>
                </a:lnTo>
                <a:lnTo>
                  <a:pt x="216" y="156"/>
                </a:lnTo>
                <a:lnTo>
                  <a:pt x="222" y="156"/>
                </a:lnTo>
                <a:lnTo>
                  <a:pt x="222" y="162"/>
                </a:lnTo>
                <a:lnTo>
                  <a:pt x="216" y="162"/>
                </a:lnTo>
                <a:lnTo>
                  <a:pt x="216" y="168"/>
                </a:lnTo>
                <a:lnTo>
                  <a:pt x="216" y="174"/>
                </a:lnTo>
                <a:lnTo>
                  <a:pt x="216" y="180"/>
                </a:lnTo>
                <a:lnTo>
                  <a:pt x="216" y="186"/>
                </a:lnTo>
                <a:lnTo>
                  <a:pt x="216" y="192"/>
                </a:lnTo>
                <a:lnTo>
                  <a:pt x="210" y="192"/>
                </a:lnTo>
                <a:lnTo>
                  <a:pt x="210" y="198"/>
                </a:lnTo>
                <a:lnTo>
                  <a:pt x="210" y="204"/>
                </a:lnTo>
                <a:lnTo>
                  <a:pt x="210" y="210"/>
                </a:lnTo>
                <a:lnTo>
                  <a:pt x="216" y="210"/>
                </a:lnTo>
                <a:lnTo>
                  <a:pt x="216" y="216"/>
                </a:lnTo>
                <a:lnTo>
                  <a:pt x="216" y="222"/>
                </a:lnTo>
                <a:lnTo>
                  <a:pt x="216" y="228"/>
                </a:lnTo>
                <a:lnTo>
                  <a:pt x="216" y="234"/>
                </a:lnTo>
                <a:lnTo>
                  <a:pt x="210" y="234"/>
                </a:lnTo>
                <a:lnTo>
                  <a:pt x="210" y="240"/>
                </a:lnTo>
                <a:lnTo>
                  <a:pt x="210" y="246"/>
                </a:lnTo>
                <a:lnTo>
                  <a:pt x="216" y="246"/>
                </a:lnTo>
                <a:lnTo>
                  <a:pt x="210" y="246"/>
                </a:lnTo>
                <a:lnTo>
                  <a:pt x="216" y="246"/>
                </a:lnTo>
                <a:lnTo>
                  <a:pt x="216" y="252"/>
                </a:lnTo>
                <a:lnTo>
                  <a:pt x="216" y="258"/>
                </a:lnTo>
                <a:lnTo>
                  <a:pt x="222" y="258"/>
                </a:lnTo>
                <a:lnTo>
                  <a:pt x="222" y="264"/>
                </a:lnTo>
                <a:lnTo>
                  <a:pt x="228" y="264"/>
                </a:lnTo>
                <a:lnTo>
                  <a:pt x="228" y="270"/>
                </a:lnTo>
                <a:lnTo>
                  <a:pt x="234" y="270"/>
                </a:lnTo>
                <a:lnTo>
                  <a:pt x="234" y="276"/>
                </a:lnTo>
                <a:lnTo>
                  <a:pt x="240" y="276"/>
                </a:lnTo>
                <a:lnTo>
                  <a:pt x="240" y="282"/>
                </a:lnTo>
                <a:lnTo>
                  <a:pt x="246" y="282"/>
                </a:lnTo>
                <a:lnTo>
                  <a:pt x="240" y="288"/>
                </a:lnTo>
                <a:lnTo>
                  <a:pt x="234" y="294"/>
                </a:lnTo>
                <a:lnTo>
                  <a:pt x="234" y="300"/>
                </a:lnTo>
                <a:lnTo>
                  <a:pt x="228" y="300"/>
                </a:lnTo>
                <a:lnTo>
                  <a:pt x="222" y="300"/>
                </a:lnTo>
                <a:lnTo>
                  <a:pt x="216" y="300"/>
                </a:lnTo>
                <a:lnTo>
                  <a:pt x="210" y="300"/>
                </a:lnTo>
                <a:lnTo>
                  <a:pt x="204" y="300"/>
                </a:lnTo>
                <a:lnTo>
                  <a:pt x="198" y="300"/>
                </a:lnTo>
                <a:lnTo>
                  <a:pt x="192" y="300"/>
                </a:lnTo>
                <a:lnTo>
                  <a:pt x="192" y="306"/>
                </a:lnTo>
                <a:lnTo>
                  <a:pt x="186" y="306"/>
                </a:lnTo>
                <a:lnTo>
                  <a:pt x="180" y="306"/>
                </a:lnTo>
                <a:lnTo>
                  <a:pt x="180" y="312"/>
                </a:lnTo>
                <a:lnTo>
                  <a:pt x="174" y="312"/>
                </a:lnTo>
                <a:lnTo>
                  <a:pt x="168" y="312"/>
                </a:lnTo>
                <a:lnTo>
                  <a:pt x="168" y="318"/>
                </a:lnTo>
                <a:lnTo>
                  <a:pt x="162" y="318"/>
                </a:lnTo>
                <a:lnTo>
                  <a:pt x="156" y="318"/>
                </a:lnTo>
                <a:lnTo>
                  <a:pt x="156" y="324"/>
                </a:lnTo>
                <a:lnTo>
                  <a:pt x="150" y="324"/>
                </a:lnTo>
                <a:lnTo>
                  <a:pt x="144" y="324"/>
                </a:lnTo>
                <a:lnTo>
                  <a:pt x="144" y="330"/>
                </a:lnTo>
                <a:lnTo>
                  <a:pt x="138" y="330"/>
                </a:lnTo>
                <a:lnTo>
                  <a:pt x="132" y="330"/>
                </a:lnTo>
                <a:lnTo>
                  <a:pt x="132" y="336"/>
                </a:lnTo>
                <a:lnTo>
                  <a:pt x="126" y="336"/>
                </a:lnTo>
                <a:lnTo>
                  <a:pt x="120" y="336"/>
                </a:lnTo>
                <a:lnTo>
                  <a:pt x="114" y="336"/>
                </a:lnTo>
                <a:lnTo>
                  <a:pt x="114" y="342"/>
                </a:lnTo>
                <a:lnTo>
                  <a:pt x="108" y="342"/>
                </a:lnTo>
                <a:lnTo>
                  <a:pt x="102" y="342"/>
                </a:lnTo>
                <a:lnTo>
                  <a:pt x="96" y="342"/>
                </a:lnTo>
                <a:lnTo>
                  <a:pt x="90" y="342"/>
                </a:lnTo>
                <a:lnTo>
                  <a:pt x="90" y="348"/>
                </a:lnTo>
                <a:lnTo>
                  <a:pt x="84" y="348"/>
                </a:lnTo>
                <a:lnTo>
                  <a:pt x="84" y="354"/>
                </a:lnTo>
                <a:lnTo>
                  <a:pt x="78" y="354"/>
                </a:lnTo>
                <a:lnTo>
                  <a:pt x="72" y="354"/>
                </a:lnTo>
                <a:lnTo>
                  <a:pt x="72" y="360"/>
                </a:lnTo>
                <a:lnTo>
                  <a:pt x="66" y="360"/>
                </a:lnTo>
                <a:lnTo>
                  <a:pt x="60" y="360"/>
                </a:lnTo>
                <a:lnTo>
                  <a:pt x="66" y="360"/>
                </a:lnTo>
                <a:lnTo>
                  <a:pt x="60" y="360"/>
                </a:lnTo>
                <a:lnTo>
                  <a:pt x="60" y="354"/>
                </a:lnTo>
                <a:lnTo>
                  <a:pt x="54" y="354"/>
                </a:lnTo>
                <a:lnTo>
                  <a:pt x="54" y="348"/>
                </a:lnTo>
                <a:lnTo>
                  <a:pt x="48" y="348"/>
                </a:lnTo>
                <a:lnTo>
                  <a:pt x="42" y="348"/>
                </a:lnTo>
                <a:lnTo>
                  <a:pt x="36" y="348"/>
                </a:lnTo>
                <a:lnTo>
                  <a:pt x="30" y="342"/>
                </a:lnTo>
                <a:lnTo>
                  <a:pt x="24" y="342"/>
                </a:lnTo>
                <a:lnTo>
                  <a:pt x="18" y="342"/>
                </a:lnTo>
                <a:lnTo>
                  <a:pt x="12" y="342"/>
                </a:lnTo>
                <a:lnTo>
                  <a:pt x="6" y="34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5" name="Freeform 15">
            <a:extLst>
              <a:ext uri="{FF2B5EF4-FFF2-40B4-BE49-F238E27FC236}">
                <a16:creationId xmlns:a16="http://schemas.microsoft.com/office/drawing/2014/main" id="{B0FC7362-3403-A041-8E3C-A1C5602661A9}"/>
              </a:ext>
            </a:extLst>
          </p:cNvPr>
          <p:cNvSpPr>
            <a:spLocks noEditPoints="1"/>
          </p:cNvSpPr>
          <p:nvPr>
            <p:custDataLst>
              <p:tags r:id="rId14"/>
            </p:custDataLst>
          </p:nvPr>
        </p:nvSpPr>
        <p:spPr bwMode="gray">
          <a:xfrm>
            <a:off x="2995092" y="4024328"/>
            <a:ext cx="396102" cy="305912"/>
          </a:xfrm>
          <a:custGeom>
            <a:avLst/>
            <a:gdLst>
              <a:gd name="T0" fmla="*/ 99935 w 342"/>
              <a:gd name="T1" fmla="*/ 111985 h 354"/>
              <a:gd name="T2" fmla="*/ 87198 w 342"/>
              <a:gd name="T3" fmla="*/ 111985 h 354"/>
              <a:gd name="T4" fmla="*/ 71523 w 342"/>
              <a:gd name="T5" fmla="*/ 111985 h 354"/>
              <a:gd name="T6" fmla="*/ 58785 w 342"/>
              <a:gd name="T7" fmla="*/ 113933 h 354"/>
              <a:gd name="T8" fmla="*/ 49968 w 342"/>
              <a:gd name="T9" fmla="*/ 113933 h 354"/>
              <a:gd name="T10" fmla="*/ 43109 w 342"/>
              <a:gd name="T11" fmla="*/ 117828 h 354"/>
              <a:gd name="T12" fmla="*/ 34291 w 342"/>
              <a:gd name="T13" fmla="*/ 120750 h 354"/>
              <a:gd name="T14" fmla="*/ 23514 w 342"/>
              <a:gd name="T15" fmla="*/ 127566 h 354"/>
              <a:gd name="T16" fmla="*/ 21555 w 342"/>
              <a:gd name="T17" fmla="*/ 113933 h 354"/>
              <a:gd name="T18" fmla="*/ 23514 w 342"/>
              <a:gd name="T19" fmla="*/ 108090 h 354"/>
              <a:gd name="T20" fmla="*/ 23514 w 342"/>
              <a:gd name="T21" fmla="*/ 103222 h 354"/>
              <a:gd name="T22" fmla="*/ 21555 w 342"/>
              <a:gd name="T23" fmla="*/ 99326 h 354"/>
              <a:gd name="T24" fmla="*/ 17635 w 342"/>
              <a:gd name="T25" fmla="*/ 92510 h 354"/>
              <a:gd name="T26" fmla="*/ 12737 w 342"/>
              <a:gd name="T27" fmla="*/ 90563 h 354"/>
              <a:gd name="T28" fmla="*/ 8818 w 342"/>
              <a:gd name="T29" fmla="*/ 87641 h 354"/>
              <a:gd name="T30" fmla="*/ 0 w 342"/>
              <a:gd name="T31" fmla="*/ 83746 h 354"/>
              <a:gd name="T32" fmla="*/ 6858 w 342"/>
              <a:gd name="T33" fmla="*/ 79850 h 354"/>
              <a:gd name="T34" fmla="*/ 3919 w 342"/>
              <a:gd name="T35" fmla="*/ 69139 h 354"/>
              <a:gd name="T36" fmla="*/ 8818 w 342"/>
              <a:gd name="T37" fmla="*/ 62323 h 354"/>
              <a:gd name="T38" fmla="*/ 12737 w 342"/>
              <a:gd name="T39" fmla="*/ 51610 h 354"/>
              <a:gd name="T40" fmla="*/ 12737 w 342"/>
              <a:gd name="T41" fmla="*/ 45768 h 354"/>
              <a:gd name="T42" fmla="*/ 17635 w 342"/>
              <a:gd name="T43" fmla="*/ 47716 h 354"/>
              <a:gd name="T44" fmla="*/ 12737 w 342"/>
              <a:gd name="T45" fmla="*/ 38951 h 354"/>
              <a:gd name="T46" fmla="*/ 15676 w 342"/>
              <a:gd name="T47" fmla="*/ 32135 h 354"/>
              <a:gd name="T48" fmla="*/ 8818 w 342"/>
              <a:gd name="T49" fmla="*/ 23371 h 354"/>
              <a:gd name="T50" fmla="*/ 10777 w 342"/>
              <a:gd name="T51" fmla="*/ 19476 h 354"/>
              <a:gd name="T52" fmla="*/ 8818 w 342"/>
              <a:gd name="T53" fmla="*/ 15581 h 354"/>
              <a:gd name="T54" fmla="*/ 17635 w 342"/>
              <a:gd name="T55" fmla="*/ 8764 h 354"/>
              <a:gd name="T56" fmla="*/ 26453 w 342"/>
              <a:gd name="T57" fmla="*/ 6816 h 354"/>
              <a:gd name="T58" fmla="*/ 32332 w 342"/>
              <a:gd name="T59" fmla="*/ 6816 h 354"/>
              <a:gd name="T60" fmla="*/ 39190 w 342"/>
              <a:gd name="T61" fmla="*/ 1948 h 354"/>
              <a:gd name="T62" fmla="*/ 46049 w 342"/>
              <a:gd name="T63" fmla="*/ 0 h 354"/>
              <a:gd name="T64" fmla="*/ 49968 w 342"/>
              <a:gd name="T65" fmla="*/ 6816 h 354"/>
              <a:gd name="T66" fmla="*/ 53887 w 342"/>
              <a:gd name="T67" fmla="*/ 8764 h 354"/>
              <a:gd name="T68" fmla="*/ 62705 w 342"/>
              <a:gd name="T69" fmla="*/ 6816 h 354"/>
              <a:gd name="T70" fmla="*/ 69562 w 342"/>
              <a:gd name="T71" fmla="*/ 10711 h 354"/>
              <a:gd name="T72" fmla="*/ 73482 w 342"/>
              <a:gd name="T73" fmla="*/ 12659 h 354"/>
              <a:gd name="T74" fmla="*/ 78380 w 342"/>
              <a:gd name="T75" fmla="*/ 19476 h 354"/>
              <a:gd name="T76" fmla="*/ 83279 w 342"/>
              <a:gd name="T77" fmla="*/ 21424 h 354"/>
              <a:gd name="T78" fmla="*/ 87198 w 342"/>
              <a:gd name="T79" fmla="*/ 19476 h 354"/>
              <a:gd name="T80" fmla="*/ 97976 w 342"/>
              <a:gd name="T81" fmla="*/ 17528 h 354"/>
              <a:gd name="T82" fmla="*/ 108753 w 342"/>
              <a:gd name="T83" fmla="*/ 17528 h 354"/>
              <a:gd name="T84" fmla="*/ 114632 w 342"/>
              <a:gd name="T85" fmla="*/ 21424 h 354"/>
              <a:gd name="T86" fmla="*/ 119530 w 342"/>
              <a:gd name="T87" fmla="*/ 30188 h 354"/>
              <a:gd name="T88" fmla="*/ 121490 w 342"/>
              <a:gd name="T89" fmla="*/ 38951 h 354"/>
              <a:gd name="T90" fmla="*/ 124429 w 342"/>
              <a:gd name="T91" fmla="*/ 51610 h 354"/>
              <a:gd name="T92" fmla="*/ 117570 w 342"/>
              <a:gd name="T93" fmla="*/ 60375 h 354"/>
              <a:gd name="T94" fmla="*/ 114632 w 342"/>
              <a:gd name="T95" fmla="*/ 71086 h 354"/>
              <a:gd name="T96" fmla="*/ 108753 w 342"/>
              <a:gd name="T97" fmla="*/ 81798 h 354"/>
              <a:gd name="T98" fmla="*/ 110712 w 342"/>
              <a:gd name="T99" fmla="*/ 94458 h 354"/>
              <a:gd name="T100" fmla="*/ 114632 w 342"/>
              <a:gd name="T101" fmla="*/ 101274 h 354"/>
              <a:gd name="T102" fmla="*/ 117570 w 342"/>
              <a:gd name="T103" fmla="*/ 110038 h 354"/>
              <a:gd name="T104" fmla="*/ 117570 w 342"/>
              <a:gd name="T105" fmla="*/ 111985 h 354"/>
              <a:gd name="T106" fmla="*/ 113652 w 342"/>
              <a:gd name="T107" fmla="*/ 113933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54">
                <a:moveTo>
                  <a:pt x="306" y="318"/>
                </a:moveTo>
                <a:lnTo>
                  <a:pt x="306" y="312"/>
                </a:lnTo>
                <a:lnTo>
                  <a:pt x="300" y="312"/>
                </a:lnTo>
                <a:lnTo>
                  <a:pt x="294" y="312"/>
                </a:lnTo>
                <a:lnTo>
                  <a:pt x="288" y="312"/>
                </a:lnTo>
                <a:lnTo>
                  <a:pt x="282" y="312"/>
                </a:lnTo>
                <a:lnTo>
                  <a:pt x="276" y="312"/>
                </a:lnTo>
                <a:lnTo>
                  <a:pt x="270" y="312"/>
                </a:lnTo>
                <a:lnTo>
                  <a:pt x="264" y="306"/>
                </a:lnTo>
                <a:lnTo>
                  <a:pt x="258" y="306"/>
                </a:lnTo>
                <a:lnTo>
                  <a:pt x="252" y="306"/>
                </a:lnTo>
                <a:lnTo>
                  <a:pt x="246" y="306"/>
                </a:lnTo>
                <a:lnTo>
                  <a:pt x="246" y="312"/>
                </a:lnTo>
                <a:lnTo>
                  <a:pt x="240" y="312"/>
                </a:lnTo>
                <a:lnTo>
                  <a:pt x="234" y="312"/>
                </a:lnTo>
                <a:lnTo>
                  <a:pt x="228" y="312"/>
                </a:lnTo>
                <a:lnTo>
                  <a:pt x="222" y="312"/>
                </a:lnTo>
                <a:lnTo>
                  <a:pt x="216" y="312"/>
                </a:lnTo>
                <a:lnTo>
                  <a:pt x="210" y="312"/>
                </a:lnTo>
                <a:lnTo>
                  <a:pt x="204" y="312"/>
                </a:lnTo>
                <a:lnTo>
                  <a:pt x="198" y="312"/>
                </a:lnTo>
                <a:lnTo>
                  <a:pt x="192" y="312"/>
                </a:lnTo>
                <a:lnTo>
                  <a:pt x="186" y="312"/>
                </a:lnTo>
                <a:lnTo>
                  <a:pt x="180" y="312"/>
                </a:lnTo>
                <a:lnTo>
                  <a:pt x="180" y="318"/>
                </a:lnTo>
                <a:lnTo>
                  <a:pt x="174" y="318"/>
                </a:lnTo>
                <a:lnTo>
                  <a:pt x="168" y="318"/>
                </a:lnTo>
                <a:lnTo>
                  <a:pt x="162" y="318"/>
                </a:lnTo>
                <a:lnTo>
                  <a:pt x="156" y="318"/>
                </a:lnTo>
                <a:lnTo>
                  <a:pt x="150" y="318"/>
                </a:lnTo>
                <a:lnTo>
                  <a:pt x="150" y="324"/>
                </a:lnTo>
                <a:lnTo>
                  <a:pt x="144" y="324"/>
                </a:lnTo>
                <a:lnTo>
                  <a:pt x="144" y="318"/>
                </a:lnTo>
                <a:lnTo>
                  <a:pt x="138" y="324"/>
                </a:lnTo>
                <a:lnTo>
                  <a:pt x="138" y="318"/>
                </a:lnTo>
                <a:lnTo>
                  <a:pt x="138" y="324"/>
                </a:lnTo>
                <a:lnTo>
                  <a:pt x="144" y="324"/>
                </a:lnTo>
                <a:lnTo>
                  <a:pt x="138" y="324"/>
                </a:lnTo>
                <a:lnTo>
                  <a:pt x="138" y="330"/>
                </a:lnTo>
                <a:lnTo>
                  <a:pt x="132" y="330"/>
                </a:lnTo>
                <a:lnTo>
                  <a:pt x="126" y="330"/>
                </a:lnTo>
                <a:lnTo>
                  <a:pt x="120" y="330"/>
                </a:lnTo>
                <a:lnTo>
                  <a:pt x="120" y="336"/>
                </a:lnTo>
                <a:lnTo>
                  <a:pt x="120" y="330"/>
                </a:lnTo>
                <a:lnTo>
                  <a:pt x="120" y="336"/>
                </a:lnTo>
                <a:lnTo>
                  <a:pt x="114" y="336"/>
                </a:lnTo>
                <a:lnTo>
                  <a:pt x="108" y="336"/>
                </a:lnTo>
                <a:lnTo>
                  <a:pt x="102" y="336"/>
                </a:lnTo>
                <a:lnTo>
                  <a:pt x="96" y="336"/>
                </a:lnTo>
                <a:lnTo>
                  <a:pt x="96" y="342"/>
                </a:lnTo>
                <a:lnTo>
                  <a:pt x="90" y="342"/>
                </a:lnTo>
                <a:lnTo>
                  <a:pt x="90" y="348"/>
                </a:lnTo>
                <a:lnTo>
                  <a:pt x="84" y="348"/>
                </a:lnTo>
                <a:lnTo>
                  <a:pt x="78" y="348"/>
                </a:lnTo>
                <a:lnTo>
                  <a:pt x="72" y="354"/>
                </a:lnTo>
                <a:lnTo>
                  <a:pt x="66" y="354"/>
                </a:lnTo>
                <a:lnTo>
                  <a:pt x="60" y="354"/>
                </a:lnTo>
                <a:lnTo>
                  <a:pt x="60" y="348"/>
                </a:lnTo>
                <a:lnTo>
                  <a:pt x="60" y="342"/>
                </a:lnTo>
                <a:lnTo>
                  <a:pt x="60" y="336"/>
                </a:lnTo>
                <a:lnTo>
                  <a:pt x="60" y="330"/>
                </a:lnTo>
                <a:lnTo>
                  <a:pt x="60" y="324"/>
                </a:lnTo>
                <a:lnTo>
                  <a:pt x="60" y="318"/>
                </a:lnTo>
                <a:lnTo>
                  <a:pt x="60" y="312"/>
                </a:lnTo>
                <a:lnTo>
                  <a:pt x="60" y="318"/>
                </a:lnTo>
                <a:lnTo>
                  <a:pt x="66" y="312"/>
                </a:lnTo>
                <a:lnTo>
                  <a:pt x="66" y="306"/>
                </a:lnTo>
                <a:lnTo>
                  <a:pt x="72" y="306"/>
                </a:lnTo>
                <a:lnTo>
                  <a:pt x="72" y="300"/>
                </a:lnTo>
                <a:lnTo>
                  <a:pt x="66" y="300"/>
                </a:lnTo>
                <a:lnTo>
                  <a:pt x="66" y="294"/>
                </a:lnTo>
                <a:lnTo>
                  <a:pt x="66" y="300"/>
                </a:lnTo>
                <a:lnTo>
                  <a:pt x="66" y="294"/>
                </a:lnTo>
                <a:lnTo>
                  <a:pt x="72" y="294"/>
                </a:lnTo>
                <a:lnTo>
                  <a:pt x="66" y="294"/>
                </a:lnTo>
                <a:lnTo>
                  <a:pt x="72" y="294"/>
                </a:lnTo>
                <a:lnTo>
                  <a:pt x="66" y="288"/>
                </a:lnTo>
                <a:lnTo>
                  <a:pt x="72" y="288"/>
                </a:lnTo>
                <a:lnTo>
                  <a:pt x="66" y="288"/>
                </a:lnTo>
                <a:lnTo>
                  <a:pt x="66" y="282"/>
                </a:lnTo>
                <a:lnTo>
                  <a:pt x="66" y="276"/>
                </a:lnTo>
                <a:lnTo>
                  <a:pt x="66" y="270"/>
                </a:lnTo>
                <a:lnTo>
                  <a:pt x="66" y="276"/>
                </a:lnTo>
                <a:lnTo>
                  <a:pt x="60" y="276"/>
                </a:lnTo>
                <a:lnTo>
                  <a:pt x="60" y="270"/>
                </a:lnTo>
                <a:lnTo>
                  <a:pt x="60" y="276"/>
                </a:lnTo>
                <a:lnTo>
                  <a:pt x="60" y="270"/>
                </a:lnTo>
                <a:lnTo>
                  <a:pt x="54" y="270"/>
                </a:lnTo>
                <a:lnTo>
                  <a:pt x="48" y="270"/>
                </a:lnTo>
                <a:lnTo>
                  <a:pt x="48" y="264"/>
                </a:lnTo>
                <a:lnTo>
                  <a:pt x="48" y="258"/>
                </a:lnTo>
                <a:lnTo>
                  <a:pt x="42" y="258"/>
                </a:lnTo>
                <a:lnTo>
                  <a:pt x="42" y="252"/>
                </a:lnTo>
                <a:lnTo>
                  <a:pt x="48" y="252"/>
                </a:lnTo>
                <a:lnTo>
                  <a:pt x="42" y="252"/>
                </a:lnTo>
                <a:lnTo>
                  <a:pt x="42" y="246"/>
                </a:lnTo>
                <a:lnTo>
                  <a:pt x="42" y="252"/>
                </a:lnTo>
                <a:lnTo>
                  <a:pt x="36" y="252"/>
                </a:lnTo>
                <a:lnTo>
                  <a:pt x="36" y="246"/>
                </a:lnTo>
                <a:lnTo>
                  <a:pt x="36" y="252"/>
                </a:lnTo>
                <a:lnTo>
                  <a:pt x="36" y="246"/>
                </a:lnTo>
                <a:lnTo>
                  <a:pt x="30" y="246"/>
                </a:lnTo>
                <a:lnTo>
                  <a:pt x="30" y="252"/>
                </a:lnTo>
                <a:lnTo>
                  <a:pt x="24" y="252"/>
                </a:lnTo>
                <a:lnTo>
                  <a:pt x="24" y="246"/>
                </a:lnTo>
                <a:lnTo>
                  <a:pt x="18" y="246"/>
                </a:lnTo>
                <a:lnTo>
                  <a:pt x="12" y="246"/>
                </a:lnTo>
                <a:lnTo>
                  <a:pt x="12" y="240"/>
                </a:lnTo>
                <a:lnTo>
                  <a:pt x="6" y="240"/>
                </a:lnTo>
                <a:lnTo>
                  <a:pt x="6" y="234"/>
                </a:lnTo>
                <a:lnTo>
                  <a:pt x="0" y="240"/>
                </a:lnTo>
                <a:lnTo>
                  <a:pt x="0" y="234"/>
                </a:lnTo>
                <a:lnTo>
                  <a:pt x="6" y="234"/>
                </a:lnTo>
                <a:lnTo>
                  <a:pt x="6" y="228"/>
                </a:lnTo>
                <a:lnTo>
                  <a:pt x="6" y="234"/>
                </a:lnTo>
                <a:lnTo>
                  <a:pt x="6" y="228"/>
                </a:lnTo>
                <a:lnTo>
                  <a:pt x="12" y="228"/>
                </a:lnTo>
                <a:lnTo>
                  <a:pt x="12" y="222"/>
                </a:lnTo>
                <a:lnTo>
                  <a:pt x="18" y="222"/>
                </a:lnTo>
                <a:lnTo>
                  <a:pt x="18" y="216"/>
                </a:lnTo>
                <a:lnTo>
                  <a:pt x="18" y="210"/>
                </a:lnTo>
                <a:lnTo>
                  <a:pt x="18" y="204"/>
                </a:lnTo>
                <a:lnTo>
                  <a:pt x="18" y="198"/>
                </a:lnTo>
                <a:lnTo>
                  <a:pt x="12" y="198"/>
                </a:lnTo>
                <a:lnTo>
                  <a:pt x="18" y="192"/>
                </a:lnTo>
                <a:lnTo>
                  <a:pt x="12" y="192"/>
                </a:lnTo>
                <a:lnTo>
                  <a:pt x="12" y="186"/>
                </a:lnTo>
                <a:lnTo>
                  <a:pt x="12" y="180"/>
                </a:lnTo>
                <a:lnTo>
                  <a:pt x="6" y="180"/>
                </a:lnTo>
                <a:lnTo>
                  <a:pt x="12" y="174"/>
                </a:lnTo>
                <a:lnTo>
                  <a:pt x="18" y="174"/>
                </a:lnTo>
                <a:lnTo>
                  <a:pt x="24" y="180"/>
                </a:lnTo>
                <a:lnTo>
                  <a:pt x="24" y="174"/>
                </a:lnTo>
                <a:lnTo>
                  <a:pt x="30" y="174"/>
                </a:lnTo>
                <a:lnTo>
                  <a:pt x="30" y="168"/>
                </a:lnTo>
                <a:lnTo>
                  <a:pt x="30" y="162"/>
                </a:lnTo>
                <a:lnTo>
                  <a:pt x="30" y="156"/>
                </a:lnTo>
                <a:lnTo>
                  <a:pt x="30" y="150"/>
                </a:lnTo>
                <a:lnTo>
                  <a:pt x="36" y="150"/>
                </a:lnTo>
                <a:lnTo>
                  <a:pt x="36" y="144"/>
                </a:lnTo>
                <a:lnTo>
                  <a:pt x="30" y="144"/>
                </a:lnTo>
                <a:lnTo>
                  <a:pt x="24" y="144"/>
                </a:lnTo>
                <a:lnTo>
                  <a:pt x="24" y="138"/>
                </a:lnTo>
                <a:lnTo>
                  <a:pt x="24" y="132"/>
                </a:lnTo>
                <a:lnTo>
                  <a:pt x="24" y="126"/>
                </a:lnTo>
                <a:lnTo>
                  <a:pt x="30" y="126"/>
                </a:lnTo>
                <a:lnTo>
                  <a:pt x="36" y="126"/>
                </a:lnTo>
                <a:lnTo>
                  <a:pt x="42" y="126"/>
                </a:lnTo>
                <a:lnTo>
                  <a:pt x="42" y="132"/>
                </a:lnTo>
                <a:lnTo>
                  <a:pt x="42" y="126"/>
                </a:lnTo>
                <a:lnTo>
                  <a:pt x="42" y="132"/>
                </a:lnTo>
                <a:lnTo>
                  <a:pt x="42" y="126"/>
                </a:lnTo>
                <a:lnTo>
                  <a:pt x="48" y="126"/>
                </a:lnTo>
                <a:lnTo>
                  <a:pt x="48" y="132"/>
                </a:lnTo>
                <a:lnTo>
                  <a:pt x="54" y="132"/>
                </a:lnTo>
                <a:lnTo>
                  <a:pt x="54" y="126"/>
                </a:lnTo>
                <a:lnTo>
                  <a:pt x="54" y="120"/>
                </a:lnTo>
                <a:lnTo>
                  <a:pt x="48" y="114"/>
                </a:lnTo>
                <a:lnTo>
                  <a:pt x="48" y="108"/>
                </a:lnTo>
                <a:lnTo>
                  <a:pt x="42" y="108"/>
                </a:lnTo>
                <a:lnTo>
                  <a:pt x="36" y="108"/>
                </a:lnTo>
                <a:lnTo>
                  <a:pt x="36" y="102"/>
                </a:lnTo>
                <a:lnTo>
                  <a:pt x="42" y="96"/>
                </a:lnTo>
                <a:lnTo>
                  <a:pt x="42" y="90"/>
                </a:lnTo>
                <a:lnTo>
                  <a:pt x="48" y="90"/>
                </a:lnTo>
                <a:lnTo>
                  <a:pt x="42" y="90"/>
                </a:lnTo>
                <a:lnTo>
                  <a:pt x="42" y="84"/>
                </a:lnTo>
                <a:lnTo>
                  <a:pt x="42" y="90"/>
                </a:lnTo>
                <a:lnTo>
                  <a:pt x="42" y="84"/>
                </a:lnTo>
                <a:lnTo>
                  <a:pt x="42" y="78"/>
                </a:lnTo>
                <a:lnTo>
                  <a:pt x="42" y="72"/>
                </a:lnTo>
                <a:lnTo>
                  <a:pt x="36" y="72"/>
                </a:lnTo>
                <a:lnTo>
                  <a:pt x="30" y="72"/>
                </a:lnTo>
                <a:lnTo>
                  <a:pt x="30" y="66"/>
                </a:lnTo>
                <a:lnTo>
                  <a:pt x="24" y="66"/>
                </a:lnTo>
                <a:lnTo>
                  <a:pt x="30" y="66"/>
                </a:lnTo>
                <a:lnTo>
                  <a:pt x="24" y="66"/>
                </a:lnTo>
                <a:lnTo>
                  <a:pt x="24" y="60"/>
                </a:lnTo>
                <a:lnTo>
                  <a:pt x="30" y="60"/>
                </a:lnTo>
                <a:lnTo>
                  <a:pt x="24" y="60"/>
                </a:lnTo>
                <a:lnTo>
                  <a:pt x="30" y="60"/>
                </a:lnTo>
                <a:lnTo>
                  <a:pt x="30" y="54"/>
                </a:lnTo>
                <a:lnTo>
                  <a:pt x="30" y="48"/>
                </a:lnTo>
                <a:lnTo>
                  <a:pt x="30" y="42"/>
                </a:lnTo>
                <a:lnTo>
                  <a:pt x="24" y="42"/>
                </a:lnTo>
                <a:lnTo>
                  <a:pt x="24" y="48"/>
                </a:lnTo>
                <a:lnTo>
                  <a:pt x="24" y="42"/>
                </a:lnTo>
                <a:lnTo>
                  <a:pt x="30" y="42"/>
                </a:lnTo>
                <a:lnTo>
                  <a:pt x="24" y="42"/>
                </a:lnTo>
                <a:lnTo>
                  <a:pt x="30" y="42"/>
                </a:lnTo>
                <a:lnTo>
                  <a:pt x="30" y="36"/>
                </a:lnTo>
                <a:lnTo>
                  <a:pt x="36" y="36"/>
                </a:lnTo>
                <a:lnTo>
                  <a:pt x="36" y="30"/>
                </a:lnTo>
                <a:lnTo>
                  <a:pt x="42" y="30"/>
                </a:lnTo>
                <a:lnTo>
                  <a:pt x="42" y="24"/>
                </a:lnTo>
                <a:lnTo>
                  <a:pt x="48" y="24"/>
                </a:lnTo>
                <a:lnTo>
                  <a:pt x="48" y="18"/>
                </a:lnTo>
                <a:lnTo>
                  <a:pt x="54" y="18"/>
                </a:lnTo>
                <a:lnTo>
                  <a:pt x="54" y="12"/>
                </a:lnTo>
                <a:lnTo>
                  <a:pt x="60" y="12"/>
                </a:lnTo>
                <a:lnTo>
                  <a:pt x="66" y="12"/>
                </a:lnTo>
                <a:lnTo>
                  <a:pt x="66" y="18"/>
                </a:lnTo>
                <a:lnTo>
                  <a:pt x="72" y="18"/>
                </a:lnTo>
                <a:lnTo>
                  <a:pt x="72" y="24"/>
                </a:lnTo>
                <a:lnTo>
                  <a:pt x="78" y="24"/>
                </a:lnTo>
                <a:lnTo>
                  <a:pt x="84" y="24"/>
                </a:lnTo>
                <a:lnTo>
                  <a:pt x="84" y="30"/>
                </a:lnTo>
                <a:lnTo>
                  <a:pt x="90" y="30"/>
                </a:lnTo>
                <a:lnTo>
                  <a:pt x="90" y="24"/>
                </a:lnTo>
                <a:lnTo>
                  <a:pt x="90" y="18"/>
                </a:lnTo>
                <a:lnTo>
                  <a:pt x="96" y="18"/>
                </a:lnTo>
                <a:lnTo>
                  <a:pt x="102" y="18"/>
                </a:lnTo>
                <a:lnTo>
                  <a:pt x="108" y="18"/>
                </a:lnTo>
                <a:lnTo>
                  <a:pt x="114" y="18"/>
                </a:lnTo>
                <a:lnTo>
                  <a:pt x="114" y="12"/>
                </a:lnTo>
                <a:lnTo>
                  <a:pt x="108" y="12"/>
                </a:lnTo>
                <a:lnTo>
                  <a:pt x="108" y="6"/>
                </a:lnTo>
                <a:lnTo>
                  <a:pt x="108" y="0"/>
                </a:lnTo>
                <a:lnTo>
                  <a:pt x="114" y="0"/>
                </a:lnTo>
                <a:lnTo>
                  <a:pt x="114" y="6"/>
                </a:lnTo>
                <a:lnTo>
                  <a:pt x="120" y="6"/>
                </a:lnTo>
                <a:lnTo>
                  <a:pt x="126" y="6"/>
                </a:lnTo>
                <a:lnTo>
                  <a:pt x="120" y="0"/>
                </a:lnTo>
                <a:lnTo>
                  <a:pt x="126" y="0"/>
                </a:lnTo>
                <a:lnTo>
                  <a:pt x="132" y="0"/>
                </a:lnTo>
                <a:lnTo>
                  <a:pt x="132" y="6"/>
                </a:lnTo>
                <a:lnTo>
                  <a:pt x="138" y="6"/>
                </a:lnTo>
                <a:lnTo>
                  <a:pt x="132" y="6"/>
                </a:lnTo>
                <a:lnTo>
                  <a:pt x="132" y="12"/>
                </a:lnTo>
                <a:lnTo>
                  <a:pt x="138" y="12"/>
                </a:lnTo>
                <a:lnTo>
                  <a:pt x="138" y="18"/>
                </a:lnTo>
                <a:lnTo>
                  <a:pt x="138" y="24"/>
                </a:lnTo>
                <a:lnTo>
                  <a:pt x="132" y="24"/>
                </a:lnTo>
                <a:lnTo>
                  <a:pt x="138" y="24"/>
                </a:lnTo>
                <a:lnTo>
                  <a:pt x="138" y="30"/>
                </a:lnTo>
                <a:lnTo>
                  <a:pt x="144" y="30"/>
                </a:lnTo>
                <a:lnTo>
                  <a:pt x="150" y="30"/>
                </a:lnTo>
                <a:lnTo>
                  <a:pt x="150" y="24"/>
                </a:lnTo>
                <a:lnTo>
                  <a:pt x="150" y="18"/>
                </a:lnTo>
                <a:lnTo>
                  <a:pt x="156" y="18"/>
                </a:lnTo>
                <a:lnTo>
                  <a:pt x="162" y="18"/>
                </a:lnTo>
                <a:lnTo>
                  <a:pt x="162" y="12"/>
                </a:lnTo>
                <a:lnTo>
                  <a:pt x="168" y="12"/>
                </a:lnTo>
                <a:lnTo>
                  <a:pt x="174" y="12"/>
                </a:lnTo>
                <a:lnTo>
                  <a:pt x="174" y="18"/>
                </a:lnTo>
                <a:lnTo>
                  <a:pt x="180" y="18"/>
                </a:lnTo>
                <a:lnTo>
                  <a:pt x="180" y="24"/>
                </a:lnTo>
                <a:lnTo>
                  <a:pt x="186" y="24"/>
                </a:lnTo>
                <a:lnTo>
                  <a:pt x="192" y="24"/>
                </a:lnTo>
                <a:lnTo>
                  <a:pt x="192" y="30"/>
                </a:lnTo>
                <a:lnTo>
                  <a:pt x="198" y="30"/>
                </a:lnTo>
                <a:lnTo>
                  <a:pt x="192" y="30"/>
                </a:lnTo>
                <a:lnTo>
                  <a:pt x="198" y="30"/>
                </a:lnTo>
                <a:lnTo>
                  <a:pt x="198" y="36"/>
                </a:lnTo>
                <a:lnTo>
                  <a:pt x="198" y="30"/>
                </a:lnTo>
                <a:lnTo>
                  <a:pt x="198" y="36"/>
                </a:lnTo>
                <a:lnTo>
                  <a:pt x="198" y="30"/>
                </a:lnTo>
                <a:lnTo>
                  <a:pt x="198" y="36"/>
                </a:lnTo>
                <a:lnTo>
                  <a:pt x="204" y="36"/>
                </a:lnTo>
                <a:lnTo>
                  <a:pt x="198" y="36"/>
                </a:lnTo>
                <a:lnTo>
                  <a:pt x="204" y="36"/>
                </a:lnTo>
                <a:lnTo>
                  <a:pt x="204" y="42"/>
                </a:lnTo>
                <a:lnTo>
                  <a:pt x="204" y="48"/>
                </a:lnTo>
                <a:lnTo>
                  <a:pt x="210" y="48"/>
                </a:lnTo>
                <a:lnTo>
                  <a:pt x="216" y="48"/>
                </a:lnTo>
                <a:lnTo>
                  <a:pt x="216" y="54"/>
                </a:lnTo>
                <a:lnTo>
                  <a:pt x="210" y="54"/>
                </a:lnTo>
                <a:lnTo>
                  <a:pt x="216" y="54"/>
                </a:lnTo>
                <a:lnTo>
                  <a:pt x="216" y="60"/>
                </a:lnTo>
                <a:lnTo>
                  <a:pt x="222" y="60"/>
                </a:lnTo>
                <a:lnTo>
                  <a:pt x="222" y="54"/>
                </a:lnTo>
                <a:lnTo>
                  <a:pt x="222" y="60"/>
                </a:lnTo>
                <a:lnTo>
                  <a:pt x="228" y="60"/>
                </a:lnTo>
                <a:lnTo>
                  <a:pt x="228" y="54"/>
                </a:lnTo>
                <a:lnTo>
                  <a:pt x="228" y="60"/>
                </a:lnTo>
                <a:lnTo>
                  <a:pt x="234" y="60"/>
                </a:lnTo>
                <a:lnTo>
                  <a:pt x="240" y="60"/>
                </a:lnTo>
                <a:lnTo>
                  <a:pt x="234" y="60"/>
                </a:lnTo>
                <a:lnTo>
                  <a:pt x="240" y="60"/>
                </a:lnTo>
                <a:lnTo>
                  <a:pt x="240" y="54"/>
                </a:lnTo>
                <a:lnTo>
                  <a:pt x="246" y="54"/>
                </a:lnTo>
                <a:lnTo>
                  <a:pt x="252" y="48"/>
                </a:lnTo>
                <a:lnTo>
                  <a:pt x="252" y="54"/>
                </a:lnTo>
                <a:lnTo>
                  <a:pt x="258" y="54"/>
                </a:lnTo>
                <a:lnTo>
                  <a:pt x="258" y="48"/>
                </a:lnTo>
                <a:lnTo>
                  <a:pt x="264" y="48"/>
                </a:lnTo>
                <a:lnTo>
                  <a:pt x="270" y="48"/>
                </a:lnTo>
                <a:lnTo>
                  <a:pt x="270" y="42"/>
                </a:lnTo>
                <a:lnTo>
                  <a:pt x="276" y="42"/>
                </a:lnTo>
                <a:lnTo>
                  <a:pt x="282" y="42"/>
                </a:lnTo>
                <a:lnTo>
                  <a:pt x="288" y="42"/>
                </a:lnTo>
                <a:lnTo>
                  <a:pt x="294" y="42"/>
                </a:lnTo>
                <a:lnTo>
                  <a:pt x="294" y="48"/>
                </a:lnTo>
                <a:lnTo>
                  <a:pt x="300" y="48"/>
                </a:lnTo>
                <a:lnTo>
                  <a:pt x="300" y="42"/>
                </a:lnTo>
                <a:lnTo>
                  <a:pt x="300" y="48"/>
                </a:lnTo>
                <a:lnTo>
                  <a:pt x="306" y="48"/>
                </a:lnTo>
                <a:lnTo>
                  <a:pt x="306" y="54"/>
                </a:lnTo>
                <a:lnTo>
                  <a:pt x="312" y="54"/>
                </a:lnTo>
                <a:lnTo>
                  <a:pt x="312" y="60"/>
                </a:lnTo>
                <a:lnTo>
                  <a:pt x="318" y="60"/>
                </a:lnTo>
                <a:lnTo>
                  <a:pt x="318" y="66"/>
                </a:lnTo>
                <a:lnTo>
                  <a:pt x="324" y="72"/>
                </a:lnTo>
                <a:lnTo>
                  <a:pt x="330" y="72"/>
                </a:lnTo>
                <a:lnTo>
                  <a:pt x="330" y="66"/>
                </a:lnTo>
                <a:lnTo>
                  <a:pt x="330" y="72"/>
                </a:lnTo>
                <a:lnTo>
                  <a:pt x="330" y="78"/>
                </a:lnTo>
                <a:lnTo>
                  <a:pt x="330" y="84"/>
                </a:lnTo>
                <a:lnTo>
                  <a:pt x="330" y="90"/>
                </a:lnTo>
                <a:lnTo>
                  <a:pt x="324" y="90"/>
                </a:lnTo>
                <a:lnTo>
                  <a:pt x="324" y="96"/>
                </a:lnTo>
                <a:lnTo>
                  <a:pt x="330" y="96"/>
                </a:lnTo>
                <a:lnTo>
                  <a:pt x="330" y="102"/>
                </a:lnTo>
                <a:lnTo>
                  <a:pt x="336" y="102"/>
                </a:lnTo>
                <a:lnTo>
                  <a:pt x="336" y="108"/>
                </a:lnTo>
                <a:lnTo>
                  <a:pt x="336" y="114"/>
                </a:lnTo>
                <a:lnTo>
                  <a:pt x="336" y="120"/>
                </a:lnTo>
                <a:lnTo>
                  <a:pt x="336" y="126"/>
                </a:lnTo>
                <a:lnTo>
                  <a:pt x="342" y="126"/>
                </a:lnTo>
                <a:lnTo>
                  <a:pt x="342" y="132"/>
                </a:lnTo>
                <a:lnTo>
                  <a:pt x="342" y="138"/>
                </a:lnTo>
                <a:lnTo>
                  <a:pt x="342" y="144"/>
                </a:lnTo>
                <a:lnTo>
                  <a:pt x="336" y="144"/>
                </a:lnTo>
                <a:lnTo>
                  <a:pt x="336" y="150"/>
                </a:lnTo>
                <a:lnTo>
                  <a:pt x="330" y="150"/>
                </a:lnTo>
                <a:lnTo>
                  <a:pt x="330" y="156"/>
                </a:lnTo>
                <a:lnTo>
                  <a:pt x="324" y="156"/>
                </a:lnTo>
                <a:lnTo>
                  <a:pt x="324" y="162"/>
                </a:lnTo>
                <a:lnTo>
                  <a:pt x="324" y="168"/>
                </a:lnTo>
                <a:lnTo>
                  <a:pt x="318" y="168"/>
                </a:lnTo>
                <a:lnTo>
                  <a:pt x="318" y="174"/>
                </a:lnTo>
                <a:lnTo>
                  <a:pt x="318" y="180"/>
                </a:lnTo>
                <a:lnTo>
                  <a:pt x="318" y="186"/>
                </a:lnTo>
                <a:lnTo>
                  <a:pt x="318" y="192"/>
                </a:lnTo>
                <a:lnTo>
                  <a:pt x="312" y="192"/>
                </a:lnTo>
                <a:lnTo>
                  <a:pt x="318" y="198"/>
                </a:lnTo>
                <a:lnTo>
                  <a:pt x="312" y="198"/>
                </a:lnTo>
                <a:lnTo>
                  <a:pt x="312" y="204"/>
                </a:lnTo>
                <a:lnTo>
                  <a:pt x="306" y="204"/>
                </a:lnTo>
                <a:lnTo>
                  <a:pt x="306" y="210"/>
                </a:lnTo>
                <a:lnTo>
                  <a:pt x="300" y="216"/>
                </a:lnTo>
                <a:lnTo>
                  <a:pt x="300" y="222"/>
                </a:lnTo>
                <a:lnTo>
                  <a:pt x="300" y="228"/>
                </a:lnTo>
                <a:lnTo>
                  <a:pt x="300" y="234"/>
                </a:lnTo>
                <a:lnTo>
                  <a:pt x="300" y="240"/>
                </a:lnTo>
                <a:lnTo>
                  <a:pt x="300" y="246"/>
                </a:lnTo>
                <a:lnTo>
                  <a:pt x="306" y="246"/>
                </a:lnTo>
                <a:lnTo>
                  <a:pt x="306" y="252"/>
                </a:lnTo>
                <a:lnTo>
                  <a:pt x="306" y="258"/>
                </a:lnTo>
                <a:lnTo>
                  <a:pt x="306" y="264"/>
                </a:lnTo>
                <a:lnTo>
                  <a:pt x="312" y="264"/>
                </a:lnTo>
                <a:lnTo>
                  <a:pt x="312" y="270"/>
                </a:lnTo>
                <a:lnTo>
                  <a:pt x="312" y="276"/>
                </a:lnTo>
                <a:lnTo>
                  <a:pt x="312" y="282"/>
                </a:lnTo>
                <a:lnTo>
                  <a:pt x="318" y="282"/>
                </a:lnTo>
                <a:lnTo>
                  <a:pt x="318" y="288"/>
                </a:lnTo>
                <a:lnTo>
                  <a:pt x="318" y="282"/>
                </a:lnTo>
                <a:lnTo>
                  <a:pt x="324" y="282"/>
                </a:lnTo>
                <a:lnTo>
                  <a:pt x="324" y="288"/>
                </a:lnTo>
                <a:lnTo>
                  <a:pt x="324" y="294"/>
                </a:lnTo>
                <a:lnTo>
                  <a:pt x="330" y="294"/>
                </a:lnTo>
                <a:lnTo>
                  <a:pt x="330" y="300"/>
                </a:lnTo>
                <a:lnTo>
                  <a:pt x="324" y="300"/>
                </a:lnTo>
                <a:lnTo>
                  <a:pt x="324" y="306"/>
                </a:lnTo>
                <a:lnTo>
                  <a:pt x="330" y="306"/>
                </a:lnTo>
                <a:lnTo>
                  <a:pt x="324" y="306"/>
                </a:lnTo>
                <a:lnTo>
                  <a:pt x="330" y="306"/>
                </a:lnTo>
                <a:lnTo>
                  <a:pt x="324" y="306"/>
                </a:lnTo>
                <a:lnTo>
                  <a:pt x="324" y="312"/>
                </a:lnTo>
                <a:lnTo>
                  <a:pt x="330" y="312"/>
                </a:lnTo>
                <a:lnTo>
                  <a:pt x="324" y="312"/>
                </a:lnTo>
                <a:lnTo>
                  <a:pt x="324" y="318"/>
                </a:lnTo>
                <a:lnTo>
                  <a:pt x="324" y="312"/>
                </a:lnTo>
                <a:lnTo>
                  <a:pt x="324" y="318"/>
                </a:lnTo>
                <a:lnTo>
                  <a:pt x="324" y="312"/>
                </a:lnTo>
                <a:lnTo>
                  <a:pt x="318" y="312"/>
                </a:lnTo>
                <a:lnTo>
                  <a:pt x="318" y="318"/>
                </a:lnTo>
                <a:lnTo>
                  <a:pt x="312" y="318"/>
                </a:lnTo>
                <a:lnTo>
                  <a:pt x="312" y="312"/>
                </a:lnTo>
                <a:lnTo>
                  <a:pt x="306" y="312"/>
                </a:lnTo>
                <a:lnTo>
                  <a:pt x="306" y="318"/>
                </a:lnTo>
                <a:close/>
                <a:moveTo>
                  <a:pt x="138" y="324"/>
                </a:moveTo>
                <a:lnTo>
                  <a:pt x="144" y="324"/>
                </a:lnTo>
                <a:lnTo>
                  <a:pt x="138" y="32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6" name="Freeform 16">
            <a:extLst>
              <a:ext uri="{FF2B5EF4-FFF2-40B4-BE49-F238E27FC236}">
                <a16:creationId xmlns:a16="http://schemas.microsoft.com/office/drawing/2014/main" id="{AF8686B2-6126-CF49-A63B-BB46A1E623C7}"/>
              </a:ext>
            </a:extLst>
          </p:cNvPr>
          <p:cNvSpPr>
            <a:spLocks/>
          </p:cNvSpPr>
          <p:nvPr>
            <p:custDataLst>
              <p:tags r:id="rId15"/>
            </p:custDataLst>
          </p:nvPr>
        </p:nvSpPr>
        <p:spPr bwMode="gray">
          <a:xfrm>
            <a:off x="2809565" y="4128142"/>
            <a:ext cx="269467" cy="202100"/>
          </a:xfrm>
          <a:custGeom>
            <a:avLst/>
            <a:gdLst>
              <a:gd name="T0" fmla="*/ 3888 w 234"/>
              <a:gd name="T1" fmla="*/ 28201 h 234"/>
              <a:gd name="T2" fmla="*/ 8748 w 234"/>
              <a:gd name="T3" fmla="*/ 23339 h 234"/>
              <a:gd name="T4" fmla="*/ 14580 w 234"/>
              <a:gd name="T5" fmla="*/ 21394 h 234"/>
              <a:gd name="T6" fmla="*/ 19439 w 234"/>
              <a:gd name="T7" fmla="*/ 17504 h 234"/>
              <a:gd name="T8" fmla="*/ 21384 w 234"/>
              <a:gd name="T9" fmla="*/ 8752 h 234"/>
              <a:gd name="T10" fmla="*/ 26244 w 234"/>
              <a:gd name="T11" fmla="*/ 3890 h 234"/>
              <a:gd name="T12" fmla="*/ 32076 w 234"/>
              <a:gd name="T13" fmla="*/ 1945 h 234"/>
              <a:gd name="T14" fmla="*/ 36936 w 234"/>
              <a:gd name="T15" fmla="*/ 1945 h 234"/>
              <a:gd name="T16" fmla="*/ 38880 w 234"/>
              <a:gd name="T17" fmla="*/ 1945 h 234"/>
              <a:gd name="T18" fmla="*/ 40824 w 234"/>
              <a:gd name="T19" fmla="*/ 8752 h 234"/>
              <a:gd name="T20" fmla="*/ 42767 w 234"/>
              <a:gd name="T21" fmla="*/ 14587 h 234"/>
              <a:gd name="T22" fmla="*/ 42767 w 234"/>
              <a:gd name="T23" fmla="*/ 23339 h 234"/>
              <a:gd name="T24" fmla="*/ 47628 w 234"/>
              <a:gd name="T25" fmla="*/ 23339 h 234"/>
              <a:gd name="T26" fmla="*/ 51515 w 234"/>
              <a:gd name="T27" fmla="*/ 28201 h 234"/>
              <a:gd name="T28" fmla="*/ 56376 w 234"/>
              <a:gd name="T29" fmla="*/ 23339 h 234"/>
              <a:gd name="T30" fmla="*/ 57347 w 234"/>
              <a:gd name="T31" fmla="*/ 17504 h 234"/>
              <a:gd name="T32" fmla="*/ 62207 w 234"/>
              <a:gd name="T33" fmla="*/ 21394 h 234"/>
              <a:gd name="T34" fmla="*/ 62207 w 234"/>
              <a:gd name="T35" fmla="*/ 28201 h 234"/>
              <a:gd name="T36" fmla="*/ 64152 w 234"/>
              <a:gd name="T37" fmla="*/ 34036 h 234"/>
              <a:gd name="T38" fmla="*/ 60263 w 234"/>
              <a:gd name="T39" fmla="*/ 38898 h 234"/>
              <a:gd name="T40" fmla="*/ 57347 w 234"/>
              <a:gd name="T41" fmla="*/ 40843 h 234"/>
              <a:gd name="T42" fmla="*/ 62207 w 234"/>
              <a:gd name="T43" fmla="*/ 42788 h 234"/>
              <a:gd name="T44" fmla="*/ 67067 w 234"/>
              <a:gd name="T45" fmla="*/ 47650 h 234"/>
              <a:gd name="T46" fmla="*/ 70956 w 234"/>
              <a:gd name="T47" fmla="*/ 47650 h 234"/>
              <a:gd name="T48" fmla="*/ 72899 w 234"/>
              <a:gd name="T49" fmla="*/ 44732 h 234"/>
              <a:gd name="T50" fmla="*/ 72899 w 234"/>
              <a:gd name="T51" fmla="*/ 49595 h 234"/>
              <a:gd name="T52" fmla="*/ 76787 w 234"/>
              <a:gd name="T53" fmla="*/ 53484 h 234"/>
              <a:gd name="T54" fmla="*/ 79703 w 234"/>
              <a:gd name="T55" fmla="*/ 56402 h 234"/>
              <a:gd name="T56" fmla="*/ 81647 w 234"/>
              <a:gd name="T57" fmla="*/ 57374 h 234"/>
              <a:gd name="T58" fmla="*/ 83591 w 234"/>
              <a:gd name="T59" fmla="*/ 62236 h 234"/>
              <a:gd name="T60" fmla="*/ 81647 w 234"/>
              <a:gd name="T61" fmla="*/ 64181 h 234"/>
              <a:gd name="T62" fmla="*/ 83591 w 234"/>
              <a:gd name="T63" fmla="*/ 67098 h 234"/>
              <a:gd name="T64" fmla="*/ 79703 w 234"/>
              <a:gd name="T65" fmla="*/ 69043 h 234"/>
              <a:gd name="T66" fmla="*/ 79703 w 234"/>
              <a:gd name="T67" fmla="*/ 76822 h 234"/>
              <a:gd name="T68" fmla="*/ 76787 w 234"/>
              <a:gd name="T69" fmla="*/ 83629 h 234"/>
              <a:gd name="T70" fmla="*/ 72899 w 234"/>
              <a:gd name="T71" fmla="*/ 83629 h 234"/>
              <a:gd name="T72" fmla="*/ 67067 w 234"/>
              <a:gd name="T73" fmla="*/ 81684 h 234"/>
              <a:gd name="T74" fmla="*/ 62207 w 234"/>
              <a:gd name="T75" fmla="*/ 76822 h 234"/>
              <a:gd name="T76" fmla="*/ 56376 w 234"/>
              <a:gd name="T77" fmla="*/ 74878 h 234"/>
              <a:gd name="T78" fmla="*/ 49571 w 234"/>
              <a:gd name="T79" fmla="*/ 72933 h 234"/>
              <a:gd name="T80" fmla="*/ 44711 w 234"/>
              <a:gd name="T81" fmla="*/ 69043 h 234"/>
              <a:gd name="T82" fmla="*/ 44711 w 234"/>
              <a:gd name="T83" fmla="*/ 69043 h 234"/>
              <a:gd name="T84" fmla="*/ 42767 w 234"/>
              <a:gd name="T85" fmla="*/ 67098 h 234"/>
              <a:gd name="T86" fmla="*/ 40824 w 234"/>
              <a:gd name="T87" fmla="*/ 64181 h 234"/>
              <a:gd name="T88" fmla="*/ 38880 w 234"/>
              <a:gd name="T89" fmla="*/ 62236 h 234"/>
              <a:gd name="T90" fmla="*/ 34020 w 234"/>
              <a:gd name="T91" fmla="*/ 57374 h 234"/>
              <a:gd name="T92" fmla="*/ 30132 w 234"/>
              <a:gd name="T93" fmla="*/ 53484 h 234"/>
              <a:gd name="T94" fmla="*/ 28187 w 234"/>
              <a:gd name="T95" fmla="*/ 53484 h 234"/>
              <a:gd name="T96" fmla="*/ 26244 w 234"/>
              <a:gd name="T97" fmla="*/ 51540 h 234"/>
              <a:gd name="T98" fmla="*/ 21384 w 234"/>
              <a:gd name="T99" fmla="*/ 47650 h 234"/>
              <a:gd name="T100" fmla="*/ 14580 w 234"/>
              <a:gd name="T101" fmla="*/ 44732 h 234"/>
              <a:gd name="T102" fmla="*/ 14580 w 234"/>
              <a:gd name="T103" fmla="*/ 44732 h 234"/>
              <a:gd name="T104" fmla="*/ 10692 w 234"/>
              <a:gd name="T105" fmla="*/ 40843 h 234"/>
              <a:gd name="T106" fmla="*/ 8748 w 234"/>
              <a:gd name="T107" fmla="*/ 38898 h 234"/>
              <a:gd name="T108" fmla="*/ 1944 w 234"/>
              <a:gd name="T109" fmla="*/ 36953 h 234"/>
              <a:gd name="T110" fmla="*/ 1944 w 234"/>
              <a:gd name="T111" fmla="*/ 34036 h 2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4" h="234">
                <a:moveTo>
                  <a:pt x="6" y="90"/>
                </a:moveTo>
                <a:lnTo>
                  <a:pt x="12" y="90"/>
                </a:lnTo>
                <a:lnTo>
                  <a:pt x="12" y="84"/>
                </a:lnTo>
                <a:lnTo>
                  <a:pt x="12" y="78"/>
                </a:lnTo>
                <a:lnTo>
                  <a:pt x="18" y="78"/>
                </a:lnTo>
                <a:lnTo>
                  <a:pt x="18" y="72"/>
                </a:lnTo>
                <a:lnTo>
                  <a:pt x="24" y="72"/>
                </a:lnTo>
                <a:lnTo>
                  <a:pt x="24" y="66"/>
                </a:lnTo>
                <a:lnTo>
                  <a:pt x="30" y="66"/>
                </a:lnTo>
                <a:lnTo>
                  <a:pt x="30" y="60"/>
                </a:lnTo>
                <a:lnTo>
                  <a:pt x="36" y="60"/>
                </a:lnTo>
                <a:lnTo>
                  <a:pt x="42" y="60"/>
                </a:lnTo>
                <a:lnTo>
                  <a:pt x="42" y="54"/>
                </a:lnTo>
                <a:lnTo>
                  <a:pt x="42" y="48"/>
                </a:lnTo>
                <a:lnTo>
                  <a:pt x="48" y="48"/>
                </a:lnTo>
                <a:lnTo>
                  <a:pt x="54" y="48"/>
                </a:lnTo>
                <a:lnTo>
                  <a:pt x="54" y="36"/>
                </a:lnTo>
                <a:lnTo>
                  <a:pt x="54" y="30"/>
                </a:lnTo>
                <a:lnTo>
                  <a:pt x="54" y="24"/>
                </a:lnTo>
                <a:lnTo>
                  <a:pt x="60" y="24"/>
                </a:lnTo>
                <a:lnTo>
                  <a:pt x="66" y="24"/>
                </a:lnTo>
                <a:lnTo>
                  <a:pt x="66" y="18"/>
                </a:lnTo>
                <a:lnTo>
                  <a:pt x="66" y="12"/>
                </a:lnTo>
                <a:lnTo>
                  <a:pt x="72" y="12"/>
                </a:lnTo>
                <a:lnTo>
                  <a:pt x="72" y="6"/>
                </a:lnTo>
                <a:lnTo>
                  <a:pt x="78" y="6"/>
                </a:lnTo>
                <a:lnTo>
                  <a:pt x="84" y="6"/>
                </a:lnTo>
                <a:lnTo>
                  <a:pt x="90" y="6"/>
                </a:lnTo>
                <a:lnTo>
                  <a:pt x="96" y="6"/>
                </a:lnTo>
                <a:lnTo>
                  <a:pt x="96" y="0"/>
                </a:lnTo>
                <a:lnTo>
                  <a:pt x="102" y="0"/>
                </a:lnTo>
                <a:lnTo>
                  <a:pt x="102" y="6"/>
                </a:lnTo>
                <a:lnTo>
                  <a:pt x="108" y="6"/>
                </a:lnTo>
                <a:lnTo>
                  <a:pt x="102" y="12"/>
                </a:lnTo>
                <a:lnTo>
                  <a:pt x="108" y="12"/>
                </a:lnTo>
                <a:lnTo>
                  <a:pt x="108" y="6"/>
                </a:lnTo>
                <a:lnTo>
                  <a:pt x="108" y="12"/>
                </a:lnTo>
                <a:lnTo>
                  <a:pt x="114" y="12"/>
                </a:lnTo>
                <a:lnTo>
                  <a:pt x="114" y="18"/>
                </a:lnTo>
                <a:lnTo>
                  <a:pt x="114" y="24"/>
                </a:lnTo>
                <a:lnTo>
                  <a:pt x="114" y="30"/>
                </a:lnTo>
                <a:lnTo>
                  <a:pt x="120" y="30"/>
                </a:lnTo>
                <a:lnTo>
                  <a:pt x="120" y="36"/>
                </a:lnTo>
                <a:lnTo>
                  <a:pt x="120" y="42"/>
                </a:lnTo>
                <a:lnTo>
                  <a:pt x="120" y="48"/>
                </a:lnTo>
                <a:lnTo>
                  <a:pt x="120" y="54"/>
                </a:lnTo>
                <a:lnTo>
                  <a:pt x="120" y="60"/>
                </a:lnTo>
                <a:lnTo>
                  <a:pt x="120" y="66"/>
                </a:lnTo>
                <a:lnTo>
                  <a:pt x="114" y="66"/>
                </a:lnTo>
                <a:lnTo>
                  <a:pt x="120" y="66"/>
                </a:lnTo>
                <a:lnTo>
                  <a:pt x="126" y="66"/>
                </a:lnTo>
                <a:lnTo>
                  <a:pt x="132" y="66"/>
                </a:lnTo>
                <a:lnTo>
                  <a:pt x="132" y="72"/>
                </a:lnTo>
                <a:lnTo>
                  <a:pt x="138" y="72"/>
                </a:lnTo>
                <a:lnTo>
                  <a:pt x="138" y="78"/>
                </a:lnTo>
                <a:lnTo>
                  <a:pt x="144" y="78"/>
                </a:lnTo>
                <a:lnTo>
                  <a:pt x="144" y="72"/>
                </a:lnTo>
                <a:lnTo>
                  <a:pt x="150" y="72"/>
                </a:lnTo>
                <a:lnTo>
                  <a:pt x="150" y="66"/>
                </a:lnTo>
                <a:lnTo>
                  <a:pt x="156" y="66"/>
                </a:lnTo>
                <a:lnTo>
                  <a:pt x="156" y="60"/>
                </a:lnTo>
                <a:lnTo>
                  <a:pt x="156" y="54"/>
                </a:lnTo>
                <a:lnTo>
                  <a:pt x="162" y="54"/>
                </a:lnTo>
                <a:lnTo>
                  <a:pt x="162" y="48"/>
                </a:lnTo>
                <a:lnTo>
                  <a:pt x="168" y="48"/>
                </a:lnTo>
                <a:lnTo>
                  <a:pt x="168" y="54"/>
                </a:lnTo>
                <a:lnTo>
                  <a:pt x="168" y="60"/>
                </a:lnTo>
                <a:lnTo>
                  <a:pt x="174" y="60"/>
                </a:lnTo>
                <a:lnTo>
                  <a:pt x="174" y="66"/>
                </a:lnTo>
                <a:lnTo>
                  <a:pt x="174" y="72"/>
                </a:lnTo>
                <a:lnTo>
                  <a:pt x="180" y="72"/>
                </a:lnTo>
                <a:lnTo>
                  <a:pt x="174" y="78"/>
                </a:lnTo>
                <a:lnTo>
                  <a:pt x="180" y="78"/>
                </a:lnTo>
                <a:lnTo>
                  <a:pt x="180" y="84"/>
                </a:lnTo>
                <a:lnTo>
                  <a:pt x="180" y="90"/>
                </a:lnTo>
                <a:lnTo>
                  <a:pt x="180" y="96"/>
                </a:lnTo>
                <a:lnTo>
                  <a:pt x="180" y="102"/>
                </a:lnTo>
                <a:lnTo>
                  <a:pt x="174" y="102"/>
                </a:lnTo>
                <a:lnTo>
                  <a:pt x="174" y="108"/>
                </a:lnTo>
                <a:lnTo>
                  <a:pt x="168" y="108"/>
                </a:lnTo>
                <a:lnTo>
                  <a:pt x="168" y="114"/>
                </a:lnTo>
                <a:lnTo>
                  <a:pt x="168" y="108"/>
                </a:lnTo>
                <a:lnTo>
                  <a:pt x="168" y="114"/>
                </a:lnTo>
                <a:lnTo>
                  <a:pt x="162" y="114"/>
                </a:lnTo>
                <a:lnTo>
                  <a:pt x="162" y="120"/>
                </a:lnTo>
                <a:lnTo>
                  <a:pt x="168" y="114"/>
                </a:lnTo>
                <a:lnTo>
                  <a:pt x="168" y="120"/>
                </a:lnTo>
                <a:lnTo>
                  <a:pt x="174" y="120"/>
                </a:lnTo>
                <a:lnTo>
                  <a:pt x="174" y="126"/>
                </a:lnTo>
                <a:lnTo>
                  <a:pt x="180" y="126"/>
                </a:lnTo>
                <a:lnTo>
                  <a:pt x="186" y="126"/>
                </a:lnTo>
                <a:lnTo>
                  <a:pt x="186" y="132"/>
                </a:lnTo>
                <a:lnTo>
                  <a:pt x="192" y="132"/>
                </a:lnTo>
                <a:lnTo>
                  <a:pt x="192" y="126"/>
                </a:lnTo>
                <a:lnTo>
                  <a:pt x="198" y="126"/>
                </a:lnTo>
                <a:lnTo>
                  <a:pt x="198" y="132"/>
                </a:lnTo>
                <a:lnTo>
                  <a:pt x="198" y="126"/>
                </a:lnTo>
                <a:lnTo>
                  <a:pt x="198" y="132"/>
                </a:lnTo>
                <a:lnTo>
                  <a:pt x="204" y="132"/>
                </a:lnTo>
                <a:lnTo>
                  <a:pt x="204" y="126"/>
                </a:lnTo>
                <a:lnTo>
                  <a:pt x="204" y="132"/>
                </a:lnTo>
                <a:lnTo>
                  <a:pt x="210" y="132"/>
                </a:lnTo>
                <a:lnTo>
                  <a:pt x="204" y="132"/>
                </a:lnTo>
                <a:lnTo>
                  <a:pt x="204" y="138"/>
                </a:lnTo>
                <a:lnTo>
                  <a:pt x="210" y="138"/>
                </a:lnTo>
                <a:lnTo>
                  <a:pt x="210" y="144"/>
                </a:lnTo>
                <a:lnTo>
                  <a:pt x="210" y="150"/>
                </a:lnTo>
                <a:lnTo>
                  <a:pt x="216" y="150"/>
                </a:lnTo>
                <a:lnTo>
                  <a:pt x="222" y="150"/>
                </a:lnTo>
                <a:lnTo>
                  <a:pt x="222" y="156"/>
                </a:lnTo>
                <a:lnTo>
                  <a:pt x="222" y="150"/>
                </a:lnTo>
                <a:lnTo>
                  <a:pt x="222" y="156"/>
                </a:lnTo>
                <a:lnTo>
                  <a:pt x="228" y="156"/>
                </a:lnTo>
                <a:lnTo>
                  <a:pt x="228" y="150"/>
                </a:lnTo>
                <a:lnTo>
                  <a:pt x="228" y="156"/>
                </a:lnTo>
                <a:lnTo>
                  <a:pt x="228" y="162"/>
                </a:lnTo>
                <a:lnTo>
                  <a:pt x="228" y="168"/>
                </a:lnTo>
                <a:lnTo>
                  <a:pt x="234" y="168"/>
                </a:lnTo>
                <a:lnTo>
                  <a:pt x="228" y="168"/>
                </a:lnTo>
                <a:lnTo>
                  <a:pt x="234" y="174"/>
                </a:lnTo>
                <a:lnTo>
                  <a:pt x="228" y="174"/>
                </a:lnTo>
                <a:lnTo>
                  <a:pt x="234" y="174"/>
                </a:lnTo>
                <a:lnTo>
                  <a:pt x="228" y="174"/>
                </a:lnTo>
                <a:lnTo>
                  <a:pt x="228" y="180"/>
                </a:lnTo>
                <a:lnTo>
                  <a:pt x="228" y="174"/>
                </a:lnTo>
                <a:lnTo>
                  <a:pt x="228" y="180"/>
                </a:lnTo>
                <a:lnTo>
                  <a:pt x="234" y="180"/>
                </a:lnTo>
                <a:lnTo>
                  <a:pt x="234" y="186"/>
                </a:lnTo>
                <a:lnTo>
                  <a:pt x="228" y="186"/>
                </a:lnTo>
                <a:lnTo>
                  <a:pt x="228" y="192"/>
                </a:lnTo>
                <a:lnTo>
                  <a:pt x="222" y="198"/>
                </a:lnTo>
                <a:lnTo>
                  <a:pt x="222" y="192"/>
                </a:lnTo>
                <a:lnTo>
                  <a:pt x="222" y="198"/>
                </a:lnTo>
                <a:lnTo>
                  <a:pt x="222" y="204"/>
                </a:lnTo>
                <a:lnTo>
                  <a:pt x="222" y="210"/>
                </a:lnTo>
                <a:lnTo>
                  <a:pt x="222" y="216"/>
                </a:lnTo>
                <a:lnTo>
                  <a:pt x="222" y="222"/>
                </a:lnTo>
                <a:lnTo>
                  <a:pt x="222" y="228"/>
                </a:lnTo>
                <a:lnTo>
                  <a:pt x="222" y="234"/>
                </a:lnTo>
                <a:lnTo>
                  <a:pt x="216" y="234"/>
                </a:lnTo>
                <a:lnTo>
                  <a:pt x="210" y="234"/>
                </a:lnTo>
                <a:lnTo>
                  <a:pt x="204" y="234"/>
                </a:lnTo>
                <a:lnTo>
                  <a:pt x="210" y="234"/>
                </a:lnTo>
                <a:lnTo>
                  <a:pt x="204" y="234"/>
                </a:lnTo>
                <a:lnTo>
                  <a:pt x="204" y="228"/>
                </a:lnTo>
                <a:lnTo>
                  <a:pt x="198" y="228"/>
                </a:lnTo>
                <a:lnTo>
                  <a:pt x="192" y="228"/>
                </a:lnTo>
                <a:lnTo>
                  <a:pt x="186" y="228"/>
                </a:lnTo>
                <a:lnTo>
                  <a:pt x="186" y="222"/>
                </a:lnTo>
                <a:lnTo>
                  <a:pt x="180" y="222"/>
                </a:lnTo>
                <a:lnTo>
                  <a:pt x="174" y="222"/>
                </a:lnTo>
                <a:lnTo>
                  <a:pt x="174" y="216"/>
                </a:lnTo>
                <a:lnTo>
                  <a:pt x="168" y="216"/>
                </a:lnTo>
                <a:lnTo>
                  <a:pt x="162" y="216"/>
                </a:lnTo>
                <a:lnTo>
                  <a:pt x="162" y="210"/>
                </a:lnTo>
                <a:lnTo>
                  <a:pt x="156" y="210"/>
                </a:lnTo>
                <a:lnTo>
                  <a:pt x="150" y="210"/>
                </a:lnTo>
                <a:lnTo>
                  <a:pt x="150" y="204"/>
                </a:lnTo>
                <a:lnTo>
                  <a:pt x="144" y="204"/>
                </a:lnTo>
                <a:lnTo>
                  <a:pt x="138" y="204"/>
                </a:lnTo>
                <a:lnTo>
                  <a:pt x="138" y="198"/>
                </a:lnTo>
                <a:lnTo>
                  <a:pt x="132" y="198"/>
                </a:lnTo>
                <a:lnTo>
                  <a:pt x="132" y="192"/>
                </a:lnTo>
                <a:lnTo>
                  <a:pt x="126" y="192"/>
                </a:lnTo>
                <a:lnTo>
                  <a:pt x="120" y="192"/>
                </a:lnTo>
                <a:lnTo>
                  <a:pt x="120" y="186"/>
                </a:lnTo>
                <a:lnTo>
                  <a:pt x="126" y="186"/>
                </a:lnTo>
                <a:lnTo>
                  <a:pt x="126" y="192"/>
                </a:lnTo>
                <a:lnTo>
                  <a:pt x="126" y="186"/>
                </a:lnTo>
                <a:lnTo>
                  <a:pt x="120" y="186"/>
                </a:lnTo>
                <a:lnTo>
                  <a:pt x="126" y="186"/>
                </a:lnTo>
                <a:lnTo>
                  <a:pt x="120" y="186"/>
                </a:lnTo>
                <a:lnTo>
                  <a:pt x="126" y="186"/>
                </a:lnTo>
                <a:lnTo>
                  <a:pt x="120" y="186"/>
                </a:lnTo>
                <a:lnTo>
                  <a:pt x="114" y="186"/>
                </a:lnTo>
                <a:lnTo>
                  <a:pt x="114" y="180"/>
                </a:lnTo>
                <a:lnTo>
                  <a:pt x="108" y="180"/>
                </a:lnTo>
                <a:lnTo>
                  <a:pt x="108" y="174"/>
                </a:lnTo>
                <a:lnTo>
                  <a:pt x="114" y="174"/>
                </a:lnTo>
                <a:lnTo>
                  <a:pt x="108" y="174"/>
                </a:lnTo>
                <a:lnTo>
                  <a:pt x="102" y="174"/>
                </a:lnTo>
                <a:lnTo>
                  <a:pt x="102" y="168"/>
                </a:lnTo>
                <a:lnTo>
                  <a:pt x="96" y="168"/>
                </a:lnTo>
                <a:lnTo>
                  <a:pt x="96" y="162"/>
                </a:lnTo>
                <a:lnTo>
                  <a:pt x="90" y="162"/>
                </a:lnTo>
                <a:lnTo>
                  <a:pt x="90" y="156"/>
                </a:lnTo>
                <a:lnTo>
                  <a:pt x="84" y="156"/>
                </a:lnTo>
                <a:lnTo>
                  <a:pt x="84" y="150"/>
                </a:lnTo>
                <a:lnTo>
                  <a:pt x="78" y="144"/>
                </a:lnTo>
                <a:lnTo>
                  <a:pt x="84" y="144"/>
                </a:lnTo>
                <a:lnTo>
                  <a:pt x="78" y="144"/>
                </a:lnTo>
                <a:lnTo>
                  <a:pt x="78" y="150"/>
                </a:lnTo>
                <a:lnTo>
                  <a:pt x="84" y="150"/>
                </a:lnTo>
                <a:lnTo>
                  <a:pt x="78" y="150"/>
                </a:lnTo>
                <a:lnTo>
                  <a:pt x="78" y="144"/>
                </a:lnTo>
                <a:lnTo>
                  <a:pt x="72" y="144"/>
                </a:lnTo>
                <a:lnTo>
                  <a:pt x="72" y="138"/>
                </a:lnTo>
                <a:lnTo>
                  <a:pt x="66" y="138"/>
                </a:lnTo>
                <a:lnTo>
                  <a:pt x="60" y="138"/>
                </a:lnTo>
                <a:lnTo>
                  <a:pt x="60" y="132"/>
                </a:lnTo>
                <a:lnTo>
                  <a:pt x="54" y="132"/>
                </a:lnTo>
                <a:lnTo>
                  <a:pt x="48" y="132"/>
                </a:lnTo>
                <a:lnTo>
                  <a:pt x="42" y="132"/>
                </a:lnTo>
                <a:lnTo>
                  <a:pt x="42" y="126"/>
                </a:lnTo>
                <a:lnTo>
                  <a:pt x="42" y="120"/>
                </a:lnTo>
                <a:lnTo>
                  <a:pt x="48" y="120"/>
                </a:lnTo>
                <a:lnTo>
                  <a:pt x="42" y="120"/>
                </a:lnTo>
                <a:lnTo>
                  <a:pt x="42" y="126"/>
                </a:lnTo>
                <a:lnTo>
                  <a:pt x="42" y="120"/>
                </a:lnTo>
                <a:lnTo>
                  <a:pt x="36" y="120"/>
                </a:lnTo>
                <a:lnTo>
                  <a:pt x="36" y="114"/>
                </a:lnTo>
                <a:lnTo>
                  <a:pt x="30" y="114"/>
                </a:lnTo>
                <a:lnTo>
                  <a:pt x="24" y="114"/>
                </a:lnTo>
                <a:lnTo>
                  <a:pt x="24" y="108"/>
                </a:lnTo>
                <a:lnTo>
                  <a:pt x="24" y="114"/>
                </a:lnTo>
                <a:lnTo>
                  <a:pt x="24" y="108"/>
                </a:lnTo>
                <a:lnTo>
                  <a:pt x="18" y="108"/>
                </a:lnTo>
                <a:lnTo>
                  <a:pt x="12" y="108"/>
                </a:lnTo>
                <a:lnTo>
                  <a:pt x="12" y="102"/>
                </a:lnTo>
                <a:lnTo>
                  <a:pt x="6" y="102"/>
                </a:lnTo>
                <a:lnTo>
                  <a:pt x="12" y="102"/>
                </a:lnTo>
                <a:lnTo>
                  <a:pt x="6" y="96"/>
                </a:lnTo>
                <a:lnTo>
                  <a:pt x="12" y="102"/>
                </a:lnTo>
                <a:lnTo>
                  <a:pt x="6" y="96"/>
                </a:lnTo>
                <a:lnTo>
                  <a:pt x="0" y="90"/>
                </a:lnTo>
                <a:lnTo>
                  <a:pt x="6" y="9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7" name="Freeform 17">
            <a:extLst>
              <a:ext uri="{FF2B5EF4-FFF2-40B4-BE49-F238E27FC236}">
                <a16:creationId xmlns:a16="http://schemas.microsoft.com/office/drawing/2014/main" id="{99843255-E025-B645-8CAE-4AB851CDAB76}"/>
              </a:ext>
            </a:extLst>
          </p:cNvPr>
          <p:cNvSpPr>
            <a:spLocks noEditPoints="1"/>
          </p:cNvSpPr>
          <p:nvPr>
            <p:custDataLst>
              <p:tags r:id="rId16"/>
            </p:custDataLst>
          </p:nvPr>
        </p:nvSpPr>
        <p:spPr bwMode="gray">
          <a:xfrm>
            <a:off x="2581323" y="3926042"/>
            <a:ext cx="477088" cy="268363"/>
          </a:xfrm>
          <a:custGeom>
            <a:avLst/>
            <a:gdLst>
              <a:gd name="T0" fmla="*/ 36928 w 414"/>
              <a:gd name="T1" fmla="*/ 72506 h 312"/>
              <a:gd name="T2" fmla="*/ 34013 w 414"/>
              <a:gd name="T3" fmla="*/ 67672 h 312"/>
              <a:gd name="T4" fmla="*/ 27210 w 414"/>
              <a:gd name="T5" fmla="*/ 63805 h 312"/>
              <a:gd name="T6" fmla="*/ 27210 w 414"/>
              <a:gd name="T7" fmla="*/ 59938 h 312"/>
              <a:gd name="T8" fmla="*/ 23323 w 414"/>
              <a:gd name="T9" fmla="*/ 57038 h 312"/>
              <a:gd name="T10" fmla="*/ 19436 w 414"/>
              <a:gd name="T11" fmla="*/ 53171 h 312"/>
              <a:gd name="T12" fmla="*/ 12633 w 414"/>
              <a:gd name="T13" fmla="*/ 49304 h 312"/>
              <a:gd name="T14" fmla="*/ 8746 w 414"/>
              <a:gd name="T15" fmla="*/ 40604 h 312"/>
              <a:gd name="T16" fmla="*/ 8746 w 414"/>
              <a:gd name="T17" fmla="*/ 40604 h 312"/>
              <a:gd name="T18" fmla="*/ 6802 w 414"/>
              <a:gd name="T19" fmla="*/ 36737 h 312"/>
              <a:gd name="T20" fmla="*/ 6802 w 414"/>
              <a:gd name="T21" fmla="*/ 26102 h 312"/>
              <a:gd name="T22" fmla="*/ 17492 w 414"/>
              <a:gd name="T23" fmla="*/ 21269 h 312"/>
              <a:gd name="T24" fmla="*/ 26239 w 414"/>
              <a:gd name="T25" fmla="*/ 21269 h 312"/>
              <a:gd name="T26" fmla="*/ 26239 w 414"/>
              <a:gd name="T27" fmla="*/ 12567 h 312"/>
              <a:gd name="T28" fmla="*/ 27210 w 414"/>
              <a:gd name="T29" fmla="*/ 6767 h 312"/>
              <a:gd name="T30" fmla="*/ 34013 w 414"/>
              <a:gd name="T31" fmla="*/ 0 h 312"/>
              <a:gd name="T32" fmla="*/ 47618 w 414"/>
              <a:gd name="T33" fmla="*/ 3867 h 312"/>
              <a:gd name="T34" fmla="*/ 60251 w 414"/>
              <a:gd name="T35" fmla="*/ 6767 h 312"/>
              <a:gd name="T36" fmla="*/ 72884 w 414"/>
              <a:gd name="T37" fmla="*/ 6767 h 312"/>
              <a:gd name="T38" fmla="*/ 76772 w 414"/>
              <a:gd name="T39" fmla="*/ 14501 h 312"/>
              <a:gd name="T40" fmla="*/ 86489 w 414"/>
              <a:gd name="T41" fmla="*/ 14501 h 312"/>
              <a:gd name="T42" fmla="*/ 92320 w 414"/>
              <a:gd name="T43" fmla="*/ 12567 h 312"/>
              <a:gd name="T44" fmla="*/ 101066 w 414"/>
              <a:gd name="T45" fmla="*/ 12567 h 312"/>
              <a:gd name="T46" fmla="*/ 111756 w 414"/>
              <a:gd name="T47" fmla="*/ 8700 h 312"/>
              <a:gd name="T48" fmla="*/ 115643 w 414"/>
              <a:gd name="T49" fmla="*/ 3867 h 312"/>
              <a:gd name="T50" fmla="*/ 122445 w 414"/>
              <a:gd name="T51" fmla="*/ 12567 h 312"/>
              <a:gd name="T52" fmla="*/ 126333 w 414"/>
              <a:gd name="T53" fmla="*/ 21269 h 312"/>
              <a:gd name="T54" fmla="*/ 133135 w 414"/>
              <a:gd name="T55" fmla="*/ 27069 h 312"/>
              <a:gd name="T56" fmla="*/ 128276 w 414"/>
              <a:gd name="T57" fmla="*/ 36737 h 312"/>
              <a:gd name="T58" fmla="*/ 135078 w 414"/>
              <a:gd name="T59" fmla="*/ 42537 h 312"/>
              <a:gd name="T60" fmla="*/ 141881 w 414"/>
              <a:gd name="T61" fmla="*/ 53171 h 312"/>
              <a:gd name="T62" fmla="*/ 138965 w 414"/>
              <a:gd name="T63" fmla="*/ 56071 h 312"/>
              <a:gd name="T64" fmla="*/ 138965 w 414"/>
              <a:gd name="T65" fmla="*/ 63805 h 312"/>
              <a:gd name="T66" fmla="*/ 143825 w 414"/>
              <a:gd name="T67" fmla="*/ 72506 h 312"/>
              <a:gd name="T68" fmla="*/ 143825 w 414"/>
              <a:gd name="T69" fmla="*/ 78307 h 312"/>
              <a:gd name="T70" fmla="*/ 143825 w 414"/>
              <a:gd name="T71" fmla="*/ 85073 h 312"/>
              <a:gd name="T72" fmla="*/ 137022 w 414"/>
              <a:gd name="T73" fmla="*/ 87007 h 312"/>
              <a:gd name="T74" fmla="*/ 138965 w 414"/>
              <a:gd name="T75" fmla="*/ 97642 h 312"/>
              <a:gd name="T76" fmla="*/ 131191 w 414"/>
              <a:gd name="T77" fmla="*/ 101509 h 312"/>
              <a:gd name="T78" fmla="*/ 124389 w 414"/>
              <a:gd name="T79" fmla="*/ 108275 h 312"/>
              <a:gd name="T80" fmla="*/ 113699 w 414"/>
              <a:gd name="T81" fmla="*/ 106342 h 312"/>
              <a:gd name="T82" fmla="*/ 113699 w 414"/>
              <a:gd name="T83" fmla="*/ 93775 h 312"/>
              <a:gd name="T84" fmla="*/ 106897 w 414"/>
              <a:gd name="T85" fmla="*/ 87007 h 312"/>
              <a:gd name="T86" fmla="*/ 98151 w 414"/>
              <a:gd name="T87" fmla="*/ 85073 h 312"/>
              <a:gd name="T88" fmla="*/ 87461 w 414"/>
              <a:gd name="T89" fmla="*/ 87007 h 312"/>
              <a:gd name="T90" fmla="*/ 92320 w 414"/>
              <a:gd name="T91" fmla="*/ 81206 h 312"/>
              <a:gd name="T92" fmla="*/ 87461 w 414"/>
              <a:gd name="T93" fmla="*/ 72506 h 312"/>
              <a:gd name="T94" fmla="*/ 86489 w 414"/>
              <a:gd name="T95" fmla="*/ 63805 h 312"/>
              <a:gd name="T96" fmla="*/ 74828 w 414"/>
              <a:gd name="T97" fmla="*/ 56071 h 312"/>
              <a:gd name="T98" fmla="*/ 57335 w 414"/>
              <a:gd name="T99" fmla="*/ 57038 h 312"/>
              <a:gd name="T100" fmla="*/ 49561 w 414"/>
              <a:gd name="T101" fmla="*/ 61872 h 312"/>
              <a:gd name="T102" fmla="*/ 42759 w 414"/>
              <a:gd name="T103" fmla="*/ 70572 h 312"/>
              <a:gd name="T104" fmla="*/ 0 w 414"/>
              <a:gd name="T105" fmla="*/ 33836 h 312"/>
              <a:gd name="T106" fmla="*/ 1943 w 414"/>
              <a:gd name="T107" fmla="*/ 36737 h 312"/>
              <a:gd name="T108" fmla="*/ 26239 w 414"/>
              <a:gd name="T109" fmla="*/ 65739 h 312"/>
              <a:gd name="T110" fmla="*/ 26239 w 414"/>
              <a:gd name="T111" fmla="*/ 63805 h 312"/>
              <a:gd name="T112" fmla="*/ 3887 w 414"/>
              <a:gd name="T113" fmla="*/ 36737 h 312"/>
              <a:gd name="T114" fmla="*/ 27210 w 414"/>
              <a:gd name="T115" fmla="*/ 56071 h 312"/>
              <a:gd name="T116" fmla="*/ 34013 w 414"/>
              <a:gd name="T117" fmla="*/ 72506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4" h="312">
                <a:moveTo>
                  <a:pt x="102" y="210"/>
                </a:moveTo>
                <a:lnTo>
                  <a:pt x="96" y="210"/>
                </a:lnTo>
                <a:lnTo>
                  <a:pt x="96" y="204"/>
                </a:lnTo>
                <a:lnTo>
                  <a:pt x="102" y="204"/>
                </a:lnTo>
                <a:lnTo>
                  <a:pt x="102" y="198"/>
                </a:lnTo>
                <a:lnTo>
                  <a:pt x="102" y="204"/>
                </a:lnTo>
                <a:lnTo>
                  <a:pt x="102" y="198"/>
                </a:lnTo>
                <a:lnTo>
                  <a:pt x="102" y="204"/>
                </a:lnTo>
                <a:lnTo>
                  <a:pt x="96" y="198"/>
                </a:lnTo>
                <a:lnTo>
                  <a:pt x="102" y="198"/>
                </a:lnTo>
                <a:lnTo>
                  <a:pt x="96" y="198"/>
                </a:lnTo>
                <a:lnTo>
                  <a:pt x="102" y="198"/>
                </a:lnTo>
                <a:lnTo>
                  <a:pt x="96" y="198"/>
                </a:lnTo>
                <a:lnTo>
                  <a:pt x="96" y="192"/>
                </a:lnTo>
                <a:lnTo>
                  <a:pt x="96" y="198"/>
                </a:lnTo>
                <a:lnTo>
                  <a:pt x="96" y="192"/>
                </a:lnTo>
                <a:lnTo>
                  <a:pt x="96" y="198"/>
                </a:lnTo>
                <a:lnTo>
                  <a:pt x="96" y="192"/>
                </a:lnTo>
                <a:lnTo>
                  <a:pt x="90" y="192"/>
                </a:lnTo>
                <a:lnTo>
                  <a:pt x="96" y="186"/>
                </a:lnTo>
                <a:lnTo>
                  <a:pt x="90" y="186"/>
                </a:lnTo>
                <a:lnTo>
                  <a:pt x="90" y="180"/>
                </a:lnTo>
                <a:lnTo>
                  <a:pt x="84" y="180"/>
                </a:lnTo>
                <a:lnTo>
                  <a:pt x="78" y="180"/>
                </a:lnTo>
                <a:lnTo>
                  <a:pt x="78" y="174"/>
                </a:lnTo>
                <a:lnTo>
                  <a:pt x="84" y="174"/>
                </a:lnTo>
                <a:lnTo>
                  <a:pt x="84" y="168"/>
                </a:lnTo>
                <a:lnTo>
                  <a:pt x="84" y="162"/>
                </a:lnTo>
                <a:lnTo>
                  <a:pt x="78" y="162"/>
                </a:lnTo>
                <a:lnTo>
                  <a:pt x="78" y="168"/>
                </a:lnTo>
                <a:lnTo>
                  <a:pt x="84" y="168"/>
                </a:lnTo>
                <a:lnTo>
                  <a:pt x="78" y="168"/>
                </a:lnTo>
                <a:lnTo>
                  <a:pt x="72" y="168"/>
                </a:lnTo>
                <a:lnTo>
                  <a:pt x="78" y="162"/>
                </a:lnTo>
                <a:lnTo>
                  <a:pt x="72" y="162"/>
                </a:lnTo>
                <a:lnTo>
                  <a:pt x="78" y="162"/>
                </a:lnTo>
                <a:lnTo>
                  <a:pt x="78" y="156"/>
                </a:lnTo>
                <a:lnTo>
                  <a:pt x="78" y="162"/>
                </a:lnTo>
                <a:lnTo>
                  <a:pt x="72" y="162"/>
                </a:lnTo>
                <a:lnTo>
                  <a:pt x="66" y="162"/>
                </a:lnTo>
                <a:lnTo>
                  <a:pt x="66" y="156"/>
                </a:lnTo>
                <a:lnTo>
                  <a:pt x="60" y="156"/>
                </a:lnTo>
                <a:lnTo>
                  <a:pt x="60" y="150"/>
                </a:lnTo>
                <a:lnTo>
                  <a:pt x="60" y="144"/>
                </a:lnTo>
                <a:lnTo>
                  <a:pt x="54" y="144"/>
                </a:lnTo>
                <a:lnTo>
                  <a:pt x="54" y="150"/>
                </a:lnTo>
                <a:lnTo>
                  <a:pt x="48" y="150"/>
                </a:lnTo>
                <a:lnTo>
                  <a:pt x="54" y="150"/>
                </a:lnTo>
                <a:lnTo>
                  <a:pt x="48" y="144"/>
                </a:lnTo>
                <a:lnTo>
                  <a:pt x="48" y="150"/>
                </a:lnTo>
                <a:lnTo>
                  <a:pt x="48" y="144"/>
                </a:lnTo>
                <a:lnTo>
                  <a:pt x="42" y="144"/>
                </a:lnTo>
                <a:lnTo>
                  <a:pt x="42" y="138"/>
                </a:lnTo>
                <a:lnTo>
                  <a:pt x="36" y="138"/>
                </a:lnTo>
                <a:lnTo>
                  <a:pt x="36" y="144"/>
                </a:lnTo>
                <a:lnTo>
                  <a:pt x="36" y="138"/>
                </a:lnTo>
                <a:lnTo>
                  <a:pt x="36" y="132"/>
                </a:lnTo>
                <a:lnTo>
                  <a:pt x="30" y="132"/>
                </a:lnTo>
                <a:lnTo>
                  <a:pt x="30" y="126"/>
                </a:lnTo>
                <a:lnTo>
                  <a:pt x="24" y="126"/>
                </a:lnTo>
                <a:lnTo>
                  <a:pt x="24" y="120"/>
                </a:lnTo>
                <a:lnTo>
                  <a:pt x="30" y="120"/>
                </a:lnTo>
                <a:lnTo>
                  <a:pt x="24" y="120"/>
                </a:lnTo>
                <a:lnTo>
                  <a:pt x="24" y="114"/>
                </a:lnTo>
                <a:lnTo>
                  <a:pt x="30" y="114"/>
                </a:lnTo>
                <a:lnTo>
                  <a:pt x="30" y="108"/>
                </a:lnTo>
                <a:lnTo>
                  <a:pt x="30" y="114"/>
                </a:lnTo>
                <a:lnTo>
                  <a:pt x="24" y="114"/>
                </a:lnTo>
                <a:lnTo>
                  <a:pt x="24" y="120"/>
                </a:lnTo>
                <a:lnTo>
                  <a:pt x="24" y="114"/>
                </a:lnTo>
                <a:lnTo>
                  <a:pt x="18" y="114"/>
                </a:lnTo>
                <a:lnTo>
                  <a:pt x="24" y="114"/>
                </a:lnTo>
                <a:lnTo>
                  <a:pt x="24" y="108"/>
                </a:lnTo>
                <a:lnTo>
                  <a:pt x="18" y="114"/>
                </a:lnTo>
                <a:lnTo>
                  <a:pt x="18" y="108"/>
                </a:lnTo>
                <a:lnTo>
                  <a:pt x="18" y="102"/>
                </a:lnTo>
                <a:lnTo>
                  <a:pt x="18" y="96"/>
                </a:lnTo>
                <a:lnTo>
                  <a:pt x="24" y="96"/>
                </a:lnTo>
                <a:lnTo>
                  <a:pt x="18" y="96"/>
                </a:lnTo>
                <a:lnTo>
                  <a:pt x="18" y="102"/>
                </a:lnTo>
                <a:lnTo>
                  <a:pt x="18" y="96"/>
                </a:lnTo>
                <a:lnTo>
                  <a:pt x="12" y="96"/>
                </a:lnTo>
                <a:lnTo>
                  <a:pt x="12" y="102"/>
                </a:lnTo>
                <a:lnTo>
                  <a:pt x="12" y="96"/>
                </a:lnTo>
                <a:lnTo>
                  <a:pt x="12" y="90"/>
                </a:lnTo>
                <a:lnTo>
                  <a:pt x="18" y="84"/>
                </a:lnTo>
                <a:lnTo>
                  <a:pt x="18" y="78"/>
                </a:lnTo>
                <a:lnTo>
                  <a:pt x="18" y="72"/>
                </a:lnTo>
                <a:lnTo>
                  <a:pt x="24" y="72"/>
                </a:lnTo>
                <a:lnTo>
                  <a:pt x="24" y="66"/>
                </a:lnTo>
                <a:lnTo>
                  <a:pt x="30" y="66"/>
                </a:lnTo>
                <a:lnTo>
                  <a:pt x="30" y="72"/>
                </a:lnTo>
                <a:lnTo>
                  <a:pt x="36" y="66"/>
                </a:lnTo>
                <a:lnTo>
                  <a:pt x="42" y="66"/>
                </a:lnTo>
                <a:lnTo>
                  <a:pt x="42" y="60"/>
                </a:lnTo>
                <a:lnTo>
                  <a:pt x="48" y="60"/>
                </a:lnTo>
                <a:lnTo>
                  <a:pt x="54" y="60"/>
                </a:lnTo>
                <a:lnTo>
                  <a:pt x="60" y="60"/>
                </a:lnTo>
                <a:lnTo>
                  <a:pt x="66" y="60"/>
                </a:lnTo>
                <a:lnTo>
                  <a:pt x="66" y="54"/>
                </a:lnTo>
                <a:lnTo>
                  <a:pt x="72" y="54"/>
                </a:lnTo>
                <a:lnTo>
                  <a:pt x="66" y="54"/>
                </a:lnTo>
                <a:lnTo>
                  <a:pt x="72" y="54"/>
                </a:lnTo>
                <a:lnTo>
                  <a:pt x="72" y="60"/>
                </a:lnTo>
                <a:lnTo>
                  <a:pt x="72" y="54"/>
                </a:lnTo>
                <a:lnTo>
                  <a:pt x="72" y="60"/>
                </a:lnTo>
                <a:lnTo>
                  <a:pt x="78" y="60"/>
                </a:lnTo>
                <a:lnTo>
                  <a:pt x="78" y="54"/>
                </a:lnTo>
                <a:lnTo>
                  <a:pt x="78" y="48"/>
                </a:lnTo>
                <a:lnTo>
                  <a:pt x="78" y="42"/>
                </a:lnTo>
                <a:lnTo>
                  <a:pt x="72" y="42"/>
                </a:lnTo>
                <a:lnTo>
                  <a:pt x="72" y="36"/>
                </a:lnTo>
                <a:lnTo>
                  <a:pt x="66" y="36"/>
                </a:lnTo>
                <a:lnTo>
                  <a:pt x="66" y="30"/>
                </a:lnTo>
                <a:lnTo>
                  <a:pt x="66" y="24"/>
                </a:lnTo>
                <a:lnTo>
                  <a:pt x="72" y="24"/>
                </a:lnTo>
                <a:lnTo>
                  <a:pt x="66" y="24"/>
                </a:lnTo>
                <a:lnTo>
                  <a:pt x="72" y="24"/>
                </a:lnTo>
                <a:lnTo>
                  <a:pt x="78" y="24"/>
                </a:lnTo>
                <a:lnTo>
                  <a:pt x="78" y="18"/>
                </a:lnTo>
                <a:lnTo>
                  <a:pt x="84" y="18"/>
                </a:lnTo>
                <a:lnTo>
                  <a:pt x="84" y="12"/>
                </a:lnTo>
                <a:lnTo>
                  <a:pt x="78" y="12"/>
                </a:lnTo>
                <a:lnTo>
                  <a:pt x="78" y="6"/>
                </a:lnTo>
                <a:lnTo>
                  <a:pt x="78" y="0"/>
                </a:lnTo>
                <a:lnTo>
                  <a:pt x="84" y="0"/>
                </a:lnTo>
                <a:lnTo>
                  <a:pt x="90" y="0"/>
                </a:lnTo>
                <a:lnTo>
                  <a:pt x="96" y="0"/>
                </a:lnTo>
                <a:lnTo>
                  <a:pt x="96" y="6"/>
                </a:lnTo>
                <a:lnTo>
                  <a:pt x="102" y="6"/>
                </a:lnTo>
                <a:lnTo>
                  <a:pt x="108" y="6"/>
                </a:lnTo>
                <a:lnTo>
                  <a:pt x="114" y="6"/>
                </a:lnTo>
                <a:lnTo>
                  <a:pt x="114" y="12"/>
                </a:lnTo>
                <a:lnTo>
                  <a:pt x="120" y="12"/>
                </a:lnTo>
                <a:lnTo>
                  <a:pt x="126" y="12"/>
                </a:lnTo>
                <a:lnTo>
                  <a:pt x="132" y="12"/>
                </a:lnTo>
                <a:lnTo>
                  <a:pt x="132" y="18"/>
                </a:lnTo>
                <a:lnTo>
                  <a:pt x="138" y="18"/>
                </a:lnTo>
                <a:lnTo>
                  <a:pt x="144" y="18"/>
                </a:lnTo>
                <a:lnTo>
                  <a:pt x="150" y="18"/>
                </a:lnTo>
                <a:lnTo>
                  <a:pt x="150" y="24"/>
                </a:lnTo>
                <a:lnTo>
                  <a:pt x="156" y="24"/>
                </a:lnTo>
                <a:lnTo>
                  <a:pt x="162" y="18"/>
                </a:lnTo>
                <a:lnTo>
                  <a:pt x="168" y="18"/>
                </a:lnTo>
                <a:lnTo>
                  <a:pt x="174" y="18"/>
                </a:lnTo>
                <a:lnTo>
                  <a:pt x="180" y="18"/>
                </a:lnTo>
                <a:lnTo>
                  <a:pt x="186" y="18"/>
                </a:lnTo>
                <a:lnTo>
                  <a:pt x="192" y="18"/>
                </a:lnTo>
                <a:lnTo>
                  <a:pt x="198" y="18"/>
                </a:lnTo>
                <a:lnTo>
                  <a:pt x="204" y="18"/>
                </a:lnTo>
                <a:lnTo>
                  <a:pt x="210" y="18"/>
                </a:lnTo>
                <a:lnTo>
                  <a:pt x="204" y="18"/>
                </a:lnTo>
                <a:lnTo>
                  <a:pt x="204" y="24"/>
                </a:lnTo>
                <a:lnTo>
                  <a:pt x="204" y="30"/>
                </a:lnTo>
                <a:lnTo>
                  <a:pt x="198" y="30"/>
                </a:lnTo>
                <a:lnTo>
                  <a:pt x="204" y="30"/>
                </a:lnTo>
                <a:lnTo>
                  <a:pt x="204" y="36"/>
                </a:lnTo>
                <a:lnTo>
                  <a:pt x="210" y="36"/>
                </a:lnTo>
                <a:lnTo>
                  <a:pt x="210" y="42"/>
                </a:lnTo>
                <a:lnTo>
                  <a:pt x="216" y="42"/>
                </a:lnTo>
                <a:lnTo>
                  <a:pt x="216" y="36"/>
                </a:lnTo>
                <a:lnTo>
                  <a:pt x="222" y="36"/>
                </a:lnTo>
                <a:lnTo>
                  <a:pt x="222" y="30"/>
                </a:lnTo>
                <a:lnTo>
                  <a:pt x="228" y="30"/>
                </a:lnTo>
                <a:lnTo>
                  <a:pt x="234" y="30"/>
                </a:lnTo>
                <a:lnTo>
                  <a:pt x="234" y="36"/>
                </a:lnTo>
                <a:lnTo>
                  <a:pt x="240" y="36"/>
                </a:lnTo>
                <a:lnTo>
                  <a:pt x="240" y="42"/>
                </a:lnTo>
                <a:lnTo>
                  <a:pt x="240" y="48"/>
                </a:lnTo>
                <a:lnTo>
                  <a:pt x="246" y="48"/>
                </a:lnTo>
                <a:lnTo>
                  <a:pt x="246" y="42"/>
                </a:lnTo>
                <a:lnTo>
                  <a:pt x="252" y="42"/>
                </a:lnTo>
                <a:lnTo>
                  <a:pt x="252" y="36"/>
                </a:lnTo>
                <a:lnTo>
                  <a:pt x="252" y="42"/>
                </a:lnTo>
                <a:lnTo>
                  <a:pt x="252" y="36"/>
                </a:lnTo>
                <a:lnTo>
                  <a:pt x="258" y="36"/>
                </a:lnTo>
                <a:lnTo>
                  <a:pt x="252" y="36"/>
                </a:lnTo>
                <a:lnTo>
                  <a:pt x="258" y="36"/>
                </a:lnTo>
                <a:lnTo>
                  <a:pt x="258" y="30"/>
                </a:lnTo>
                <a:lnTo>
                  <a:pt x="264" y="30"/>
                </a:lnTo>
                <a:lnTo>
                  <a:pt x="270" y="30"/>
                </a:lnTo>
                <a:lnTo>
                  <a:pt x="276" y="30"/>
                </a:lnTo>
                <a:lnTo>
                  <a:pt x="282" y="30"/>
                </a:lnTo>
                <a:lnTo>
                  <a:pt x="282" y="36"/>
                </a:lnTo>
                <a:lnTo>
                  <a:pt x="288" y="36"/>
                </a:lnTo>
                <a:lnTo>
                  <a:pt x="294" y="36"/>
                </a:lnTo>
                <a:lnTo>
                  <a:pt x="300" y="42"/>
                </a:lnTo>
                <a:lnTo>
                  <a:pt x="300" y="36"/>
                </a:lnTo>
                <a:lnTo>
                  <a:pt x="300" y="30"/>
                </a:lnTo>
                <a:lnTo>
                  <a:pt x="306" y="30"/>
                </a:lnTo>
                <a:lnTo>
                  <a:pt x="312" y="30"/>
                </a:lnTo>
                <a:lnTo>
                  <a:pt x="312" y="24"/>
                </a:lnTo>
                <a:lnTo>
                  <a:pt x="318" y="24"/>
                </a:lnTo>
                <a:lnTo>
                  <a:pt x="324" y="24"/>
                </a:lnTo>
                <a:lnTo>
                  <a:pt x="324" y="18"/>
                </a:lnTo>
                <a:lnTo>
                  <a:pt x="318" y="18"/>
                </a:lnTo>
                <a:lnTo>
                  <a:pt x="318" y="12"/>
                </a:lnTo>
                <a:lnTo>
                  <a:pt x="318" y="18"/>
                </a:lnTo>
                <a:lnTo>
                  <a:pt x="318" y="12"/>
                </a:lnTo>
                <a:lnTo>
                  <a:pt x="324" y="12"/>
                </a:lnTo>
                <a:lnTo>
                  <a:pt x="330" y="12"/>
                </a:lnTo>
                <a:lnTo>
                  <a:pt x="336" y="12"/>
                </a:lnTo>
                <a:lnTo>
                  <a:pt x="336" y="18"/>
                </a:lnTo>
                <a:lnTo>
                  <a:pt x="342" y="18"/>
                </a:lnTo>
                <a:lnTo>
                  <a:pt x="342" y="24"/>
                </a:lnTo>
                <a:lnTo>
                  <a:pt x="342" y="30"/>
                </a:lnTo>
                <a:lnTo>
                  <a:pt x="348" y="30"/>
                </a:lnTo>
                <a:lnTo>
                  <a:pt x="342" y="36"/>
                </a:lnTo>
                <a:lnTo>
                  <a:pt x="348" y="36"/>
                </a:lnTo>
                <a:lnTo>
                  <a:pt x="348" y="42"/>
                </a:lnTo>
                <a:lnTo>
                  <a:pt x="348" y="36"/>
                </a:lnTo>
                <a:lnTo>
                  <a:pt x="348" y="42"/>
                </a:lnTo>
                <a:lnTo>
                  <a:pt x="348" y="48"/>
                </a:lnTo>
                <a:lnTo>
                  <a:pt x="348" y="54"/>
                </a:lnTo>
                <a:lnTo>
                  <a:pt x="348" y="60"/>
                </a:lnTo>
                <a:lnTo>
                  <a:pt x="354" y="60"/>
                </a:lnTo>
                <a:lnTo>
                  <a:pt x="360" y="60"/>
                </a:lnTo>
                <a:lnTo>
                  <a:pt x="354" y="60"/>
                </a:lnTo>
                <a:lnTo>
                  <a:pt x="354" y="66"/>
                </a:lnTo>
                <a:lnTo>
                  <a:pt x="360" y="66"/>
                </a:lnTo>
                <a:lnTo>
                  <a:pt x="360" y="72"/>
                </a:lnTo>
                <a:lnTo>
                  <a:pt x="366" y="72"/>
                </a:lnTo>
                <a:lnTo>
                  <a:pt x="366" y="78"/>
                </a:lnTo>
                <a:lnTo>
                  <a:pt x="372" y="78"/>
                </a:lnTo>
                <a:lnTo>
                  <a:pt x="372" y="84"/>
                </a:lnTo>
                <a:lnTo>
                  <a:pt x="372" y="78"/>
                </a:lnTo>
                <a:lnTo>
                  <a:pt x="366" y="78"/>
                </a:lnTo>
                <a:lnTo>
                  <a:pt x="366" y="84"/>
                </a:lnTo>
                <a:lnTo>
                  <a:pt x="366" y="90"/>
                </a:lnTo>
                <a:lnTo>
                  <a:pt x="360" y="90"/>
                </a:lnTo>
                <a:lnTo>
                  <a:pt x="360" y="96"/>
                </a:lnTo>
                <a:lnTo>
                  <a:pt x="360" y="102"/>
                </a:lnTo>
                <a:lnTo>
                  <a:pt x="366" y="102"/>
                </a:lnTo>
                <a:lnTo>
                  <a:pt x="366" y="96"/>
                </a:lnTo>
                <a:lnTo>
                  <a:pt x="372" y="96"/>
                </a:lnTo>
                <a:lnTo>
                  <a:pt x="378" y="96"/>
                </a:lnTo>
                <a:lnTo>
                  <a:pt x="378" y="102"/>
                </a:lnTo>
                <a:lnTo>
                  <a:pt x="378" y="108"/>
                </a:lnTo>
                <a:lnTo>
                  <a:pt x="378" y="114"/>
                </a:lnTo>
                <a:lnTo>
                  <a:pt x="378" y="120"/>
                </a:lnTo>
                <a:lnTo>
                  <a:pt x="378" y="126"/>
                </a:lnTo>
                <a:lnTo>
                  <a:pt x="384" y="126"/>
                </a:lnTo>
                <a:lnTo>
                  <a:pt x="384" y="132"/>
                </a:lnTo>
                <a:lnTo>
                  <a:pt x="390" y="132"/>
                </a:lnTo>
                <a:lnTo>
                  <a:pt x="396" y="132"/>
                </a:lnTo>
                <a:lnTo>
                  <a:pt x="396" y="138"/>
                </a:lnTo>
                <a:lnTo>
                  <a:pt x="396" y="144"/>
                </a:lnTo>
                <a:lnTo>
                  <a:pt x="396" y="150"/>
                </a:lnTo>
                <a:lnTo>
                  <a:pt x="390" y="150"/>
                </a:lnTo>
                <a:lnTo>
                  <a:pt x="390" y="156"/>
                </a:lnTo>
                <a:lnTo>
                  <a:pt x="384" y="156"/>
                </a:lnTo>
                <a:lnTo>
                  <a:pt x="390" y="156"/>
                </a:lnTo>
                <a:lnTo>
                  <a:pt x="384" y="156"/>
                </a:lnTo>
                <a:lnTo>
                  <a:pt x="384" y="162"/>
                </a:lnTo>
                <a:lnTo>
                  <a:pt x="384" y="156"/>
                </a:lnTo>
                <a:lnTo>
                  <a:pt x="390" y="156"/>
                </a:lnTo>
                <a:lnTo>
                  <a:pt x="390" y="162"/>
                </a:lnTo>
                <a:lnTo>
                  <a:pt x="390" y="168"/>
                </a:lnTo>
                <a:lnTo>
                  <a:pt x="390" y="174"/>
                </a:lnTo>
                <a:lnTo>
                  <a:pt x="384" y="174"/>
                </a:lnTo>
                <a:lnTo>
                  <a:pt x="390" y="174"/>
                </a:lnTo>
                <a:lnTo>
                  <a:pt x="384" y="174"/>
                </a:lnTo>
                <a:lnTo>
                  <a:pt x="384" y="180"/>
                </a:lnTo>
                <a:lnTo>
                  <a:pt x="390" y="180"/>
                </a:lnTo>
                <a:lnTo>
                  <a:pt x="384" y="180"/>
                </a:lnTo>
                <a:lnTo>
                  <a:pt x="390" y="180"/>
                </a:lnTo>
                <a:lnTo>
                  <a:pt x="390" y="186"/>
                </a:lnTo>
                <a:lnTo>
                  <a:pt x="396" y="186"/>
                </a:lnTo>
                <a:lnTo>
                  <a:pt x="402" y="186"/>
                </a:lnTo>
                <a:lnTo>
                  <a:pt x="402" y="192"/>
                </a:lnTo>
                <a:lnTo>
                  <a:pt x="402" y="198"/>
                </a:lnTo>
                <a:lnTo>
                  <a:pt x="402" y="204"/>
                </a:lnTo>
                <a:lnTo>
                  <a:pt x="402" y="198"/>
                </a:lnTo>
                <a:lnTo>
                  <a:pt x="402" y="204"/>
                </a:lnTo>
                <a:lnTo>
                  <a:pt x="408" y="204"/>
                </a:lnTo>
                <a:lnTo>
                  <a:pt x="402" y="204"/>
                </a:lnTo>
                <a:lnTo>
                  <a:pt x="402" y="210"/>
                </a:lnTo>
                <a:lnTo>
                  <a:pt x="396" y="216"/>
                </a:lnTo>
                <a:lnTo>
                  <a:pt x="396" y="222"/>
                </a:lnTo>
                <a:lnTo>
                  <a:pt x="402" y="222"/>
                </a:lnTo>
                <a:lnTo>
                  <a:pt x="408" y="222"/>
                </a:lnTo>
                <a:lnTo>
                  <a:pt x="408" y="228"/>
                </a:lnTo>
                <a:lnTo>
                  <a:pt x="414" y="234"/>
                </a:lnTo>
                <a:lnTo>
                  <a:pt x="414" y="240"/>
                </a:lnTo>
                <a:lnTo>
                  <a:pt x="414" y="246"/>
                </a:lnTo>
                <a:lnTo>
                  <a:pt x="408" y="246"/>
                </a:lnTo>
                <a:lnTo>
                  <a:pt x="408" y="240"/>
                </a:lnTo>
                <a:lnTo>
                  <a:pt x="402" y="240"/>
                </a:lnTo>
                <a:lnTo>
                  <a:pt x="402" y="246"/>
                </a:lnTo>
                <a:lnTo>
                  <a:pt x="402" y="240"/>
                </a:lnTo>
                <a:lnTo>
                  <a:pt x="402" y="246"/>
                </a:lnTo>
                <a:lnTo>
                  <a:pt x="402" y="240"/>
                </a:lnTo>
                <a:lnTo>
                  <a:pt x="396" y="240"/>
                </a:lnTo>
                <a:lnTo>
                  <a:pt x="390" y="240"/>
                </a:lnTo>
                <a:lnTo>
                  <a:pt x="384" y="240"/>
                </a:lnTo>
                <a:lnTo>
                  <a:pt x="384" y="246"/>
                </a:lnTo>
                <a:lnTo>
                  <a:pt x="384" y="252"/>
                </a:lnTo>
                <a:lnTo>
                  <a:pt x="384" y="258"/>
                </a:lnTo>
                <a:lnTo>
                  <a:pt x="390" y="258"/>
                </a:lnTo>
                <a:lnTo>
                  <a:pt x="396" y="258"/>
                </a:lnTo>
                <a:lnTo>
                  <a:pt x="396" y="264"/>
                </a:lnTo>
                <a:lnTo>
                  <a:pt x="390" y="264"/>
                </a:lnTo>
                <a:lnTo>
                  <a:pt x="390" y="270"/>
                </a:lnTo>
                <a:lnTo>
                  <a:pt x="390" y="276"/>
                </a:lnTo>
                <a:lnTo>
                  <a:pt x="390" y="282"/>
                </a:lnTo>
                <a:lnTo>
                  <a:pt x="390" y="288"/>
                </a:lnTo>
                <a:lnTo>
                  <a:pt x="384" y="288"/>
                </a:lnTo>
                <a:lnTo>
                  <a:pt x="384" y="294"/>
                </a:lnTo>
                <a:lnTo>
                  <a:pt x="378" y="288"/>
                </a:lnTo>
                <a:lnTo>
                  <a:pt x="372" y="288"/>
                </a:lnTo>
                <a:lnTo>
                  <a:pt x="366" y="294"/>
                </a:lnTo>
                <a:lnTo>
                  <a:pt x="366" y="288"/>
                </a:lnTo>
                <a:lnTo>
                  <a:pt x="366" y="282"/>
                </a:lnTo>
                <a:lnTo>
                  <a:pt x="360" y="282"/>
                </a:lnTo>
                <a:lnTo>
                  <a:pt x="360" y="288"/>
                </a:lnTo>
                <a:lnTo>
                  <a:pt x="354" y="288"/>
                </a:lnTo>
                <a:lnTo>
                  <a:pt x="354" y="294"/>
                </a:lnTo>
                <a:lnTo>
                  <a:pt x="354" y="300"/>
                </a:lnTo>
                <a:lnTo>
                  <a:pt x="348" y="300"/>
                </a:lnTo>
                <a:lnTo>
                  <a:pt x="348" y="306"/>
                </a:lnTo>
                <a:lnTo>
                  <a:pt x="342" y="306"/>
                </a:lnTo>
                <a:lnTo>
                  <a:pt x="342" y="312"/>
                </a:lnTo>
                <a:lnTo>
                  <a:pt x="336" y="312"/>
                </a:lnTo>
                <a:lnTo>
                  <a:pt x="336" y="306"/>
                </a:lnTo>
                <a:lnTo>
                  <a:pt x="330" y="306"/>
                </a:lnTo>
                <a:lnTo>
                  <a:pt x="330" y="300"/>
                </a:lnTo>
                <a:lnTo>
                  <a:pt x="324" y="300"/>
                </a:lnTo>
                <a:lnTo>
                  <a:pt x="318" y="300"/>
                </a:lnTo>
                <a:lnTo>
                  <a:pt x="312" y="300"/>
                </a:lnTo>
                <a:lnTo>
                  <a:pt x="318" y="300"/>
                </a:lnTo>
                <a:lnTo>
                  <a:pt x="318" y="294"/>
                </a:lnTo>
                <a:lnTo>
                  <a:pt x="318" y="288"/>
                </a:lnTo>
                <a:lnTo>
                  <a:pt x="318" y="282"/>
                </a:lnTo>
                <a:lnTo>
                  <a:pt x="318" y="276"/>
                </a:lnTo>
                <a:lnTo>
                  <a:pt x="318" y="270"/>
                </a:lnTo>
                <a:lnTo>
                  <a:pt x="318" y="264"/>
                </a:lnTo>
                <a:lnTo>
                  <a:pt x="312" y="264"/>
                </a:lnTo>
                <a:lnTo>
                  <a:pt x="312" y="258"/>
                </a:lnTo>
                <a:lnTo>
                  <a:pt x="312" y="252"/>
                </a:lnTo>
                <a:lnTo>
                  <a:pt x="312" y="246"/>
                </a:lnTo>
                <a:lnTo>
                  <a:pt x="306" y="246"/>
                </a:lnTo>
                <a:lnTo>
                  <a:pt x="306" y="240"/>
                </a:lnTo>
                <a:lnTo>
                  <a:pt x="306" y="246"/>
                </a:lnTo>
                <a:lnTo>
                  <a:pt x="300" y="246"/>
                </a:lnTo>
                <a:lnTo>
                  <a:pt x="306" y="240"/>
                </a:lnTo>
                <a:lnTo>
                  <a:pt x="300" y="240"/>
                </a:lnTo>
                <a:lnTo>
                  <a:pt x="300" y="234"/>
                </a:lnTo>
                <a:lnTo>
                  <a:pt x="294" y="234"/>
                </a:lnTo>
                <a:lnTo>
                  <a:pt x="294" y="240"/>
                </a:lnTo>
                <a:lnTo>
                  <a:pt x="288" y="240"/>
                </a:lnTo>
                <a:lnTo>
                  <a:pt x="282" y="240"/>
                </a:lnTo>
                <a:lnTo>
                  <a:pt x="276" y="240"/>
                </a:lnTo>
                <a:lnTo>
                  <a:pt x="270" y="240"/>
                </a:lnTo>
                <a:lnTo>
                  <a:pt x="264" y="240"/>
                </a:lnTo>
                <a:lnTo>
                  <a:pt x="258" y="240"/>
                </a:lnTo>
                <a:lnTo>
                  <a:pt x="258" y="246"/>
                </a:lnTo>
                <a:lnTo>
                  <a:pt x="252" y="246"/>
                </a:lnTo>
                <a:lnTo>
                  <a:pt x="252" y="252"/>
                </a:lnTo>
                <a:lnTo>
                  <a:pt x="252" y="246"/>
                </a:lnTo>
                <a:lnTo>
                  <a:pt x="246" y="246"/>
                </a:lnTo>
                <a:lnTo>
                  <a:pt x="246" y="252"/>
                </a:lnTo>
                <a:lnTo>
                  <a:pt x="246" y="246"/>
                </a:lnTo>
                <a:lnTo>
                  <a:pt x="246" y="240"/>
                </a:lnTo>
                <a:lnTo>
                  <a:pt x="252" y="234"/>
                </a:lnTo>
                <a:lnTo>
                  <a:pt x="258" y="234"/>
                </a:lnTo>
                <a:lnTo>
                  <a:pt x="258" y="228"/>
                </a:lnTo>
                <a:lnTo>
                  <a:pt x="252" y="228"/>
                </a:lnTo>
                <a:lnTo>
                  <a:pt x="258" y="228"/>
                </a:lnTo>
                <a:lnTo>
                  <a:pt x="252" y="228"/>
                </a:lnTo>
                <a:lnTo>
                  <a:pt x="252" y="222"/>
                </a:lnTo>
                <a:lnTo>
                  <a:pt x="252" y="216"/>
                </a:lnTo>
                <a:lnTo>
                  <a:pt x="252" y="210"/>
                </a:lnTo>
                <a:lnTo>
                  <a:pt x="252" y="204"/>
                </a:lnTo>
                <a:lnTo>
                  <a:pt x="246" y="204"/>
                </a:lnTo>
                <a:lnTo>
                  <a:pt x="240" y="204"/>
                </a:lnTo>
                <a:lnTo>
                  <a:pt x="246" y="204"/>
                </a:lnTo>
                <a:lnTo>
                  <a:pt x="246" y="198"/>
                </a:lnTo>
                <a:lnTo>
                  <a:pt x="246" y="192"/>
                </a:lnTo>
                <a:lnTo>
                  <a:pt x="246" y="186"/>
                </a:lnTo>
                <a:lnTo>
                  <a:pt x="240" y="192"/>
                </a:lnTo>
                <a:lnTo>
                  <a:pt x="240" y="186"/>
                </a:lnTo>
                <a:lnTo>
                  <a:pt x="234" y="186"/>
                </a:lnTo>
                <a:lnTo>
                  <a:pt x="234" y="180"/>
                </a:lnTo>
                <a:lnTo>
                  <a:pt x="240" y="180"/>
                </a:lnTo>
                <a:lnTo>
                  <a:pt x="234" y="180"/>
                </a:lnTo>
                <a:lnTo>
                  <a:pt x="234" y="174"/>
                </a:lnTo>
                <a:lnTo>
                  <a:pt x="228" y="174"/>
                </a:lnTo>
                <a:lnTo>
                  <a:pt x="228" y="168"/>
                </a:lnTo>
                <a:lnTo>
                  <a:pt x="228" y="162"/>
                </a:lnTo>
                <a:lnTo>
                  <a:pt x="222" y="162"/>
                </a:lnTo>
                <a:lnTo>
                  <a:pt x="216" y="156"/>
                </a:lnTo>
                <a:lnTo>
                  <a:pt x="210" y="156"/>
                </a:lnTo>
                <a:lnTo>
                  <a:pt x="204" y="156"/>
                </a:lnTo>
                <a:lnTo>
                  <a:pt x="198" y="156"/>
                </a:lnTo>
                <a:lnTo>
                  <a:pt x="192" y="156"/>
                </a:lnTo>
                <a:lnTo>
                  <a:pt x="186" y="156"/>
                </a:lnTo>
                <a:lnTo>
                  <a:pt x="180" y="156"/>
                </a:lnTo>
                <a:lnTo>
                  <a:pt x="174" y="156"/>
                </a:lnTo>
                <a:lnTo>
                  <a:pt x="168" y="162"/>
                </a:lnTo>
                <a:lnTo>
                  <a:pt x="162" y="162"/>
                </a:lnTo>
                <a:lnTo>
                  <a:pt x="162" y="156"/>
                </a:lnTo>
                <a:lnTo>
                  <a:pt x="156" y="156"/>
                </a:lnTo>
                <a:lnTo>
                  <a:pt x="156" y="162"/>
                </a:lnTo>
                <a:lnTo>
                  <a:pt x="150" y="162"/>
                </a:lnTo>
                <a:lnTo>
                  <a:pt x="144" y="162"/>
                </a:lnTo>
                <a:lnTo>
                  <a:pt x="144" y="168"/>
                </a:lnTo>
                <a:lnTo>
                  <a:pt x="138" y="168"/>
                </a:lnTo>
                <a:lnTo>
                  <a:pt x="138" y="174"/>
                </a:lnTo>
                <a:lnTo>
                  <a:pt x="138" y="180"/>
                </a:lnTo>
                <a:lnTo>
                  <a:pt x="138" y="186"/>
                </a:lnTo>
                <a:lnTo>
                  <a:pt x="132" y="186"/>
                </a:lnTo>
                <a:lnTo>
                  <a:pt x="132" y="192"/>
                </a:lnTo>
                <a:lnTo>
                  <a:pt x="126" y="192"/>
                </a:lnTo>
                <a:lnTo>
                  <a:pt x="120" y="198"/>
                </a:lnTo>
                <a:lnTo>
                  <a:pt x="120" y="192"/>
                </a:lnTo>
                <a:lnTo>
                  <a:pt x="120" y="198"/>
                </a:lnTo>
                <a:lnTo>
                  <a:pt x="120" y="204"/>
                </a:lnTo>
                <a:lnTo>
                  <a:pt x="114" y="204"/>
                </a:lnTo>
                <a:lnTo>
                  <a:pt x="114" y="210"/>
                </a:lnTo>
                <a:lnTo>
                  <a:pt x="108" y="210"/>
                </a:lnTo>
                <a:lnTo>
                  <a:pt x="108" y="204"/>
                </a:lnTo>
                <a:lnTo>
                  <a:pt x="102" y="204"/>
                </a:lnTo>
                <a:lnTo>
                  <a:pt x="102" y="210"/>
                </a:lnTo>
                <a:close/>
                <a:moveTo>
                  <a:pt x="0" y="96"/>
                </a:moveTo>
                <a:lnTo>
                  <a:pt x="12" y="96"/>
                </a:lnTo>
                <a:lnTo>
                  <a:pt x="12" y="108"/>
                </a:lnTo>
                <a:lnTo>
                  <a:pt x="0" y="108"/>
                </a:lnTo>
                <a:lnTo>
                  <a:pt x="0" y="96"/>
                </a:lnTo>
                <a:close/>
                <a:moveTo>
                  <a:pt x="6" y="96"/>
                </a:moveTo>
                <a:lnTo>
                  <a:pt x="12" y="96"/>
                </a:lnTo>
                <a:lnTo>
                  <a:pt x="12" y="102"/>
                </a:lnTo>
                <a:lnTo>
                  <a:pt x="6" y="102"/>
                </a:lnTo>
                <a:lnTo>
                  <a:pt x="6" y="96"/>
                </a:lnTo>
                <a:close/>
                <a:moveTo>
                  <a:pt x="6" y="102"/>
                </a:moveTo>
                <a:lnTo>
                  <a:pt x="12" y="102"/>
                </a:lnTo>
                <a:lnTo>
                  <a:pt x="12" y="108"/>
                </a:lnTo>
                <a:lnTo>
                  <a:pt x="6" y="108"/>
                </a:lnTo>
                <a:lnTo>
                  <a:pt x="6" y="102"/>
                </a:lnTo>
                <a:close/>
                <a:moveTo>
                  <a:pt x="72" y="180"/>
                </a:moveTo>
                <a:lnTo>
                  <a:pt x="72" y="186"/>
                </a:lnTo>
                <a:lnTo>
                  <a:pt x="73" y="186"/>
                </a:lnTo>
                <a:lnTo>
                  <a:pt x="72" y="180"/>
                </a:lnTo>
                <a:close/>
                <a:moveTo>
                  <a:pt x="72" y="162"/>
                </a:moveTo>
                <a:lnTo>
                  <a:pt x="78" y="162"/>
                </a:lnTo>
                <a:lnTo>
                  <a:pt x="78" y="168"/>
                </a:lnTo>
                <a:lnTo>
                  <a:pt x="72" y="168"/>
                </a:lnTo>
                <a:lnTo>
                  <a:pt x="72" y="162"/>
                </a:lnTo>
                <a:close/>
                <a:moveTo>
                  <a:pt x="72" y="180"/>
                </a:moveTo>
                <a:lnTo>
                  <a:pt x="78" y="180"/>
                </a:lnTo>
                <a:lnTo>
                  <a:pt x="78" y="186"/>
                </a:lnTo>
                <a:lnTo>
                  <a:pt x="72" y="186"/>
                </a:lnTo>
                <a:lnTo>
                  <a:pt x="72" y="180"/>
                </a:lnTo>
                <a:close/>
                <a:moveTo>
                  <a:pt x="12" y="102"/>
                </a:moveTo>
                <a:lnTo>
                  <a:pt x="12" y="108"/>
                </a:lnTo>
                <a:lnTo>
                  <a:pt x="13" y="108"/>
                </a:lnTo>
                <a:lnTo>
                  <a:pt x="12" y="102"/>
                </a:lnTo>
                <a:close/>
                <a:moveTo>
                  <a:pt x="60" y="144"/>
                </a:moveTo>
                <a:lnTo>
                  <a:pt x="60" y="150"/>
                </a:lnTo>
                <a:lnTo>
                  <a:pt x="61" y="150"/>
                </a:lnTo>
                <a:lnTo>
                  <a:pt x="60" y="144"/>
                </a:lnTo>
                <a:close/>
                <a:moveTo>
                  <a:pt x="78" y="156"/>
                </a:moveTo>
                <a:lnTo>
                  <a:pt x="78" y="162"/>
                </a:lnTo>
                <a:lnTo>
                  <a:pt x="79" y="162"/>
                </a:lnTo>
                <a:lnTo>
                  <a:pt x="78" y="156"/>
                </a:lnTo>
                <a:close/>
                <a:moveTo>
                  <a:pt x="90" y="192"/>
                </a:moveTo>
                <a:lnTo>
                  <a:pt x="96" y="192"/>
                </a:lnTo>
                <a:lnTo>
                  <a:pt x="96" y="198"/>
                </a:lnTo>
                <a:lnTo>
                  <a:pt x="90" y="198"/>
                </a:lnTo>
                <a:lnTo>
                  <a:pt x="90" y="192"/>
                </a:lnTo>
                <a:close/>
                <a:moveTo>
                  <a:pt x="96" y="204"/>
                </a:moveTo>
                <a:lnTo>
                  <a:pt x="102" y="204"/>
                </a:lnTo>
                <a:lnTo>
                  <a:pt x="96" y="20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8" name="Freeform 18">
            <a:extLst>
              <a:ext uri="{FF2B5EF4-FFF2-40B4-BE49-F238E27FC236}">
                <a16:creationId xmlns:a16="http://schemas.microsoft.com/office/drawing/2014/main" id="{C950A48D-C30F-6D41-8533-A7358EEEC55E}"/>
              </a:ext>
            </a:extLst>
          </p:cNvPr>
          <p:cNvSpPr>
            <a:spLocks noEditPoints="1"/>
          </p:cNvSpPr>
          <p:nvPr>
            <p:custDataLst>
              <p:tags r:id="rId17"/>
            </p:custDataLst>
          </p:nvPr>
        </p:nvSpPr>
        <p:spPr bwMode="gray">
          <a:xfrm>
            <a:off x="2699129" y="4060775"/>
            <a:ext cx="194369" cy="144673"/>
          </a:xfrm>
          <a:custGeom>
            <a:avLst/>
            <a:gdLst>
              <a:gd name="T0" fmla="*/ 58622 w 168"/>
              <a:gd name="T1" fmla="*/ 33619 h 168"/>
              <a:gd name="T2" fmla="*/ 53737 w 168"/>
              <a:gd name="T3" fmla="*/ 37462 h 168"/>
              <a:gd name="T4" fmla="*/ 49829 w 168"/>
              <a:gd name="T5" fmla="*/ 44186 h 168"/>
              <a:gd name="T6" fmla="*/ 45921 w 168"/>
              <a:gd name="T7" fmla="*/ 48028 h 168"/>
              <a:gd name="T8" fmla="*/ 41036 w 168"/>
              <a:gd name="T9" fmla="*/ 51871 h 168"/>
              <a:gd name="T10" fmla="*/ 39081 w 168"/>
              <a:gd name="T11" fmla="*/ 58594 h 168"/>
              <a:gd name="T12" fmla="*/ 32243 w 168"/>
              <a:gd name="T13" fmla="*/ 55712 h 168"/>
              <a:gd name="T14" fmla="*/ 23449 w 168"/>
              <a:gd name="T15" fmla="*/ 54753 h 168"/>
              <a:gd name="T16" fmla="*/ 17587 w 168"/>
              <a:gd name="T17" fmla="*/ 51871 h 168"/>
              <a:gd name="T18" fmla="*/ 19541 w 168"/>
              <a:gd name="T19" fmla="*/ 49949 h 168"/>
              <a:gd name="T20" fmla="*/ 17587 w 168"/>
              <a:gd name="T21" fmla="*/ 48028 h 168"/>
              <a:gd name="T22" fmla="*/ 15633 w 168"/>
              <a:gd name="T23" fmla="*/ 45147 h 168"/>
              <a:gd name="T24" fmla="*/ 15633 w 168"/>
              <a:gd name="T25" fmla="*/ 45147 h 168"/>
              <a:gd name="T26" fmla="*/ 12702 w 168"/>
              <a:gd name="T27" fmla="*/ 44186 h 168"/>
              <a:gd name="T28" fmla="*/ 10748 w 168"/>
              <a:gd name="T29" fmla="*/ 41304 h 168"/>
              <a:gd name="T30" fmla="*/ 8794 w 168"/>
              <a:gd name="T31" fmla="*/ 39383 h 168"/>
              <a:gd name="T32" fmla="*/ 3908 w 168"/>
              <a:gd name="T33" fmla="*/ 35541 h 168"/>
              <a:gd name="T34" fmla="*/ 1954 w 168"/>
              <a:gd name="T35" fmla="*/ 35541 h 168"/>
              <a:gd name="T36" fmla="*/ 0 w 168"/>
              <a:gd name="T37" fmla="*/ 29778 h 168"/>
              <a:gd name="T38" fmla="*/ 1954 w 168"/>
              <a:gd name="T39" fmla="*/ 29778 h 168"/>
              <a:gd name="T40" fmla="*/ 3908 w 168"/>
              <a:gd name="T41" fmla="*/ 26896 h 168"/>
              <a:gd name="T42" fmla="*/ 0 w 168"/>
              <a:gd name="T43" fmla="*/ 26896 h 168"/>
              <a:gd name="T44" fmla="*/ 1954 w 168"/>
              <a:gd name="T45" fmla="*/ 23054 h 168"/>
              <a:gd name="T46" fmla="*/ 0 w 168"/>
              <a:gd name="T47" fmla="*/ 21132 h 168"/>
              <a:gd name="T48" fmla="*/ 1954 w 168"/>
              <a:gd name="T49" fmla="*/ 18251 h 168"/>
              <a:gd name="T50" fmla="*/ 6840 w 168"/>
              <a:gd name="T51" fmla="*/ 14408 h 168"/>
              <a:gd name="T52" fmla="*/ 10748 w 168"/>
              <a:gd name="T53" fmla="*/ 12487 h 168"/>
              <a:gd name="T54" fmla="*/ 12702 w 168"/>
              <a:gd name="T55" fmla="*/ 6724 h 168"/>
              <a:gd name="T56" fmla="*/ 17587 w 168"/>
              <a:gd name="T57" fmla="*/ 1921 h 168"/>
              <a:gd name="T58" fmla="*/ 21495 w 168"/>
              <a:gd name="T59" fmla="*/ 1921 h 168"/>
              <a:gd name="T60" fmla="*/ 30289 w 168"/>
              <a:gd name="T61" fmla="*/ 0 h 168"/>
              <a:gd name="T62" fmla="*/ 39081 w 168"/>
              <a:gd name="T63" fmla="*/ 0 h 168"/>
              <a:gd name="T64" fmla="*/ 45921 w 168"/>
              <a:gd name="T65" fmla="*/ 3842 h 168"/>
              <a:gd name="T66" fmla="*/ 49829 w 168"/>
              <a:gd name="T67" fmla="*/ 7685 h 168"/>
              <a:gd name="T68" fmla="*/ 49829 w 168"/>
              <a:gd name="T69" fmla="*/ 12487 h 168"/>
              <a:gd name="T70" fmla="*/ 51783 w 168"/>
              <a:gd name="T71" fmla="*/ 16330 h 168"/>
              <a:gd name="T72" fmla="*/ 53737 w 168"/>
              <a:gd name="T73" fmla="*/ 18251 h 168"/>
              <a:gd name="T74" fmla="*/ 56668 w 168"/>
              <a:gd name="T75" fmla="*/ 24975 h 168"/>
              <a:gd name="T76" fmla="*/ 53737 w 168"/>
              <a:gd name="T77" fmla="*/ 26896 h 168"/>
              <a:gd name="T78" fmla="*/ 51783 w 168"/>
              <a:gd name="T79" fmla="*/ 30738 h 168"/>
              <a:gd name="T80" fmla="*/ 56668 w 168"/>
              <a:gd name="T81" fmla="*/ 30738 h 168"/>
              <a:gd name="T82" fmla="*/ 6840 w 168"/>
              <a:gd name="T83" fmla="*/ 45147 h 168"/>
              <a:gd name="T84" fmla="*/ 15633 w 168"/>
              <a:gd name="T85" fmla="*/ 45147 h 168"/>
              <a:gd name="T86" fmla="*/ 15633 w 168"/>
              <a:gd name="T87" fmla="*/ 49949 h 168"/>
              <a:gd name="T88" fmla="*/ 8794 w 168"/>
              <a:gd name="T89" fmla="*/ 48028 h 168"/>
              <a:gd name="T90" fmla="*/ 1954 w 168"/>
              <a:gd name="T91" fmla="*/ 21132 h 168"/>
              <a:gd name="T92" fmla="*/ 3908 w 168"/>
              <a:gd name="T93" fmla="*/ 45147 h 168"/>
              <a:gd name="T94" fmla="*/ 0 w 168"/>
              <a:gd name="T95" fmla="*/ 37462 h 168"/>
              <a:gd name="T96" fmla="*/ 3908 w 168"/>
              <a:gd name="T97" fmla="*/ 26896 h 168"/>
              <a:gd name="T98" fmla="*/ 3908 w 168"/>
              <a:gd name="T99" fmla="*/ 45147 h 168"/>
              <a:gd name="T100" fmla="*/ 3908 w 168"/>
              <a:gd name="T101" fmla="*/ 45147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8" h="168">
                <a:moveTo>
                  <a:pt x="168" y="84"/>
                </a:moveTo>
                <a:lnTo>
                  <a:pt x="168" y="90"/>
                </a:lnTo>
                <a:lnTo>
                  <a:pt x="162" y="90"/>
                </a:lnTo>
                <a:lnTo>
                  <a:pt x="162" y="96"/>
                </a:lnTo>
                <a:lnTo>
                  <a:pt x="162" y="102"/>
                </a:lnTo>
                <a:lnTo>
                  <a:pt x="156" y="102"/>
                </a:lnTo>
                <a:lnTo>
                  <a:pt x="150" y="102"/>
                </a:lnTo>
                <a:lnTo>
                  <a:pt x="150" y="108"/>
                </a:lnTo>
                <a:lnTo>
                  <a:pt x="150" y="114"/>
                </a:lnTo>
                <a:lnTo>
                  <a:pt x="150" y="126"/>
                </a:lnTo>
                <a:lnTo>
                  <a:pt x="144" y="126"/>
                </a:lnTo>
                <a:lnTo>
                  <a:pt x="138" y="126"/>
                </a:lnTo>
                <a:lnTo>
                  <a:pt x="138" y="132"/>
                </a:lnTo>
                <a:lnTo>
                  <a:pt x="138" y="138"/>
                </a:lnTo>
                <a:lnTo>
                  <a:pt x="132" y="138"/>
                </a:lnTo>
                <a:lnTo>
                  <a:pt x="126" y="138"/>
                </a:lnTo>
                <a:lnTo>
                  <a:pt x="126" y="144"/>
                </a:lnTo>
                <a:lnTo>
                  <a:pt x="120" y="144"/>
                </a:lnTo>
                <a:lnTo>
                  <a:pt x="120" y="150"/>
                </a:lnTo>
                <a:lnTo>
                  <a:pt x="114" y="150"/>
                </a:lnTo>
                <a:lnTo>
                  <a:pt x="114" y="156"/>
                </a:lnTo>
                <a:lnTo>
                  <a:pt x="108" y="156"/>
                </a:lnTo>
                <a:lnTo>
                  <a:pt x="108" y="162"/>
                </a:lnTo>
                <a:lnTo>
                  <a:pt x="108" y="168"/>
                </a:lnTo>
                <a:lnTo>
                  <a:pt x="102" y="168"/>
                </a:lnTo>
                <a:lnTo>
                  <a:pt x="96" y="168"/>
                </a:lnTo>
                <a:lnTo>
                  <a:pt x="90" y="168"/>
                </a:lnTo>
                <a:lnTo>
                  <a:pt x="90" y="162"/>
                </a:lnTo>
                <a:lnTo>
                  <a:pt x="84" y="162"/>
                </a:lnTo>
                <a:lnTo>
                  <a:pt x="78" y="156"/>
                </a:lnTo>
                <a:lnTo>
                  <a:pt x="72" y="156"/>
                </a:lnTo>
                <a:lnTo>
                  <a:pt x="66" y="156"/>
                </a:lnTo>
                <a:lnTo>
                  <a:pt x="66" y="150"/>
                </a:lnTo>
                <a:lnTo>
                  <a:pt x="60" y="150"/>
                </a:lnTo>
                <a:lnTo>
                  <a:pt x="54" y="150"/>
                </a:lnTo>
                <a:lnTo>
                  <a:pt x="48" y="150"/>
                </a:lnTo>
                <a:lnTo>
                  <a:pt x="48" y="144"/>
                </a:lnTo>
                <a:lnTo>
                  <a:pt x="42" y="144"/>
                </a:lnTo>
                <a:lnTo>
                  <a:pt x="48" y="144"/>
                </a:lnTo>
                <a:lnTo>
                  <a:pt x="54" y="144"/>
                </a:lnTo>
                <a:lnTo>
                  <a:pt x="48" y="144"/>
                </a:lnTo>
                <a:lnTo>
                  <a:pt x="42" y="144"/>
                </a:lnTo>
                <a:lnTo>
                  <a:pt x="42" y="138"/>
                </a:lnTo>
                <a:lnTo>
                  <a:pt x="48" y="138"/>
                </a:lnTo>
                <a:lnTo>
                  <a:pt x="54" y="138"/>
                </a:lnTo>
                <a:lnTo>
                  <a:pt x="48" y="138"/>
                </a:lnTo>
                <a:lnTo>
                  <a:pt x="42" y="138"/>
                </a:lnTo>
                <a:lnTo>
                  <a:pt x="42" y="132"/>
                </a:lnTo>
                <a:lnTo>
                  <a:pt x="48" y="132"/>
                </a:lnTo>
                <a:lnTo>
                  <a:pt x="48" y="126"/>
                </a:lnTo>
                <a:lnTo>
                  <a:pt x="48" y="132"/>
                </a:lnTo>
                <a:lnTo>
                  <a:pt x="42" y="132"/>
                </a:lnTo>
                <a:lnTo>
                  <a:pt x="42" y="126"/>
                </a:lnTo>
                <a:lnTo>
                  <a:pt x="42" y="120"/>
                </a:lnTo>
                <a:lnTo>
                  <a:pt x="42" y="126"/>
                </a:lnTo>
                <a:lnTo>
                  <a:pt x="36" y="126"/>
                </a:lnTo>
                <a:lnTo>
                  <a:pt x="30" y="126"/>
                </a:lnTo>
                <a:lnTo>
                  <a:pt x="24" y="126"/>
                </a:lnTo>
                <a:lnTo>
                  <a:pt x="24" y="120"/>
                </a:lnTo>
                <a:lnTo>
                  <a:pt x="30" y="120"/>
                </a:lnTo>
                <a:lnTo>
                  <a:pt x="24" y="120"/>
                </a:lnTo>
                <a:lnTo>
                  <a:pt x="18" y="120"/>
                </a:lnTo>
                <a:lnTo>
                  <a:pt x="18" y="114"/>
                </a:lnTo>
                <a:lnTo>
                  <a:pt x="24" y="114"/>
                </a:lnTo>
                <a:lnTo>
                  <a:pt x="24" y="108"/>
                </a:lnTo>
                <a:lnTo>
                  <a:pt x="18" y="108"/>
                </a:lnTo>
                <a:lnTo>
                  <a:pt x="18" y="102"/>
                </a:lnTo>
                <a:lnTo>
                  <a:pt x="12" y="102"/>
                </a:lnTo>
                <a:lnTo>
                  <a:pt x="12" y="96"/>
                </a:lnTo>
                <a:lnTo>
                  <a:pt x="18" y="96"/>
                </a:lnTo>
                <a:lnTo>
                  <a:pt x="12" y="96"/>
                </a:lnTo>
                <a:lnTo>
                  <a:pt x="6" y="102"/>
                </a:lnTo>
                <a:lnTo>
                  <a:pt x="6" y="96"/>
                </a:lnTo>
                <a:lnTo>
                  <a:pt x="6" y="90"/>
                </a:lnTo>
                <a:lnTo>
                  <a:pt x="0" y="90"/>
                </a:lnTo>
                <a:lnTo>
                  <a:pt x="0" y="84"/>
                </a:lnTo>
                <a:lnTo>
                  <a:pt x="6" y="84"/>
                </a:lnTo>
                <a:lnTo>
                  <a:pt x="6" y="90"/>
                </a:lnTo>
                <a:lnTo>
                  <a:pt x="12" y="90"/>
                </a:lnTo>
                <a:lnTo>
                  <a:pt x="6" y="84"/>
                </a:lnTo>
                <a:lnTo>
                  <a:pt x="12" y="84"/>
                </a:lnTo>
                <a:lnTo>
                  <a:pt x="12" y="78"/>
                </a:lnTo>
                <a:lnTo>
                  <a:pt x="18" y="78"/>
                </a:lnTo>
                <a:lnTo>
                  <a:pt x="12" y="78"/>
                </a:lnTo>
                <a:lnTo>
                  <a:pt x="6" y="78"/>
                </a:lnTo>
                <a:lnTo>
                  <a:pt x="6" y="84"/>
                </a:lnTo>
                <a:lnTo>
                  <a:pt x="6" y="78"/>
                </a:lnTo>
                <a:lnTo>
                  <a:pt x="0" y="78"/>
                </a:lnTo>
                <a:lnTo>
                  <a:pt x="0" y="72"/>
                </a:lnTo>
                <a:lnTo>
                  <a:pt x="0" y="66"/>
                </a:lnTo>
                <a:lnTo>
                  <a:pt x="6" y="60"/>
                </a:lnTo>
                <a:lnTo>
                  <a:pt x="6" y="66"/>
                </a:lnTo>
                <a:lnTo>
                  <a:pt x="6" y="60"/>
                </a:lnTo>
                <a:lnTo>
                  <a:pt x="0" y="60"/>
                </a:lnTo>
                <a:lnTo>
                  <a:pt x="0" y="54"/>
                </a:lnTo>
                <a:lnTo>
                  <a:pt x="0" y="60"/>
                </a:lnTo>
                <a:lnTo>
                  <a:pt x="0" y="54"/>
                </a:lnTo>
                <a:lnTo>
                  <a:pt x="0" y="48"/>
                </a:lnTo>
                <a:lnTo>
                  <a:pt x="6" y="48"/>
                </a:lnTo>
                <a:lnTo>
                  <a:pt x="6" y="54"/>
                </a:lnTo>
                <a:lnTo>
                  <a:pt x="12" y="54"/>
                </a:lnTo>
                <a:lnTo>
                  <a:pt x="12" y="48"/>
                </a:lnTo>
                <a:lnTo>
                  <a:pt x="18" y="48"/>
                </a:lnTo>
                <a:lnTo>
                  <a:pt x="18" y="42"/>
                </a:lnTo>
                <a:lnTo>
                  <a:pt x="18" y="36"/>
                </a:lnTo>
                <a:lnTo>
                  <a:pt x="18" y="42"/>
                </a:lnTo>
                <a:lnTo>
                  <a:pt x="24" y="36"/>
                </a:lnTo>
                <a:lnTo>
                  <a:pt x="30" y="36"/>
                </a:lnTo>
                <a:lnTo>
                  <a:pt x="30" y="30"/>
                </a:lnTo>
                <a:lnTo>
                  <a:pt x="36" y="30"/>
                </a:lnTo>
                <a:lnTo>
                  <a:pt x="36" y="24"/>
                </a:lnTo>
                <a:lnTo>
                  <a:pt x="36" y="18"/>
                </a:lnTo>
                <a:lnTo>
                  <a:pt x="36" y="12"/>
                </a:lnTo>
                <a:lnTo>
                  <a:pt x="42" y="12"/>
                </a:lnTo>
                <a:lnTo>
                  <a:pt x="42" y="6"/>
                </a:lnTo>
                <a:lnTo>
                  <a:pt x="48" y="6"/>
                </a:lnTo>
                <a:lnTo>
                  <a:pt x="54" y="6"/>
                </a:lnTo>
                <a:lnTo>
                  <a:pt x="54" y="0"/>
                </a:lnTo>
                <a:lnTo>
                  <a:pt x="60" y="0"/>
                </a:lnTo>
                <a:lnTo>
                  <a:pt x="60" y="6"/>
                </a:lnTo>
                <a:lnTo>
                  <a:pt x="66" y="6"/>
                </a:lnTo>
                <a:lnTo>
                  <a:pt x="72" y="0"/>
                </a:lnTo>
                <a:lnTo>
                  <a:pt x="78" y="0"/>
                </a:lnTo>
                <a:lnTo>
                  <a:pt x="84" y="0"/>
                </a:lnTo>
                <a:lnTo>
                  <a:pt x="90" y="0"/>
                </a:lnTo>
                <a:lnTo>
                  <a:pt x="96" y="0"/>
                </a:lnTo>
                <a:lnTo>
                  <a:pt x="102" y="0"/>
                </a:lnTo>
                <a:lnTo>
                  <a:pt x="108" y="0"/>
                </a:lnTo>
                <a:lnTo>
                  <a:pt x="114" y="0"/>
                </a:lnTo>
                <a:lnTo>
                  <a:pt x="120" y="6"/>
                </a:lnTo>
                <a:lnTo>
                  <a:pt x="126" y="6"/>
                </a:lnTo>
                <a:lnTo>
                  <a:pt x="126" y="12"/>
                </a:lnTo>
                <a:lnTo>
                  <a:pt x="126" y="18"/>
                </a:lnTo>
                <a:lnTo>
                  <a:pt x="132" y="18"/>
                </a:lnTo>
                <a:lnTo>
                  <a:pt x="132" y="24"/>
                </a:lnTo>
                <a:lnTo>
                  <a:pt x="138" y="24"/>
                </a:lnTo>
                <a:lnTo>
                  <a:pt x="132" y="24"/>
                </a:lnTo>
                <a:lnTo>
                  <a:pt x="132" y="30"/>
                </a:lnTo>
                <a:lnTo>
                  <a:pt x="138" y="30"/>
                </a:lnTo>
                <a:lnTo>
                  <a:pt x="138" y="36"/>
                </a:lnTo>
                <a:lnTo>
                  <a:pt x="144" y="30"/>
                </a:lnTo>
                <a:lnTo>
                  <a:pt x="144" y="36"/>
                </a:lnTo>
                <a:lnTo>
                  <a:pt x="144" y="42"/>
                </a:lnTo>
                <a:lnTo>
                  <a:pt x="144" y="48"/>
                </a:lnTo>
                <a:lnTo>
                  <a:pt x="138" y="48"/>
                </a:lnTo>
                <a:lnTo>
                  <a:pt x="144" y="48"/>
                </a:lnTo>
                <a:lnTo>
                  <a:pt x="150" y="48"/>
                </a:lnTo>
                <a:lnTo>
                  <a:pt x="150" y="54"/>
                </a:lnTo>
                <a:lnTo>
                  <a:pt x="150" y="60"/>
                </a:lnTo>
                <a:lnTo>
                  <a:pt x="150" y="66"/>
                </a:lnTo>
                <a:lnTo>
                  <a:pt x="150" y="72"/>
                </a:lnTo>
                <a:lnTo>
                  <a:pt x="156" y="72"/>
                </a:lnTo>
                <a:lnTo>
                  <a:pt x="150" y="72"/>
                </a:lnTo>
                <a:lnTo>
                  <a:pt x="156" y="72"/>
                </a:lnTo>
                <a:lnTo>
                  <a:pt x="156" y="78"/>
                </a:lnTo>
                <a:lnTo>
                  <a:pt x="150" y="78"/>
                </a:lnTo>
                <a:lnTo>
                  <a:pt x="144" y="84"/>
                </a:lnTo>
                <a:lnTo>
                  <a:pt x="144" y="90"/>
                </a:lnTo>
                <a:lnTo>
                  <a:pt x="144" y="96"/>
                </a:lnTo>
                <a:lnTo>
                  <a:pt x="144" y="90"/>
                </a:lnTo>
                <a:lnTo>
                  <a:pt x="150" y="90"/>
                </a:lnTo>
                <a:lnTo>
                  <a:pt x="150" y="96"/>
                </a:lnTo>
                <a:lnTo>
                  <a:pt x="150" y="90"/>
                </a:lnTo>
                <a:lnTo>
                  <a:pt x="156" y="90"/>
                </a:lnTo>
                <a:lnTo>
                  <a:pt x="156" y="84"/>
                </a:lnTo>
                <a:lnTo>
                  <a:pt x="162" y="84"/>
                </a:lnTo>
                <a:lnTo>
                  <a:pt x="168" y="84"/>
                </a:lnTo>
                <a:close/>
                <a:moveTo>
                  <a:pt x="18" y="132"/>
                </a:moveTo>
                <a:lnTo>
                  <a:pt x="24" y="132"/>
                </a:lnTo>
                <a:lnTo>
                  <a:pt x="30" y="132"/>
                </a:lnTo>
                <a:lnTo>
                  <a:pt x="36" y="132"/>
                </a:lnTo>
                <a:lnTo>
                  <a:pt x="42" y="132"/>
                </a:lnTo>
                <a:lnTo>
                  <a:pt x="42" y="138"/>
                </a:lnTo>
                <a:lnTo>
                  <a:pt x="42" y="144"/>
                </a:lnTo>
                <a:lnTo>
                  <a:pt x="36" y="144"/>
                </a:lnTo>
                <a:lnTo>
                  <a:pt x="42" y="144"/>
                </a:lnTo>
                <a:lnTo>
                  <a:pt x="36" y="144"/>
                </a:lnTo>
                <a:lnTo>
                  <a:pt x="36" y="138"/>
                </a:lnTo>
                <a:lnTo>
                  <a:pt x="30" y="138"/>
                </a:lnTo>
                <a:lnTo>
                  <a:pt x="24" y="138"/>
                </a:lnTo>
                <a:lnTo>
                  <a:pt x="18" y="138"/>
                </a:lnTo>
                <a:lnTo>
                  <a:pt x="18" y="132"/>
                </a:lnTo>
                <a:close/>
                <a:moveTo>
                  <a:pt x="0" y="60"/>
                </a:moveTo>
                <a:lnTo>
                  <a:pt x="6" y="60"/>
                </a:lnTo>
                <a:lnTo>
                  <a:pt x="0" y="60"/>
                </a:lnTo>
                <a:close/>
                <a:moveTo>
                  <a:pt x="12" y="132"/>
                </a:moveTo>
                <a:lnTo>
                  <a:pt x="18" y="132"/>
                </a:lnTo>
                <a:lnTo>
                  <a:pt x="12" y="132"/>
                </a:lnTo>
                <a:close/>
                <a:moveTo>
                  <a:pt x="0" y="102"/>
                </a:moveTo>
                <a:lnTo>
                  <a:pt x="6" y="102"/>
                </a:lnTo>
                <a:lnTo>
                  <a:pt x="6" y="108"/>
                </a:lnTo>
                <a:lnTo>
                  <a:pt x="0" y="108"/>
                </a:lnTo>
                <a:lnTo>
                  <a:pt x="0" y="102"/>
                </a:lnTo>
                <a:close/>
                <a:moveTo>
                  <a:pt x="12" y="78"/>
                </a:moveTo>
                <a:lnTo>
                  <a:pt x="18" y="78"/>
                </a:lnTo>
                <a:lnTo>
                  <a:pt x="12" y="78"/>
                </a:lnTo>
                <a:close/>
                <a:moveTo>
                  <a:pt x="42" y="138"/>
                </a:moveTo>
                <a:lnTo>
                  <a:pt x="48" y="138"/>
                </a:lnTo>
                <a:lnTo>
                  <a:pt x="42" y="138"/>
                </a:lnTo>
                <a:close/>
                <a:moveTo>
                  <a:pt x="12" y="132"/>
                </a:moveTo>
                <a:lnTo>
                  <a:pt x="18" y="132"/>
                </a:lnTo>
                <a:lnTo>
                  <a:pt x="12" y="132"/>
                </a:lnTo>
                <a:close/>
                <a:moveTo>
                  <a:pt x="12" y="126"/>
                </a:moveTo>
                <a:lnTo>
                  <a:pt x="12" y="132"/>
                </a:lnTo>
                <a:lnTo>
                  <a:pt x="13" y="132"/>
                </a:lnTo>
                <a:lnTo>
                  <a:pt x="12" y="12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29" name="Freeform 19">
            <a:extLst>
              <a:ext uri="{FF2B5EF4-FFF2-40B4-BE49-F238E27FC236}">
                <a16:creationId xmlns:a16="http://schemas.microsoft.com/office/drawing/2014/main" id="{6F6D7A5E-823C-6748-93EF-1526C96E3E5A}"/>
              </a:ext>
            </a:extLst>
          </p:cNvPr>
          <p:cNvSpPr>
            <a:spLocks noEditPoints="1"/>
          </p:cNvSpPr>
          <p:nvPr>
            <p:custDataLst>
              <p:tags r:id="rId18"/>
            </p:custDataLst>
          </p:nvPr>
        </p:nvSpPr>
        <p:spPr bwMode="gray">
          <a:xfrm>
            <a:off x="4093581" y="4309258"/>
            <a:ext cx="14725" cy="15461"/>
          </a:xfrm>
          <a:custGeom>
            <a:avLst/>
            <a:gdLst>
              <a:gd name="T0" fmla="*/ 3413 w 12"/>
              <a:gd name="T1" fmla="*/ 0 h 18"/>
              <a:gd name="T2" fmla="*/ 3413 w 12"/>
              <a:gd name="T3" fmla="*/ 1948 h 18"/>
              <a:gd name="T4" fmla="*/ 3413 w 12"/>
              <a:gd name="T5" fmla="*/ 3896 h 18"/>
              <a:gd name="T6" fmla="*/ 3413 w 12"/>
              <a:gd name="T7" fmla="*/ 6818 h 18"/>
              <a:gd name="T8" fmla="*/ 5689 w 12"/>
              <a:gd name="T9" fmla="*/ 6818 h 18"/>
              <a:gd name="T10" fmla="*/ 3413 w 12"/>
              <a:gd name="T11" fmla="*/ 6818 h 18"/>
              <a:gd name="T12" fmla="*/ 3413 w 12"/>
              <a:gd name="T13" fmla="*/ 3896 h 18"/>
              <a:gd name="T14" fmla="*/ 3413 w 12"/>
              <a:gd name="T15" fmla="*/ 6818 h 18"/>
              <a:gd name="T16" fmla="*/ 5689 w 12"/>
              <a:gd name="T17" fmla="*/ 6818 h 18"/>
              <a:gd name="T18" fmla="*/ 3413 w 12"/>
              <a:gd name="T19" fmla="*/ 6818 h 18"/>
              <a:gd name="T20" fmla="*/ 0 w 12"/>
              <a:gd name="T21" fmla="*/ 6818 h 18"/>
              <a:gd name="T22" fmla="*/ 3413 w 12"/>
              <a:gd name="T23" fmla="*/ 6818 h 18"/>
              <a:gd name="T24" fmla="*/ 0 w 12"/>
              <a:gd name="T25" fmla="*/ 6818 h 18"/>
              <a:gd name="T26" fmla="*/ 3413 w 12"/>
              <a:gd name="T27" fmla="*/ 6818 h 18"/>
              <a:gd name="T28" fmla="*/ 0 w 12"/>
              <a:gd name="T29" fmla="*/ 6818 h 18"/>
              <a:gd name="T30" fmla="*/ 0 w 12"/>
              <a:gd name="T31" fmla="*/ 3896 h 18"/>
              <a:gd name="T32" fmla="*/ 3413 w 12"/>
              <a:gd name="T33" fmla="*/ 3896 h 18"/>
              <a:gd name="T34" fmla="*/ 3413 w 12"/>
              <a:gd name="T35" fmla="*/ 1948 h 18"/>
              <a:gd name="T36" fmla="*/ 0 w 12"/>
              <a:gd name="T37" fmla="*/ 1948 h 18"/>
              <a:gd name="T38" fmla="*/ 3413 w 12"/>
              <a:gd name="T39" fmla="*/ 1948 h 18"/>
              <a:gd name="T40" fmla="*/ 0 w 12"/>
              <a:gd name="T41" fmla="*/ 1948 h 18"/>
              <a:gd name="T42" fmla="*/ 3413 w 12"/>
              <a:gd name="T43" fmla="*/ 1948 h 18"/>
              <a:gd name="T44" fmla="*/ 0 w 12"/>
              <a:gd name="T45" fmla="*/ 1948 h 18"/>
              <a:gd name="T46" fmla="*/ 0 w 12"/>
              <a:gd name="T47" fmla="*/ 0 h 18"/>
              <a:gd name="T48" fmla="*/ 3413 w 12"/>
              <a:gd name="T49" fmla="*/ 0 h 18"/>
              <a:gd name="T50" fmla="*/ 0 w 12"/>
              <a:gd name="T51" fmla="*/ 1948 h 18"/>
              <a:gd name="T52" fmla="*/ 3413 w 12"/>
              <a:gd name="T53" fmla="*/ 1948 h 18"/>
              <a:gd name="T54" fmla="*/ 3413 w 12"/>
              <a:gd name="T55" fmla="*/ 3896 h 18"/>
              <a:gd name="T56" fmla="*/ 0 w 12"/>
              <a:gd name="T57" fmla="*/ 3896 h 18"/>
              <a:gd name="T58" fmla="*/ 0 w 12"/>
              <a:gd name="T59" fmla="*/ 1948 h 18"/>
              <a:gd name="T60" fmla="*/ 0 w 12"/>
              <a:gd name="T61" fmla="*/ 1948 h 18"/>
              <a:gd name="T62" fmla="*/ 3413 w 12"/>
              <a:gd name="T63" fmla="*/ 1948 h 18"/>
              <a:gd name="T64" fmla="*/ 0 w 12"/>
              <a:gd name="T65" fmla="*/ 1948 h 18"/>
              <a:gd name="T66" fmla="*/ 0 w 12"/>
              <a:gd name="T67" fmla="*/ 1948 h 18"/>
              <a:gd name="T68" fmla="*/ 0 w 12"/>
              <a:gd name="T69" fmla="*/ 3896 h 18"/>
              <a:gd name="T70" fmla="*/ 1138 w 12"/>
              <a:gd name="T71" fmla="*/ 3896 h 18"/>
              <a:gd name="T72" fmla="*/ 0 w 12"/>
              <a:gd name="T73" fmla="*/ 1948 h 18"/>
              <a:gd name="T74" fmla="*/ 0 w 12"/>
              <a:gd name="T75" fmla="*/ 0 h 18"/>
              <a:gd name="T76" fmla="*/ 3413 w 12"/>
              <a:gd name="T77" fmla="*/ 0 h 18"/>
              <a:gd name="T78" fmla="*/ 3413 w 12"/>
              <a:gd name="T79" fmla="*/ 1948 h 18"/>
              <a:gd name="T80" fmla="*/ 0 w 12"/>
              <a:gd name="T81" fmla="*/ 1948 h 18"/>
              <a:gd name="T82" fmla="*/ 0 w 12"/>
              <a:gd name="T83" fmla="*/ 0 h 18"/>
              <a:gd name="T84" fmla="*/ 0 w 12"/>
              <a:gd name="T85" fmla="*/ 0 h 18"/>
              <a:gd name="T86" fmla="*/ 3413 w 12"/>
              <a:gd name="T87" fmla="*/ 0 h 18"/>
              <a:gd name="T88" fmla="*/ 0 w 12"/>
              <a:gd name="T89" fmla="*/ 0 h 18"/>
              <a:gd name="T90" fmla="*/ 0 w 12"/>
              <a:gd name="T91" fmla="*/ 1948 h 18"/>
              <a:gd name="T92" fmla="*/ 3413 w 12"/>
              <a:gd name="T93" fmla="*/ 1948 h 18"/>
              <a:gd name="T94" fmla="*/ 0 w 12"/>
              <a:gd name="T95" fmla="*/ 1948 h 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18">
                <a:moveTo>
                  <a:pt x="6" y="0"/>
                </a:moveTo>
                <a:lnTo>
                  <a:pt x="6" y="6"/>
                </a:lnTo>
                <a:lnTo>
                  <a:pt x="6" y="12"/>
                </a:lnTo>
                <a:lnTo>
                  <a:pt x="6" y="18"/>
                </a:lnTo>
                <a:lnTo>
                  <a:pt x="12" y="18"/>
                </a:lnTo>
                <a:lnTo>
                  <a:pt x="6" y="18"/>
                </a:lnTo>
                <a:lnTo>
                  <a:pt x="6" y="12"/>
                </a:lnTo>
                <a:lnTo>
                  <a:pt x="6" y="18"/>
                </a:lnTo>
                <a:lnTo>
                  <a:pt x="12" y="18"/>
                </a:lnTo>
                <a:lnTo>
                  <a:pt x="6" y="18"/>
                </a:lnTo>
                <a:lnTo>
                  <a:pt x="0" y="18"/>
                </a:lnTo>
                <a:lnTo>
                  <a:pt x="6" y="18"/>
                </a:lnTo>
                <a:lnTo>
                  <a:pt x="0" y="18"/>
                </a:lnTo>
                <a:lnTo>
                  <a:pt x="6" y="18"/>
                </a:lnTo>
                <a:lnTo>
                  <a:pt x="0" y="18"/>
                </a:lnTo>
                <a:lnTo>
                  <a:pt x="0" y="12"/>
                </a:lnTo>
                <a:lnTo>
                  <a:pt x="6" y="12"/>
                </a:lnTo>
                <a:lnTo>
                  <a:pt x="6" y="6"/>
                </a:lnTo>
                <a:lnTo>
                  <a:pt x="0" y="6"/>
                </a:lnTo>
                <a:lnTo>
                  <a:pt x="6" y="6"/>
                </a:lnTo>
                <a:lnTo>
                  <a:pt x="0" y="6"/>
                </a:lnTo>
                <a:lnTo>
                  <a:pt x="6" y="6"/>
                </a:lnTo>
                <a:lnTo>
                  <a:pt x="0" y="6"/>
                </a:lnTo>
                <a:lnTo>
                  <a:pt x="0" y="0"/>
                </a:lnTo>
                <a:lnTo>
                  <a:pt x="6" y="0"/>
                </a:lnTo>
                <a:close/>
                <a:moveTo>
                  <a:pt x="0" y="6"/>
                </a:moveTo>
                <a:lnTo>
                  <a:pt x="6" y="6"/>
                </a:lnTo>
                <a:lnTo>
                  <a:pt x="6" y="12"/>
                </a:lnTo>
                <a:lnTo>
                  <a:pt x="0" y="12"/>
                </a:lnTo>
                <a:lnTo>
                  <a:pt x="0" y="6"/>
                </a:lnTo>
                <a:close/>
                <a:moveTo>
                  <a:pt x="0" y="6"/>
                </a:moveTo>
                <a:lnTo>
                  <a:pt x="6" y="6"/>
                </a:lnTo>
                <a:lnTo>
                  <a:pt x="0" y="6"/>
                </a:lnTo>
                <a:close/>
                <a:moveTo>
                  <a:pt x="0" y="6"/>
                </a:moveTo>
                <a:lnTo>
                  <a:pt x="0" y="12"/>
                </a:lnTo>
                <a:lnTo>
                  <a:pt x="1" y="12"/>
                </a:lnTo>
                <a:lnTo>
                  <a:pt x="0" y="6"/>
                </a:lnTo>
                <a:close/>
                <a:moveTo>
                  <a:pt x="0" y="0"/>
                </a:moveTo>
                <a:lnTo>
                  <a:pt x="6" y="0"/>
                </a:lnTo>
                <a:lnTo>
                  <a:pt x="6" y="6"/>
                </a:lnTo>
                <a:lnTo>
                  <a:pt x="0" y="6"/>
                </a:lnTo>
                <a:lnTo>
                  <a:pt x="0" y="0"/>
                </a:lnTo>
                <a:close/>
                <a:moveTo>
                  <a:pt x="0" y="0"/>
                </a:moveTo>
                <a:lnTo>
                  <a:pt x="6" y="0"/>
                </a:lnTo>
                <a:lnTo>
                  <a:pt x="0" y="0"/>
                </a:lnTo>
                <a:close/>
                <a:moveTo>
                  <a:pt x="0" y="6"/>
                </a:moveTo>
                <a:lnTo>
                  <a:pt x="6" y="6"/>
                </a:lnTo>
                <a:lnTo>
                  <a:pt x="0" y="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0" name="Freeform 20">
            <a:extLst>
              <a:ext uri="{FF2B5EF4-FFF2-40B4-BE49-F238E27FC236}">
                <a16:creationId xmlns:a16="http://schemas.microsoft.com/office/drawing/2014/main" id="{4FEBAFDC-2395-5342-993D-AB5DA1E83ACE}"/>
              </a:ext>
            </a:extLst>
          </p:cNvPr>
          <p:cNvSpPr>
            <a:spLocks noEditPoints="1"/>
          </p:cNvSpPr>
          <p:nvPr>
            <p:custDataLst>
              <p:tags r:id="rId19"/>
            </p:custDataLst>
          </p:nvPr>
        </p:nvSpPr>
        <p:spPr bwMode="gray">
          <a:xfrm>
            <a:off x="4134905" y="4360064"/>
            <a:ext cx="194273" cy="130247"/>
          </a:xfrm>
          <a:custGeom>
            <a:avLst/>
            <a:gdLst>
              <a:gd name="T0" fmla="*/ 23312 w 162"/>
              <a:gd name="T1" fmla="*/ 55406 h 162"/>
              <a:gd name="T2" fmla="*/ 21369 w 162"/>
              <a:gd name="T3" fmla="*/ 53427 h 162"/>
              <a:gd name="T4" fmla="*/ 19426 w 162"/>
              <a:gd name="T5" fmla="*/ 55406 h 162"/>
              <a:gd name="T6" fmla="*/ 19426 w 162"/>
              <a:gd name="T7" fmla="*/ 50459 h 162"/>
              <a:gd name="T8" fmla="*/ 21369 w 162"/>
              <a:gd name="T9" fmla="*/ 49470 h 162"/>
              <a:gd name="T10" fmla="*/ 23312 w 162"/>
              <a:gd name="T11" fmla="*/ 46501 h 162"/>
              <a:gd name="T12" fmla="*/ 23312 w 162"/>
              <a:gd name="T13" fmla="*/ 46501 h 162"/>
              <a:gd name="T14" fmla="*/ 23312 w 162"/>
              <a:gd name="T15" fmla="*/ 42543 h 162"/>
              <a:gd name="T16" fmla="*/ 26226 w 162"/>
              <a:gd name="T17" fmla="*/ 39576 h 162"/>
              <a:gd name="T18" fmla="*/ 27196 w 162"/>
              <a:gd name="T19" fmla="*/ 37597 h 162"/>
              <a:gd name="T20" fmla="*/ 27196 w 162"/>
              <a:gd name="T21" fmla="*/ 33640 h 162"/>
              <a:gd name="T22" fmla="*/ 27196 w 162"/>
              <a:gd name="T23" fmla="*/ 28693 h 162"/>
              <a:gd name="T24" fmla="*/ 30110 w 162"/>
              <a:gd name="T25" fmla="*/ 30671 h 162"/>
              <a:gd name="T26" fmla="*/ 30110 w 162"/>
              <a:gd name="T27" fmla="*/ 30671 h 162"/>
              <a:gd name="T28" fmla="*/ 32053 w 162"/>
              <a:gd name="T29" fmla="*/ 33640 h 162"/>
              <a:gd name="T30" fmla="*/ 36909 w 162"/>
              <a:gd name="T31" fmla="*/ 33640 h 162"/>
              <a:gd name="T32" fmla="*/ 40794 w 162"/>
              <a:gd name="T33" fmla="*/ 33640 h 162"/>
              <a:gd name="T34" fmla="*/ 44680 w 162"/>
              <a:gd name="T35" fmla="*/ 33640 h 162"/>
              <a:gd name="T36" fmla="*/ 48565 w 162"/>
              <a:gd name="T37" fmla="*/ 33640 h 162"/>
              <a:gd name="T38" fmla="*/ 53422 w 162"/>
              <a:gd name="T39" fmla="*/ 33640 h 162"/>
              <a:gd name="T40" fmla="*/ 57307 w 162"/>
              <a:gd name="T41" fmla="*/ 33640 h 162"/>
              <a:gd name="T42" fmla="*/ 57307 w 162"/>
              <a:gd name="T43" fmla="*/ 37597 h 162"/>
              <a:gd name="T44" fmla="*/ 57307 w 162"/>
              <a:gd name="T45" fmla="*/ 42543 h 162"/>
              <a:gd name="T46" fmla="*/ 57307 w 162"/>
              <a:gd name="T47" fmla="*/ 46501 h 162"/>
              <a:gd name="T48" fmla="*/ 57307 w 162"/>
              <a:gd name="T49" fmla="*/ 50459 h 162"/>
              <a:gd name="T50" fmla="*/ 57307 w 162"/>
              <a:gd name="T51" fmla="*/ 55406 h 162"/>
              <a:gd name="T52" fmla="*/ 55364 w 162"/>
              <a:gd name="T53" fmla="*/ 57384 h 162"/>
              <a:gd name="T54" fmla="*/ 51479 w 162"/>
              <a:gd name="T55" fmla="*/ 57384 h 162"/>
              <a:gd name="T56" fmla="*/ 46622 w 162"/>
              <a:gd name="T57" fmla="*/ 57384 h 162"/>
              <a:gd name="T58" fmla="*/ 42737 w 162"/>
              <a:gd name="T59" fmla="*/ 57384 h 162"/>
              <a:gd name="T60" fmla="*/ 37880 w 162"/>
              <a:gd name="T61" fmla="*/ 57384 h 162"/>
              <a:gd name="T62" fmla="*/ 33995 w 162"/>
              <a:gd name="T63" fmla="*/ 57384 h 162"/>
              <a:gd name="T64" fmla="*/ 30110 w 162"/>
              <a:gd name="T65" fmla="*/ 57384 h 162"/>
              <a:gd name="T66" fmla="*/ 27196 w 162"/>
              <a:gd name="T67" fmla="*/ 55406 h 162"/>
              <a:gd name="T68" fmla="*/ 3885 w 162"/>
              <a:gd name="T69" fmla="*/ 1978 h 162"/>
              <a:gd name="T70" fmla="*/ 8742 w 162"/>
              <a:gd name="T71" fmla="*/ 0 h 162"/>
              <a:gd name="T72" fmla="*/ 10684 w 162"/>
              <a:gd name="T73" fmla="*/ 1978 h 162"/>
              <a:gd name="T74" fmla="*/ 8742 w 162"/>
              <a:gd name="T75" fmla="*/ 3958 h 162"/>
              <a:gd name="T76" fmla="*/ 6799 w 162"/>
              <a:gd name="T77" fmla="*/ 6925 h 162"/>
              <a:gd name="T78" fmla="*/ 6799 w 162"/>
              <a:gd name="T79" fmla="*/ 10883 h 162"/>
              <a:gd name="T80" fmla="*/ 1943 w 162"/>
              <a:gd name="T81" fmla="*/ 10883 h 162"/>
              <a:gd name="T82" fmla="*/ 0 w 162"/>
              <a:gd name="T83" fmla="*/ 6925 h 162"/>
              <a:gd name="T84" fmla="*/ 3885 w 162"/>
              <a:gd name="T85" fmla="*/ 6925 h 162"/>
              <a:gd name="T86" fmla="*/ 3885 w 162"/>
              <a:gd name="T87" fmla="*/ 1978 h 162"/>
              <a:gd name="T88" fmla="*/ 19426 w 162"/>
              <a:gd name="T89" fmla="*/ 57384 h 162"/>
              <a:gd name="T90" fmla="*/ 17484 w 162"/>
              <a:gd name="T91" fmla="*/ 60353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2" h="162">
                <a:moveTo>
                  <a:pt x="72" y="150"/>
                </a:moveTo>
                <a:lnTo>
                  <a:pt x="66" y="150"/>
                </a:lnTo>
                <a:lnTo>
                  <a:pt x="66" y="144"/>
                </a:lnTo>
                <a:lnTo>
                  <a:pt x="60" y="144"/>
                </a:lnTo>
                <a:lnTo>
                  <a:pt x="60" y="150"/>
                </a:lnTo>
                <a:lnTo>
                  <a:pt x="54" y="150"/>
                </a:lnTo>
                <a:lnTo>
                  <a:pt x="54" y="144"/>
                </a:lnTo>
                <a:lnTo>
                  <a:pt x="54" y="138"/>
                </a:lnTo>
                <a:lnTo>
                  <a:pt x="60" y="138"/>
                </a:lnTo>
                <a:lnTo>
                  <a:pt x="60" y="132"/>
                </a:lnTo>
                <a:lnTo>
                  <a:pt x="60" y="126"/>
                </a:lnTo>
                <a:lnTo>
                  <a:pt x="66" y="126"/>
                </a:lnTo>
                <a:lnTo>
                  <a:pt x="66" y="132"/>
                </a:lnTo>
                <a:lnTo>
                  <a:pt x="66" y="126"/>
                </a:lnTo>
                <a:lnTo>
                  <a:pt x="66" y="120"/>
                </a:lnTo>
                <a:lnTo>
                  <a:pt x="66" y="114"/>
                </a:lnTo>
                <a:lnTo>
                  <a:pt x="72" y="114"/>
                </a:lnTo>
                <a:lnTo>
                  <a:pt x="72" y="108"/>
                </a:lnTo>
                <a:lnTo>
                  <a:pt x="78" y="108"/>
                </a:lnTo>
                <a:lnTo>
                  <a:pt x="78" y="102"/>
                </a:lnTo>
                <a:lnTo>
                  <a:pt x="78" y="96"/>
                </a:lnTo>
                <a:lnTo>
                  <a:pt x="78" y="90"/>
                </a:lnTo>
                <a:lnTo>
                  <a:pt x="78" y="84"/>
                </a:lnTo>
                <a:lnTo>
                  <a:pt x="78" y="78"/>
                </a:lnTo>
                <a:lnTo>
                  <a:pt x="78" y="84"/>
                </a:lnTo>
                <a:lnTo>
                  <a:pt x="84" y="84"/>
                </a:lnTo>
                <a:lnTo>
                  <a:pt x="84" y="90"/>
                </a:lnTo>
                <a:lnTo>
                  <a:pt x="84" y="84"/>
                </a:lnTo>
                <a:lnTo>
                  <a:pt x="84" y="90"/>
                </a:lnTo>
                <a:lnTo>
                  <a:pt x="90" y="90"/>
                </a:lnTo>
                <a:lnTo>
                  <a:pt x="96" y="90"/>
                </a:lnTo>
                <a:lnTo>
                  <a:pt x="102" y="90"/>
                </a:lnTo>
                <a:lnTo>
                  <a:pt x="108" y="90"/>
                </a:lnTo>
                <a:lnTo>
                  <a:pt x="114" y="90"/>
                </a:lnTo>
                <a:lnTo>
                  <a:pt x="120" y="90"/>
                </a:lnTo>
                <a:lnTo>
                  <a:pt x="126" y="90"/>
                </a:lnTo>
                <a:lnTo>
                  <a:pt x="132" y="90"/>
                </a:lnTo>
                <a:lnTo>
                  <a:pt x="138" y="90"/>
                </a:lnTo>
                <a:lnTo>
                  <a:pt x="144" y="90"/>
                </a:lnTo>
                <a:lnTo>
                  <a:pt x="150" y="90"/>
                </a:lnTo>
                <a:lnTo>
                  <a:pt x="156" y="90"/>
                </a:lnTo>
                <a:lnTo>
                  <a:pt x="162" y="90"/>
                </a:lnTo>
                <a:lnTo>
                  <a:pt x="162" y="96"/>
                </a:lnTo>
                <a:lnTo>
                  <a:pt x="162" y="102"/>
                </a:lnTo>
                <a:lnTo>
                  <a:pt x="162" y="108"/>
                </a:lnTo>
                <a:lnTo>
                  <a:pt x="162" y="114"/>
                </a:lnTo>
                <a:lnTo>
                  <a:pt x="162" y="120"/>
                </a:lnTo>
                <a:lnTo>
                  <a:pt x="162" y="126"/>
                </a:lnTo>
                <a:lnTo>
                  <a:pt x="162" y="132"/>
                </a:lnTo>
                <a:lnTo>
                  <a:pt x="162" y="138"/>
                </a:lnTo>
                <a:lnTo>
                  <a:pt x="162" y="144"/>
                </a:lnTo>
                <a:lnTo>
                  <a:pt x="162" y="150"/>
                </a:lnTo>
                <a:lnTo>
                  <a:pt x="162" y="156"/>
                </a:lnTo>
                <a:lnTo>
                  <a:pt x="156" y="156"/>
                </a:lnTo>
                <a:lnTo>
                  <a:pt x="150" y="156"/>
                </a:lnTo>
                <a:lnTo>
                  <a:pt x="144" y="156"/>
                </a:lnTo>
                <a:lnTo>
                  <a:pt x="138" y="156"/>
                </a:lnTo>
                <a:lnTo>
                  <a:pt x="132" y="156"/>
                </a:lnTo>
                <a:lnTo>
                  <a:pt x="126" y="156"/>
                </a:lnTo>
                <a:lnTo>
                  <a:pt x="120" y="156"/>
                </a:lnTo>
                <a:lnTo>
                  <a:pt x="114" y="156"/>
                </a:lnTo>
                <a:lnTo>
                  <a:pt x="108" y="156"/>
                </a:lnTo>
                <a:lnTo>
                  <a:pt x="102" y="156"/>
                </a:lnTo>
                <a:lnTo>
                  <a:pt x="96" y="156"/>
                </a:lnTo>
                <a:lnTo>
                  <a:pt x="90" y="156"/>
                </a:lnTo>
                <a:lnTo>
                  <a:pt x="84" y="156"/>
                </a:lnTo>
                <a:lnTo>
                  <a:pt x="78" y="156"/>
                </a:lnTo>
                <a:lnTo>
                  <a:pt x="78" y="150"/>
                </a:lnTo>
                <a:lnTo>
                  <a:pt x="72" y="150"/>
                </a:lnTo>
                <a:close/>
                <a:moveTo>
                  <a:pt x="12" y="6"/>
                </a:moveTo>
                <a:lnTo>
                  <a:pt x="18" y="0"/>
                </a:lnTo>
                <a:lnTo>
                  <a:pt x="24" y="0"/>
                </a:lnTo>
                <a:lnTo>
                  <a:pt x="30" y="0"/>
                </a:lnTo>
                <a:lnTo>
                  <a:pt x="30" y="6"/>
                </a:lnTo>
                <a:lnTo>
                  <a:pt x="30" y="12"/>
                </a:lnTo>
                <a:lnTo>
                  <a:pt x="24" y="12"/>
                </a:lnTo>
                <a:lnTo>
                  <a:pt x="24" y="18"/>
                </a:lnTo>
                <a:lnTo>
                  <a:pt x="18" y="18"/>
                </a:lnTo>
                <a:lnTo>
                  <a:pt x="18" y="24"/>
                </a:lnTo>
                <a:lnTo>
                  <a:pt x="18" y="30"/>
                </a:lnTo>
                <a:lnTo>
                  <a:pt x="12" y="30"/>
                </a:lnTo>
                <a:lnTo>
                  <a:pt x="6" y="30"/>
                </a:lnTo>
                <a:lnTo>
                  <a:pt x="0" y="24"/>
                </a:lnTo>
                <a:lnTo>
                  <a:pt x="0" y="18"/>
                </a:lnTo>
                <a:lnTo>
                  <a:pt x="6" y="18"/>
                </a:lnTo>
                <a:lnTo>
                  <a:pt x="12" y="18"/>
                </a:lnTo>
                <a:lnTo>
                  <a:pt x="12" y="12"/>
                </a:lnTo>
                <a:lnTo>
                  <a:pt x="12" y="6"/>
                </a:lnTo>
                <a:close/>
                <a:moveTo>
                  <a:pt x="48" y="156"/>
                </a:moveTo>
                <a:lnTo>
                  <a:pt x="54" y="156"/>
                </a:lnTo>
                <a:lnTo>
                  <a:pt x="54" y="162"/>
                </a:lnTo>
                <a:lnTo>
                  <a:pt x="48" y="162"/>
                </a:lnTo>
                <a:lnTo>
                  <a:pt x="48" y="156"/>
                </a:lnTo>
                <a:close/>
              </a:path>
            </a:pathLst>
          </a:custGeom>
          <a:solidFill>
            <a:srgbClr val="B2D6F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2" name="Freeform 22">
            <a:extLst>
              <a:ext uri="{FF2B5EF4-FFF2-40B4-BE49-F238E27FC236}">
                <a16:creationId xmlns:a16="http://schemas.microsoft.com/office/drawing/2014/main" id="{310C4ADD-E5E1-4A49-9FE3-FE36CDBAB9AF}"/>
              </a:ext>
            </a:extLst>
          </p:cNvPr>
          <p:cNvSpPr>
            <a:spLocks noEditPoints="1"/>
          </p:cNvSpPr>
          <p:nvPr>
            <p:custDataLst>
              <p:tags r:id="rId20"/>
            </p:custDataLst>
          </p:nvPr>
        </p:nvSpPr>
        <p:spPr bwMode="gray">
          <a:xfrm>
            <a:off x="4100938" y="3909475"/>
            <a:ext cx="482978" cy="554395"/>
          </a:xfrm>
          <a:custGeom>
            <a:avLst/>
            <a:gdLst>
              <a:gd name="T0" fmla="*/ 146063 w 420"/>
              <a:gd name="T1" fmla="*/ 226200 h 642"/>
              <a:gd name="T2" fmla="*/ 135423 w 420"/>
              <a:gd name="T3" fmla="*/ 222316 h 642"/>
              <a:gd name="T4" fmla="*/ 127684 w 420"/>
              <a:gd name="T5" fmla="*/ 220375 h 642"/>
              <a:gd name="T6" fmla="*/ 120913 w 420"/>
              <a:gd name="T7" fmla="*/ 220375 h 642"/>
              <a:gd name="T8" fmla="*/ 105436 w 420"/>
              <a:gd name="T9" fmla="*/ 218433 h 642"/>
              <a:gd name="T10" fmla="*/ 93828 w 420"/>
              <a:gd name="T11" fmla="*/ 215521 h 642"/>
              <a:gd name="T12" fmla="*/ 78351 w 420"/>
              <a:gd name="T13" fmla="*/ 215521 h 642"/>
              <a:gd name="T14" fmla="*/ 61908 w 420"/>
              <a:gd name="T15" fmla="*/ 214550 h 642"/>
              <a:gd name="T16" fmla="*/ 53202 w 420"/>
              <a:gd name="T17" fmla="*/ 215521 h 642"/>
              <a:gd name="T18" fmla="*/ 35790 w 420"/>
              <a:gd name="T19" fmla="*/ 218433 h 642"/>
              <a:gd name="T20" fmla="*/ 23215 w 420"/>
              <a:gd name="T21" fmla="*/ 215521 h 642"/>
              <a:gd name="T22" fmla="*/ 27084 w 420"/>
              <a:gd name="T23" fmla="*/ 200959 h 642"/>
              <a:gd name="T24" fmla="*/ 19346 w 420"/>
              <a:gd name="T25" fmla="*/ 190280 h 642"/>
              <a:gd name="T26" fmla="*/ 19346 w 420"/>
              <a:gd name="T27" fmla="*/ 184455 h 642"/>
              <a:gd name="T28" fmla="*/ 17411 w 420"/>
              <a:gd name="T29" fmla="*/ 181543 h 642"/>
              <a:gd name="T30" fmla="*/ 8706 w 420"/>
              <a:gd name="T31" fmla="*/ 179601 h 642"/>
              <a:gd name="T32" fmla="*/ 3869 w 420"/>
              <a:gd name="T33" fmla="*/ 172805 h 642"/>
              <a:gd name="T34" fmla="*/ 0 w 420"/>
              <a:gd name="T35" fmla="*/ 162126 h 642"/>
              <a:gd name="T36" fmla="*/ 3869 w 420"/>
              <a:gd name="T37" fmla="*/ 151447 h 642"/>
              <a:gd name="T38" fmla="*/ 10640 w 420"/>
              <a:gd name="T39" fmla="*/ 138826 h 642"/>
              <a:gd name="T40" fmla="*/ 21281 w 420"/>
              <a:gd name="T41" fmla="*/ 131060 h 642"/>
              <a:gd name="T42" fmla="*/ 29986 w 420"/>
              <a:gd name="T43" fmla="*/ 120381 h 642"/>
              <a:gd name="T44" fmla="*/ 37725 w 420"/>
              <a:gd name="T45" fmla="*/ 124265 h 642"/>
              <a:gd name="T46" fmla="*/ 42561 w 420"/>
              <a:gd name="T47" fmla="*/ 121352 h 642"/>
              <a:gd name="T48" fmla="*/ 46431 w 420"/>
              <a:gd name="T49" fmla="*/ 126206 h 642"/>
              <a:gd name="T50" fmla="*/ 57071 w 420"/>
              <a:gd name="T51" fmla="*/ 128148 h 642"/>
              <a:gd name="T52" fmla="*/ 61908 w 420"/>
              <a:gd name="T53" fmla="*/ 121352 h 642"/>
              <a:gd name="T54" fmla="*/ 67712 w 420"/>
              <a:gd name="T55" fmla="*/ 108731 h 642"/>
              <a:gd name="T56" fmla="*/ 71581 w 420"/>
              <a:gd name="T57" fmla="*/ 94169 h 642"/>
              <a:gd name="T58" fmla="*/ 80287 w 420"/>
              <a:gd name="T59" fmla="*/ 87373 h 642"/>
              <a:gd name="T60" fmla="*/ 83188 w 420"/>
              <a:gd name="T61" fmla="*/ 74753 h 642"/>
              <a:gd name="T62" fmla="*/ 90926 w 420"/>
              <a:gd name="T63" fmla="*/ 64074 h 642"/>
              <a:gd name="T64" fmla="*/ 97698 w 420"/>
              <a:gd name="T65" fmla="*/ 51453 h 642"/>
              <a:gd name="T66" fmla="*/ 104469 w 420"/>
              <a:gd name="T67" fmla="*/ 37862 h 642"/>
              <a:gd name="T68" fmla="*/ 117044 w 420"/>
              <a:gd name="T69" fmla="*/ 32037 h 642"/>
              <a:gd name="T70" fmla="*/ 118978 w 420"/>
              <a:gd name="T71" fmla="*/ 19416 h 642"/>
              <a:gd name="T72" fmla="*/ 110273 w 420"/>
              <a:gd name="T73" fmla="*/ 12620 h 642"/>
              <a:gd name="T74" fmla="*/ 115109 w 420"/>
              <a:gd name="T75" fmla="*/ 0 h 642"/>
              <a:gd name="T76" fmla="*/ 120913 w 420"/>
              <a:gd name="T77" fmla="*/ 8737 h 642"/>
              <a:gd name="T78" fmla="*/ 122848 w 420"/>
              <a:gd name="T79" fmla="*/ 17475 h 642"/>
              <a:gd name="T80" fmla="*/ 127684 w 420"/>
              <a:gd name="T81" fmla="*/ 30095 h 642"/>
              <a:gd name="T82" fmla="*/ 124782 w 420"/>
              <a:gd name="T83" fmla="*/ 37862 h 642"/>
              <a:gd name="T84" fmla="*/ 131554 w 420"/>
              <a:gd name="T85" fmla="*/ 51453 h 642"/>
              <a:gd name="T86" fmla="*/ 138325 w 420"/>
              <a:gd name="T87" fmla="*/ 62132 h 642"/>
              <a:gd name="T88" fmla="*/ 118978 w 420"/>
              <a:gd name="T89" fmla="*/ 62132 h 642"/>
              <a:gd name="T90" fmla="*/ 105436 w 420"/>
              <a:gd name="T91" fmla="*/ 67957 h 642"/>
              <a:gd name="T92" fmla="*/ 117044 w 420"/>
              <a:gd name="T93" fmla="*/ 79607 h 642"/>
              <a:gd name="T94" fmla="*/ 124782 w 420"/>
              <a:gd name="T95" fmla="*/ 85431 h 642"/>
              <a:gd name="T96" fmla="*/ 133488 w 420"/>
              <a:gd name="T97" fmla="*/ 98053 h 642"/>
              <a:gd name="T98" fmla="*/ 133488 w 420"/>
              <a:gd name="T99" fmla="*/ 113586 h 642"/>
              <a:gd name="T100" fmla="*/ 124782 w 420"/>
              <a:gd name="T101" fmla="*/ 126206 h 642"/>
              <a:gd name="T102" fmla="*/ 118978 w 420"/>
              <a:gd name="T103" fmla="*/ 136885 h 642"/>
              <a:gd name="T104" fmla="*/ 118978 w 420"/>
              <a:gd name="T105" fmla="*/ 147564 h 642"/>
              <a:gd name="T106" fmla="*/ 118978 w 420"/>
              <a:gd name="T107" fmla="*/ 158243 h 642"/>
              <a:gd name="T108" fmla="*/ 122848 w 420"/>
              <a:gd name="T109" fmla="*/ 170864 h 642"/>
              <a:gd name="T110" fmla="*/ 127684 w 420"/>
              <a:gd name="T111" fmla="*/ 184455 h 642"/>
              <a:gd name="T112" fmla="*/ 138325 w 420"/>
              <a:gd name="T113" fmla="*/ 196105 h 642"/>
              <a:gd name="T114" fmla="*/ 146063 w 420"/>
              <a:gd name="T115" fmla="*/ 207754 h 6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20" h="642">
                <a:moveTo>
                  <a:pt x="420" y="606"/>
                </a:moveTo>
                <a:lnTo>
                  <a:pt x="420" y="612"/>
                </a:lnTo>
                <a:lnTo>
                  <a:pt x="414" y="612"/>
                </a:lnTo>
                <a:lnTo>
                  <a:pt x="414" y="618"/>
                </a:lnTo>
                <a:lnTo>
                  <a:pt x="414" y="624"/>
                </a:lnTo>
                <a:lnTo>
                  <a:pt x="420" y="624"/>
                </a:lnTo>
                <a:lnTo>
                  <a:pt x="420" y="630"/>
                </a:lnTo>
                <a:lnTo>
                  <a:pt x="420" y="636"/>
                </a:lnTo>
                <a:lnTo>
                  <a:pt x="414" y="636"/>
                </a:lnTo>
                <a:lnTo>
                  <a:pt x="414" y="642"/>
                </a:lnTo>
                <a:lnTo>
                  <a:pt x="414" y="636"/>
                </a:lnTo>
                <a:lnTo>
                  <a:pt x="408" y="636"/>
                </a:lnTo>
                <a:lnTo>
                  <a:pt x="408" y="630"/>
                </a:lnTo>
                <a:lnTo>
                  <a:pt x="402" y="630"/>
                </a:lnTo>
                <a:lnTo>
                  <a:pt x="402" y="624"/>
                </a:lnTo>
                <a:lnTo>
                  <a:pt x="396" y="624"/>
                </a:lnTo>
                <a:lnTo>
                  <a:pt x="390" y="624"/>
                </a:lnTo>
                <a:lnTo>
                  <a:pt x="384" y="624"/>
                </a:lnTo>
                <a:lnTo>
                  <a:pt x="378" y="624"/>
                </a:lnTo>
                <a:lnTo>
                  <a:pt x="372" y="624"/>
                </a:lnTo>
                <a:lnTo>
                  <a:pt x="372" y="618"/>
                </a:lnTo>
                <a:lnTo>
                  <a:pt x="366" y="618"/>
                </a:lnTo>
                <a:lnTo>
                  <a:pt x="372" y="618"/>
                </a:lnTo>
                <a:lnTo>
                  <a:pt x="366" y="618"/>
                </a:lnTo>
                <a:lnTo>
                  <a:pt x="360" y="618"/>
                </a:lnTo>
                <a:lnTo>
                  <a:pt x="360" y="624"/>
                </a:lnTo>
                <a:lnTo>
                  <a:pt x="360" y="618"/>
                </a:lnTo>
                <a:lnTo>
                  <a:pt x="360" y="624"/>
                </a:lnTo>
                <a:lnTo>
                  <a:pt x="360" y="618"/>
                </a:lnTo>
                <a:lnTo>
                  <a:pt x="354" y="618"/>
                </a:lnTo>
                <a:lnTo>
                  <a:pt x="348" y="618"/>
                </a:lnTo>
                <a:lnTo>
                  <a:pt x="348" y="612"/>
                </a:lnTo>
                <a:lnTo>
                  <a:pt x="348" y="618"/>
                </a:lnTo>
                <a:lnTo>
                  <a:pt x="342" y="618"/>
                </a:lnTo>
                <a:lnTo>
                  <a:pt x="342" y="612"/>
                </a:lnTo>
                <a:lnTo>
                  <a:pt x="342" y="618"/>
                </a:lnTo>
                <a:lnTo>
                  <a:pt x="342" y="612"/>
                </a:lnTo>
                <a:lnTo>
                  <a:pt x="336" y="612"/>
                </a:lnTo>
                <a:lnTo>
                  <a:pt x="330" y="606"/>
                </a:lnTo>
                <a:lnTo>
                  <a:pt x="330" y="612"/>
                </a:lnTo>
                <a:lnTo>
                  <a:pt x="324" y="612"/>
                </a:lnTo>
                <a:lnTo>
                  <a:pt x="318" y="612"/>
                </a:lnTo>
                <a:lnTo>
                  <a:pt x="312" y="612"/>
                </a:lnTo>
                <a:lnTo>
                  <a:pt x="306" y="612"/>
                </a:lnTo>
                <a:lnTo>
                  <a:pt x="300" y="612"/>
                </a:lnTo>
                <a:lnTo>
                  <a:pt x="294" y="612"/>
                </a:lnTo>
                <a:lnTo>
                  <a:pt x="288" y="612"/>
                </a:lnTo>
                <a:lnTo>
                  <a:pt x="282" y="612"/>
                </a:lnTo>
                <a:lnTo>
                  <a:pt x="276" y="612"/>
                </a:lnTo>
                <a:lnTo>
                  <a:pt x="270" y="612"/>
                </a:lnTo>
                <a:lnTo>
                  <a:pt x="264" y="612"/>
                </a:lnTo>
                <a:lnTo>
                  <a:pt x="258" y="612"/>
                </a:lnTo>
                <a:lnTo>
                  <a:pt x="258" y="606"/>
                </a:lnTo>
                <a:lnTo>
                  <a:pt x="264" y="606"/>
                </a:lnTo>
                <a:lnTo>
                  <a:pt x="258" y="606"/>
                </a:lnTo>
                <a:lnTo>
                  <a:pt x="252" y="606"/>
                </a:lnTo>
                <a:lnTo>
                  <a:pt x="258" y="606"/>
                </a:lnTo>
                <a:lnTo>
                  <a:pt x="252" y="606"/>
                </a:lnTo>
                <a:lnTo>
                  <a:pt x="246" y="606"/>
                </a:lnTo>
                <a:lnTo>
                  <a:pt x="240" y="606"/>
                </a:lnTo>
                <a:lnTo>
                  <a:pt x="234" y="606"/>
                </a:lnTo>
                <a:lnTo>
                  <a:pt x="228" y="606"/>
                </a:lnTo>
                <a:lnTo>
                  <a:pt x="222" y="606"/>
                </a:lnTo>
                <a:lnTo>
                  <a:pt x="216" y="606"/>
                </a:lnTo>
                <a:lnTo>
                  <a:pt x="210" y="606"/>
                </a:lnTo>
                <a:lnTo>
                  <a:pt x="204" y="606"/>
                </a:lnTo>
                <a:lnTo>
                  <a:pt x="198" y="606"/>
                </a:lnTo>
                <a:lnTo>
                  <a:pt x="192" y="606"/>
                </a:lnTo>
                <a:lnTo>
                  <a:pt x="186" y="606"/>
                </a:lnTo>
                <a:lnTo>
                  <a:pt x="180" y="606"/>
                </a:lnTo>
                <a:lnTo>
                  <a:pt x="174" y="606"/>
                </a:lnTo>
                <a:lnTo>
                  <a:pt x="174" y="600"/>
                </a:lnTo>
                <a:lnTo>
                  <a:pt x="168" y="600"/>
                </a:lnTo>
                <a:lnTo>
                  <a:pt x="168" y="606"/>
                </a:lnTo>
                <a:lnTo>
                  <a:pt x="168" y="600"/>
                </a:lnTo>
                <a:lnTo>
                  <a:pt x="168" y="606"/>
                </a:lnTo>
                <a:lnTo>
                  <a:pt x="168" y="600"/>
                </a:lnTo>
                <a:lnTo>
                  <a:pt x="162" y="600"/>
                </a:lnTo>
                <a:lnTo>
                  <a:pt x="162" y="606"/>
                </a:lnTo>
                <a:lnTo>
                  <a:pt x="156" y="606"/>
                </a:lnTo>
                <a:lnTo>
                  <a:pt x="150" y="606"/>
                </a:lnTo>
                <a:lnTo>
                  <a:pt x="150" y="612"/>
                </a:lnTo>
                <a:lnTo>
                  <a:pt x="144" y="612"/>
                </a:lnTo>
                <a:lnTo>
                  <a:pt x="138" y="612"/>
                </a:lnTo>
                <a:lnTo>
                  <a:pt x="132" y="612"/>
                </a:lnTo>
                <a:lnTo>
                  <a:pt x="126" y="612"/>
                </a:lnTo>
                <a:lnTo>
                  <a:pt x="120" y="612"/>
                </a:lnTo>
                <a:lnTo>
                  <a:pt x="114" y="612"/>
                </a:lnTo>
                <a:lnTo>
                  <a:pt x="108" y="612"/>
                </a:lnTo>
                <a:lnTo>
                  <a:pt x="102" y="612"/>
                </a:lnTo>
                <a:lnTo>
                  <a:pt x="96" y="612"/>
                </a:lnTo>
                <a:lnTo>
                  <a:pt x="90" y="612"/>
                </a:lnTo>
                <a:lnTo>
                  <a:pt x="84" y="612"/>
                </a:lnTo>
                <a:lnTo>
                  <a:pt x="78" y="612"/>
                </a:lnTo>
                <a:lnTo>
                  <a:pt x="72" y="612"/>
                </a:lnTo>
                <a:lnTo>
                  <a:pt x="72" y="606"/>
                </a:lnTo>
                <a:lnTo>
                  <a:pt x="72" y="612"/>
                </a:lnTo>
                <a:lnTo>
                  <a:pt x="72" y="606"/>
                </a:lnTo>
                <a:lnTo>
                  <a:pt x="66" y="606"/>
                </a:lnTo>
                <a:lnTo>
                  <a:pt x="66" y="600"/>
                </a:lnTo>
                <a:lnTo>
                  <a:pt x="66" y="594"/>
                </a:lnTo>
                <a:lnTo>
                  <a:pt x="66" y="588"/>
                </a:lnTo>
                <a:lnTo>
                  <a:pt x="66" y="582"/>
                </a:lnTo>
                <a:lnTo>
                  <a:pt x="72" y="582"/>
                </a:lnTo>
                <a:lnTo>
                  <a:pt x="72" y="576"/>
                </a:lnTo>
                <a:lnTo>
                  <a:pt x="72" y="570"/>
                </a:lnTo>
                <a:lnTo>
                  <a:pt x="72" y="564"/>
                </a:lnTo>
                <a:lnTo>
                  <a:pt x="78" y="564"/>
                </a:lnTo>
                <a:lnTo>
                  <a:pt x="78" y="558"/>
                </a:lnTo>
                <a:lnTo>
                  <a:pt x="72" y="558"/>
                </a:lnTo>
                <a:lnTo>
                  <a:pt x="72" y="552"/>
                </a:lnTo>
                <a:lnTo>
                  <a:pt x="72" y="546"/>
                </a:lnTo>
                <a:lnTo>
                  <a:pt x="66" y="546"/>
                </a:lnTo>
                <a:lnTo>
                  <a:pt x="66" y="540"/>
                </a:lnTo>
                <a:lnTo>
                  <a:pt x="60" y="540"/>
                </a:lnTo>
                <a:lnTo>
                  <a:pt x="60" y="534"/>
                </a:lnTo>
                <a:lnTo>
                  <a:pt x="54" y="534"/>
                </a:lnTo>
                <a:lnTo>
                  <a:pt x="60" y="534"/>
                </a:lnTo>
                <a:lnTo>
                  <a:pt x="54" y="534"/>
                </a:lnTo>
                <a:lnTo>
                  <a:pt x="54" y="528"/>
                </a:lnTo>
                <a:lnTo>
                  <a:pt x="60" y="528"/>
                </a:lnTo>
                <a:lnTo>
                  <a:pt x="54" y="528"/>
                </a:lnTo>
                <a:lnTo>
                  <a:pt x="54" y="522"/>
                </a:lnTo>
                <a:lnTo>
                  <a:pt x="54" y="516"/>
                </a:lnTo>
                <a:lnTo>
                  <a:pt x="54" y="522"/>
                </a:lnTo>
                <a:lnTo>
                  <a:pt x="54" y="516"/>
                </a:lnTo>
                <a:lnTo>
                  <a:pt x="60" y="516"/>
                </a:lnTo>
                <a:lnTo>
                  <a:pt x="60" y="510"/>
                </a:lnTo>
                <a:lnTo>
                  <a:pt x="54" y="510"/>
                </a:lnTo>
                <a:lnTo>
                  <a:pt x="60" y="510"/>
                </a:lnTo>
                <a:lnTo>
                  <a:pt x="60" y="504"/>
                </a:lnTo>
                <a:lnTo>
                  <a:pt x="54" y="510"/>
                </a:lnTo>
                <a:lnTo>
                  <a:pt x="54" y="504"/>
                </a:lnTo>
                <a:lnTo>
                  <a:pt x="54" y="510"/>
                </a:lnTo>
                <a:lnTo>
                  <a:pt x="48" y="510"/>
                </a:lnTo>
                <a:lnTo>
                  <a:pt x="54" y="510"/>
                </a:lnTo>
                <a:lnTo>
                  <a:pt x="48" y="510"/>
                </a:lnTo>
                <a:lnTo>
                  <a:pt x="48" y="516"/>
                </a:lnTo>
                <a:lnTo>
                  <a:pt x="42" y="516"/>
                </a:lnTo>
                <a:lnTo>
                  <a:pt x="36" y="510"/>
                </a:lnTo>
                <a:lnTo>
                  <a:pt x="30" y="510"/>
                </a:lnTo>
                <a:lnTo>
                  <a:pt x="24" y="504"/>
                </a:lnTo>
                <a:lnTo>
                  <a:pt x="18" y="504"/>
                </a:lnTo>
                <a:lnTo>
                  <a:pt x="24" y="504"/>
                </a:lnTo>
                <a:lnTo>
                  <a:pt x="18" y="504"/>
                </a:lnTo>
                <a:lnTo>
                  <a:pt x="18" y="498"/>
                </a:lnTo>
                <a:lnTo>
                  <a:pt x="24" y="498"/>
                </a:lnTo>
                <a:lnTo>
                  <a:pt x="18" y="498"/>
                </a:lnTo>
                <a:lnTo>
                  <a:pt x="18" y="492"/>
                </a:lnTo>
                <a:lnTo>
                  <a:pt x="18" y="486"/>
                </a:lnTo>
                <a:lnTo>
                  <a:pt x="12" y="486"/>
                </a:lnTo>
                <a:lnTo>
                  <a:pt x="18" y="486"/>
                </a:lnTo>
                <a:lnTo>
                  <a:pt x="12" y="486"/>
                </a:lnTo>
                <a:lnTo>
                  <a:pt x="18" y="486"/>
                </a:lnTo>
                <a:lnTo>
                  <a:pt x="18" y="480"/>
                </a:lnTo>
                <a:lnTo>
                  <a:pt x="12" y="480"/>
                </a:lnTo>
                <a:lnTo>
                  <a:pt x="6" y="480"/>
                </a:lnTo>
                <a:lnTo>
                  <a:pt x="6" y="474"/>
                </a:lnTo>
                <a:lnTo>
                  <a:pt x="0" y="474"/>
                </a:lnTo>
                <a:lnTo>
                  <a:pt x="0" y="468"/>
                </a:lnTo>
                <a:lnTo>
                  <a:pt x="0" y="462"/>
                </a:lnTo>
                <a:lnTo>
                  <a:pt x="0" y="456"/>
                </a:lnTo>
                <a:lnTo>
                  <a:pt x="6" y="456"/>
                </a:lnTo>
                <a:lnTo>
                  <a:pt x="0" y="456"/>
                </a:lnTo>
                <a:lnTo>
                  <a:pt x="6" y="456"/>
                </a:lnTo>
                <a:lnTo>
                  <a:pt x="6" y="450"/>
                </a:lnTo>
                <a:lnTo>
                  <a:pt x="6" y="444"/>
                </a:lnTo>
                <a:lnTo>
                  <a:pt x="12" y="444"/>
                </a:lnTo>
                <a:lnTo>
                  <a:pt x="12" y="438"/>
                </a:lnTo>
                <a:lnTo>
                  <a:pt x="12" y="432"/>
                </a:lnTo>
                <a:lnTo>
                  <a:pt x="12" y="426"/>
                </a:lnTo>
                <a:lnTo>
                  <a:pt x="18" y="420"/>
                </a:lnTo>
                <a:lnTo>
                  <a:pt x="12" y="420"/>
                </a:lnTo>
                <a:lnTo>
                  <a:pt x="12" y="414"/>
                </a:lnTo>
                <a:lnTo>
                  <a:pt x="12" y="408"/>
                </a:lnTo>
                <a:lnTo>
                  <a:pt x="18" y="402"/>
                </a:lnTo>
                <a:lnTo>
                  <a:pt x="24" y="402"/>
                </a:lnTo>
                <a:lnTo>
                  <a:pt x="24" y="396"/>
                </a:lnTo>
                <a:lnTo>
                  <a:pt x="30" y="396"/>
                </a:lnTo>
                <a:lnTo>
                  <a:pt x="30" y="390"/>
                </a:lnTo>
                <a:lnTo>
                  <a:pt x="36" y="390"/>
                </a:lnTo>
                <a:lnTo>
                  <a:pt x="36" y="384"/>
                </a:lnTo>
                <a:lnTo>
                  <a:pt x="42" y="384"/>
                </a:lnTo>
                <a:lnTo>
                  <a:pt x="42" y="378"/>
                </a:lnTo>
                <a:lnTo>
                  <a:pt x="48" y="378"/>
                </a:lnTo>
                <a:lnTo>
                  <a:pt x="48" y="372"/>
                </a:lnTo>
                <a:lnTo>
                  <a:pt x="54" y="372"/>
                </a:lnTo>
                <a:lnTo>
                  <a:pt x="54" y="366"/>
                </a:lnTo>
                <a:lnTo>
                  <a:pt x="60" y="366"/>
                </a:lnTo>
                <a:lnTo>
                  <a:pt x="60" y="360"/>
                </a:lnTo>
                <a:lnTo>
                  <a:pt x="66" y="360"/>
                </a:lnTo>
                <a:lnTo>
                  <a:pt x="66" y="354"/>
                </a:lnTo>
                <a:lnTo>
                  <a:pt x="72" y="354"/>
                </a:lnTo>
                <a:lnTo>
                  <a:pt x="72" y="348"/>
                </a:lnTo>
                <a:lnTo>
                  <a:pt x="78" y="348"/>
                </a:lnTo>
                <a:lnTo>
                  <a:pt x="78" y="342"/>
                </a:lnTo>
                <a:lnTo>
                  <a:pt x="84" y="342"/>
                </a:lnTo>
                <a:lnTo>
                  <a:pt x="84" y="336"/>
                </a:lnTo>
                <a:lnTo>
                  <a:pt x="84" y="342"/>
                </a:lnTo>
                <a:lnTo>
                  <a:pt x="90" y="342"/>
                </a:lnTo>
                <a:lnTo>
                  <a:pt x="84" y="342"/>
                </a:lnTo>
                <a:lnTo>
                  <a:pt x="90" y="342"/>
                </a:lnTo>
                <a:lnTo>
                  <a:pt x="84" y="342"/>
                </a:lnTo>
                <a:lnTo>
                  <a:pt x="90" y="348"/>
                </a:lnTo>
                <a:lnTo>
                  <a:pt x="96" y="348"/>
                </a:lnTo>
                <a:lnTo>
                  <a:pt x="102" y="348"/>
                </a:lnTo>
                <a:lnTo>
                  <a:pt x="108" y="348"/>
                </a:lnTo>
                <a:lnTo>
                  <a:pt x="108" y="342"/>
                </a:lnTo>
                <a:lnTo>
                  <a:pt x="108" y="336"/>
                </a:lnTo>
                <a:lnTo>
                  <a:pt x="108" y="330"/>
                </a:lnTo>
                <a:lnTo>
                  <a:pt x="108" y="336"/>
                </a:lnTo>
                <a:lnTo>
                  <a:pt x="114" y="336"/>
                </a:lnTo>
                <a:lnTo>
                  <a:pt x="108" y="336"/>
                </a:lnTo>
                <a:lnTo>
                  <a:pt x="114" y="336"/>
                </a:lnTo>
                <a:lnTo>
                  <a:pt x="114" y="342"/>
                </a:lnTo>
                <a:lnTo>
                  <a:pt x="120" y="342"/>
                </a:lnTo>
                <a:lnTo>
                  <a:pt x="126" y="342"/>
                </a:lnTo>
                <a:lnTo>
                  <a:pt x="120" y="348"/>
                </a:lnTo>
                <a:lnTo>
                  <a:pt x="126" y="348"/>
                </a:lnTo>
                <a:lnTo>
                  <a:pt x="120" y="348"/>
                </a:lnTo>
                <a:lnTo>
                  <a:pt x="126" y="348"/>
                </a:lnTo>
                <a:lnTo>
                  <a:pt x="126" y="354"/>
                </a:lnTo>
                <a:lnTo>
                  <a:pt x="126" y="360"/>
                </a:lnTo>
                <a:lnTo>
                  <a:pt x="132" y="360"/>
                </a:lnTo>
                <a:lnTo>
                  <a:pt x="132" y="354"/>
                </a:lnTo>
                <a:lnTo>
                  <a:pt x="138" y="354"/>
                </a:lnTo>
                <a:lnTo>
                  <a:pt x="138" y="360"/>
                </a:lnTo>
                <a:lnTo>
                  <a:pt x="138" y="366"/>
                </a:lnTo>
                <a:lnTo>
                  <a:pt x="144" y="366"/>
                </a:lnTo>
                <a:lnTo>
                  <a:pt x="150" y="366"/>
                </a:lnTo>
                <a:lnTo>
                  <a:pt x="156" y="366"/>
                </a:lnTo>
                <a:lnTo>
                  <a:pt x="156" y="360"/>
                </a:lnTo>
                <a:lnTo>
                  <a:pt x="162" y="366"/>
                </a:lnTo>
                <a:lnTo>
                  <a:pt x="162" y="360"/>
                </a:lnTo>
                <a:lnTo>
                  <a:pt x="162" y="354"/>
                </a:lnTo>
                <a:lnTo>
                  <a:pt x="168" y="354"/>
                </a:lnTo>
                <a:lnTo>
                  <a:pt x="162" y="354"/>
                </a:lnTo>
                <a:lnTo>
                  <a:pt x="168" y="354"/>
                </a:lnTo>
                <a:lnTo>
                  <a:pt x="168" y="348"/>
                </a:lnTo>
                <a:lnTo>
                  <a:pt x="162" y="348"/>
                </a:lnTo>
                <a:lnTo>
                  <a:pt x="168" y="348"/>
                </a:lnTo>
                <a:lnTo>
                  <a:pt x="168" y="342"/>
                </a:lnTo>
                <a:lnTo>
                  <a:pt x="174" y="342"/>
                </a:lnTo>
                <a:lnTo>
                  <a:pt x="174" y="336"/>
                </a:lnTo>
                <a:lnTo>
                  <a:pt x="180" y="336"/>
                </a:lnTo>
                <a:lnTo>
                  <a:pt x="180" y="330"/>
                </a:lnTo>
                <a:lnTo>
                  <a:pt x="180" y="324"/>
                </a:lnTo>
                <a:lnTo>
                  <a:pt x="180" y="318"/>
                </a:lnTo>
                <a:lnTo>
                  <a:pt x="186" y="318"/>
                </a:lnTo>
                <a:lnTo>
                  <a:pt x="186" y="312"/>
                </a:lnTo>
                <a:lnTo>
                  <a:pt x="192" y="312"/>
                </a:lnTo>
                <a:lnTo>
                  <a:pt x="192" y="306"/>
                </a:lnTo>
                <a:lnTo>
                  <a:pt x="192" y="300"/>
                </a:lnTo>
                <a:lnTo>
                  <a:pt x="192" y="294"/>
                </a:lnTo>
                <a:lnTo>
                  <a:pt x="198" y="294"/>
                </a:lnTo>
                <a:lnTo>
                  <a:pt x="198" y="288"/>
                </a:lnTo>
                <a:lnTo>
                  <a:pt x="198" y="282"/>
                </a:lnTo>
                <a:lnTo>
                  <a:pt x="198" y="276"/>
                </a:lnTo>
                <a:lnTo>
                  <a:pt x="204" y="276"/>
                </a:lnTo>
                <a:lnTo>
                  <a:pt x="204" y="270"/>
                </a:lnTo>
                <a:lnTo>
                  <a:pt x="204" y="264"/>
                </a:lnTo>
                <a:lnTo>
                  <a:pt x="198" y="264"/>
                </a:lnTo>
                <a:lnTo>
                  <a:pt x="204" y="264"/>
                </a:lnTo>
                <a:lnTo>
                  <a:pt x="204" y="258"/>
                </a:lnTo>
                <a:lnTo>
                  <a:pt x="210" y="258"/>
                </a:lnTo>
                <a:lnTo>
                  <a:pt x="210" y="252"/>
                </a:lnTo>
                <a:lnTo>
                  <a:pt x="216" y="252"/>
                </a:lnTo>
                <a:lnTo>
                  <a:pt x="222" y="252"/>
                </a:lnTo>
                <a:lnTo>
                  <a:pt x="222" y="246"/>
                </a:lnTo>
                <a:lnTo>
                  <a:pt x="228" y="246"/>
                </a:lnTo>
                <a:lnTo>
                  <a:pt x="228" y="240"/>
                </a:lnTo>
                <a:lnTo>
                  <a:pt x="234" y="240"/>
                </a:lnTo>
                <a:lnTo>
                  <a:pt x="234" y="234"/>
                </a:lnTo>
                <a:lnTo>
                  <a:pt x="234" y="228"/>
                </a:lnTo>
                <a:lnTo>
                  <a:pt x="240" y="228"/>
                </a:lnTo>
                <a:lnTo>
                  <a:pt x="240" y="222"/>
                </a:lnTo>
                <a:lnTo>
                  <a:pt x="240" y="216"/>
                </a:lnTo>
                <a:lnTo>
                  <a:pt x="240" y="210"/>
                </a:lnTo>
                <a:lnTo>
                  <a:pt x="234" y="210"/>
                </a:lnTo>
                <a:lnTo>
                  <a:pt x="234" y="204"/>
                </a:lnTo>
                <a:lnTo>
                  <a:pt x="240" y="204"/>
                </a:lnTo>
                <a:lnTo>
                  <a:pt x="246" y="204"/>
                </a:lnTo>
                <a:lnTo>
                  <a:pt x="246" y="198"/>
                </a:lnTo>
                <a:lnTo>
                  <a:pt x="252" y="198"/>
                </a:lnTo>
                <a:lnTo>
                  <a:pt x="258" y="198"/>
                </a:lnTo>
                <a:lnTo>
                  <a:pt x="258" y="192"/>
                </a:lnTo>
                <a:lnTo>
                  <a:pt x="258" y="186"/>
                </a:lnTo>
                <a:lnTo>
                  <a:pt x="258" y="180"/>
                </a:lnTo>
                <a:lnTo>
                  <a:pt x="258" y="174"/>
                </a:lnTo>
                <a:lnTo>
                  <a:pt x="258" y="168"/>
                </a:lnTo>
                <a:lnTo>
                  <a:pt x="264" y="168"/>
                </a:lnTo>
                <a:lnTo>
                  <a:pt x="264" y="162"/>
                </a:lnTo>
                <a:lnTo>
                  <a:pt x="270" y="162"/>
                </a:lnTo>
                <a:lnTo>
                  <a:pt x="270" y="156"/>
                </a:lnTo>
                <a:lnTo>
                  <a:pt x="270" y="150"/>
                </a:lnTo>
                <a:lnTo>
                  <a:pt x="276" y="150"/>
                </a:lnTo>
                <a:lnTo>
                  <a:pt x="276" y="144"/>
                </a:lnTo>
                <a:lnTo>
                  <a:pt x="276" y="138"/>
                </a:lnTo>
                <a:lnTo>
                  <a:pt x="276" y="132"/>
                </a:lnTo>
                <a:lnTo>
                  <a:pt x="276" y="126"/>
                </a:lnTo>
                <a:lnTo>
                  <a:pt x="282" y="126"/>
                </a:lnTo>
                <a:lnTo>
                  <a:pt x="282" y="120"/>
                </a:lnTo>
                <a:lnTo>
                  <a:pt x="282" y="114"/>
                </a:lnTo>
                <a:lnTo>
                  <a:pt x="288" y="114"/>
                </a:lnTo>
                <a:lnTo>
                  <a:pt x="288" y="108"/>
                </a:lnTo>
                <a:lnTo>
                  <a:pt x="294" y="108"/>
                </a:lnTo>
                <a:lnTo>
                  <a:pt x="294" y="102"/>
                </a:lnTo>
                <a:lnTo>
                  <a:pt x="300" y="102"/>
                </a:lnTo>
                <a:lnTo>
                  <a:pt x="300" y="96"/>
                </a:lnTo>
                <a:lnTo>
                  <a:pt x="306" y="102"/>
                </a:lnTo>
                <a:lnTo>
                  <a:pt x="312" y="102"/>
                </a:lnTo>
                <a:lnTo>
                  <a:pt x="312" y="96"/>
                </a:lnTo>
                <a:lnTo>
                  <a:pt x="318" y="96"/>
                </a:lnTo>
                <a:lnTo>
                  <a:pt x="324" y="90"/>
                </a:lnTo>
                <a:lnTo>
                  <a:pt x="330" y="90"/>
                </a:lnTo>
                <a:lnTo>
                  <a:pt x="330" y="84"/>
                </a:lnTo>
                <a:lnTo>
                  <a:pt x="336" y="84"/>
                </a:lnTo>
                <a:lnTo>
                  <a:pt x="336" y="78"/>
                </a:lnTo>
                <a:lnTo>
                  <a:pt x="330" y="78"/>
                </a:lnTo>
                <a:lnTo>
                  <a:pt x="330" y="72"/>
                </a:lnTo>
                <a:lnTo>
                  <a:pt x="336" y="72"/>
                </a:lnTo>
                <a:lnTo>
                  <a:pt x="336" y="66"/>
                </a:lnTo>
                <a:lnTo>
                  <a:pt x="336" y="60"/>
                </a:lnTo>
                <a:lnTo>
                  <a:pt x="336" y="54"/>
                </a:lnTo>
                <a:lnTo>
                  <a:pt x="336" y="48"/>
                </a:lnTo>
                <a:lnTo>
                  <a:pt x="330" y="48"/>
                </a:lnTo>
                <a:lnTo>
                  <a:pt x="336" y="48"/>
                </a:lnTo>
                <a:lnTo>
                  <a:pt x="330" y="48"/>
                </a:lnTo>
                <a:lnTo>
                  <a:pt x="330" y="42"/>
                </a:lnTo>
                <a:lnTo>
                  <a:pt x="324" y="42"/>
                </a:lnTo>
                <a:lnTo>
                  <a:pt x="324" y="36"/>
                </a:lnTo>
                <a:lnTo>
                  <a:pt x="318" y="36"/>
                </a:lnTo>
                <a:lnTo>
                  <a:pt x="312" y="36"/>
                </a:lnTo>
                <a:lnTo>
                  <a:pt x="312" y="30"/>
                </a:lnTo>
                <a:lnTo>
                  <a:pt x="312" y="24"/>
                </a:lnTo>
                <a:lnTo>
                  <a:pt x="306" y="18"/>
                </a:lnTo>
                <a:lnTo>
                  <a:pt x="306" y="12"/>
                </a:lnTo>
                <a:lnTo>
                  <a:pt x="306" y="6"/>
                </a:lnTo>
                <a:lnTo>
                  <a:pt x="306" y="0"/>
                </a:lnTo>
                <a:lnTo>
                  <a:pt x="312" y="0"/>
                </a:lnTo>
                <a:lnTo>
                  <a:pt x="318" y="0"/>
                </a:lnTo>
                <a:lnTo>
                  <a:pt x="324" y="0"/>
                </a:lnTo>
                <a:lnTo>
                  <a:pt x="330" y="0"/>
                </a:lnTo>
                <a:lnTo>
                  <a:pt x="330" y="6"/>
                </a:lnTo>
                <a:lnTo>
                  <a:pt x="330" y="12"/>
                </a:lnTo>
                <a:lnTo>
                  <a:pt x="330" y="18"/>
                </a:lnTo>
                <a:lnTo>
                  <a:pt x="336" y="18"/>
                </a:lnTo>
                <a:lnTo>
                  <a:pt x="336" y="12"/>
                </a:lnTo>
                <a:lnTo>
                  <a:pt x="336" y="18"/>
                </a:lnTo>
                <a:lnTo>
                  <a:pt x="342" y="18"/>
                </a:lnTo>
                <a:lnTo>
                  <a:pt x="342" y="24"/>
                </a:lnTo>
                <a:lnTo>
                  <a:pt x="342" y="18"/>
                </a:lnTo>
                <a:lnTo>
                  <a:pt x="342" y="24"/>
                </a:lnTo>
                <a:lnTo>
                  <a:pt x="348" y="24"/>
                </a:lnTo>
                <a:lnTo>
                  <a:pt x="348" y="30"/>
                </a:lnTo>
                <a:lnTo>
                  <a:pt x="348" y="36"/>
                </a:lnTo>
                <a:lnTo>
                  <a:pt x="348" y="30"/>
                </a:lnTo>
                <a:lnTo>
                  <a:pt x="348" y="36"/>
                </a:lnTo>
                <a:lnTo>
                  <a:pt x="348" y="42"/>
                </a:lnTo>
                <a:lnTo>
                  <a:pt x="348" y="48"/>
                </a:lnTo>
                <a:lnTo>
                  <a:pt x="354" y="54"/>
                </a:lnTo>
                <a:lnTo>
                  <a:pt x="360" y="54"/>
                </a:lnTo>
                <a:lnTo>
                  <a:pt x="360" y="60"/>
                </a:lnTo>
                <a:lnTo>
                  <a:pt x="360" y="66"/>
                </a:lnTo>
                <a:lnTo>
                  <a:pt x="360" y="72"/>
                </a:lnTo>
                <a:lnTo>
                  <a:pt x="360" y="78"/>
                </a:lnTo>
                <a:lnTo>
                  <a:pt x="360" y="84"/>
                </a:lnTo>
                <a:lnTo>
                  <a:pt x="366" y="84"/>
                </a:lnTo>
                <a:lnTo>
                  <a:pt x="360" y="84"/>
                </a:lnTo>
                <a:lnTo>
                  <a:pt x="360" y="90"/>
                </a:lnTo>
                <a:lnTo>
                  <a:pt x="360" y="96"/>
                </a:lnTo>
                <a:lnTo>
                  <a:pt x="360" y="102"/>
                </a:lnTo>
                <a:lnTo>
                  <a:pt x="354" y="102"/>
                </a:lnTo>
                <a:lnTo>
                  <a:pt x="360" y="102"/>
                </a:lnTo>
                <a:lnTo>
                  <a:pt x="354" y="102"/>
                </a:lnTo>
                <a:lnTo>
                  <a:pt x="360" y="102"/>
                </a:lnTo>
                <a:lnTo>
                  <a:pt x="360" y="108"/>
                </a:lnTo>
                <a:lnTo>
                  <a:pt x="354" y="108"/>
                </a:lnTo>
                <a:lnTo>
                  <a:pt x="360" y="108"/>
                </a:lnTo>
                <a:lnTo>
                  <a:pt x="360" y="114"/>
                </a:lnTo>
                <a:lnTo>
                  <a:pt x="360" y="120"/>
                </a:lnTo>
                <a:lnTo>
                  <a:pt x="360" y="126"/>
                </a:lnTo>
                <a:lnTo>
                  <a:pt x="360" y="132"/>
                </a:lnTo>
                <a:lnTo>
                  <a:pt x="366" y="132"/>
                </a:lnTo>
                <a:lnTo>
                  <a:pt x="366" y="138"/>
                </a:lnTo>
                <a:lnTo>
                  <a:pt x="366" y="144"/>
                </a:lnTo>
                <a:lnTo>
                  <a:pt x="372" y="144"/>
                </a:lnTo>
                <a:lnTo>
                  <a:pt x="372" y="150"/>
                </a:lnTo>
                <a:lnTo>
                  <a:pt x="372" y="156"/>
                </a:lnTo>
                <a:lnTo>
                  <a:pt x="378" y="156"/>
                </a:lnTo>
                <a:lnTo>
                  <a:pt x="378" y="162"/>
                </a:lnTo>
                <a:lnTo>
                  <a:pt x="384" y="162"/>
                </a:lnTo>
                <a:lnTo>
                  <a:pt x="384" y="168"/>
                </a:lnTo>
                <a:lnTo>
                  <a:pt x="390" y="168"/>
                </a:lnTo>
                <a:lnTo>
                  <a:pt x="396" y="174"/>
                </a:lnTo>
                <a:lnTo>
                  <a:pt x="390" y="174"/>
                </a:lnTo>
                <a:lnTo>
                  <a:pt x="384" y="174"/>
                </a:lnTo>
                <a:lnTo>
                  <a:pt x="378" y="174"/>
                </a:lnTo>
                <a:lnTo>
                  <a:pt x="372" y="174"/>
                </a:lnTo>
                <a:lnTo>
                  <a:pt x="366" y="174"/>
                </a:lnTo>
                <a:lnTo>
                  <a:pt x="360" y="174"/>
                </a:lnTo>
                <a:lnTo>
                  <a:pt x="354" y="174"/>
                </a:lnTo>
                <a:lnTo>
                  <a:pt x="348" y="174"/>
                </a:lnTo>
                <a:lnTo>
                  <a:pt x="342" y="174"/>
                </a:lnTo>
                <a:lnTo>
                  <a:pt x="336" y="174"/>
                </a:lnTo>
                <a:lnTo>
                  <a:pt x="330" y="174"/>
                </a:lnTo>
                <a:lnTo>
                  <a:pt x="324" y="174"/>
                </a:lnTo>
                <a:lnTo>
                  <a:pt x="318" y="174"/>
                </a:lnTo>
                <a:lnTo>
                  <a:pt x="312" y="174"/>
                </a:lnTo>
                <a:lnTo>
                  <a:pt x="312" y="180"/>
                </a:lnTo>
                <a:lnTo>
                  <a:pt x="306" y="180"/>
                </a:lnTo>
                <a:lnTo>
                  <a:pt x="306" y="186"/>
                </a:lnTo>
                <a:lnTo>
                  <a:pt x="300" y="186"/>
                </a:lnTo>
                <a:lnTo>
                  <a:pt x="300" y="192"/>
                </a:lnTo>
                <a:lnTo>
                  <a:pt x="306" y="198"/>
                </a:lnTo>
                <a:lnTo>
                  <a:pt x="312" y="204"/>
                </a:lnTo>
                <a:lnTo>
                  <a:pt x="318" y="210"/>
                </a:lnTo>
                <a:lnTo>
                  <a:pt x="324" y="210"/>
                </a:lnTo>
                <a:lnTo>
                  <a:pt x="324" y="216"/>
                </a:lnTo>
                <a:lnTo>
                  <a:pt x="318" y="216"/>
                </a:lnTo>
                <a:lnTo>
                  <a:pt x="324" y="216"/>
                </a:lnTo>
                <a:lnTo>
                  <a:pt x="324" y="222"/>
                </a:lnTo>
                <a:lnTo>
                  <a:pt x="330" y="222"/>
                </a:lnTo>
                <a:lnTo>
                  <a:pt x="324" y="222"/>
                </a:lnTo>
                <a:lnTo>
                  <a:pt x="330" y="228"/>
                </a:lnTo>
                <a:lnTo>
                  <a:pt x="336" y="234"/>
                </a:lnTo>
                <a:lnTo>
                  <a:pt x="342" y="234"/>
                </a:lnTo>
                <a:lnTo>
                  <a:pt x="342" y="240"/>
                </a:lnTo>
                <a:lnTo>
                  <a:pt x="348" y="240"/>
                </a:lnTo>
                <a:lnTo>
                  <a:pt x="354" y="240"/>
                </a:lnTo>
                <a:lnTo>
                  <a:pt x="348" y="240"/>
                </a:lnTo>
                <a:lnTo>
                  <a:pt x="354" y="240"/>
                </a:lnTo>
                <a:lnTo>
                  <a:pt x="354" y="246"/>
                </a:lnTo>
                <a:lnTo>
                  <a:pt x="360" y="246"/>
                </a:lnTo>
                <a:lnTo>
                  <a:pt x="366" y="246"/>
                </a:lnTo>
                <a:lnTo>
                  <a:pt x="366" y="252"/>
                </a:lnTo>
                <a:lnTo>
                  <a:pt x="366" y="258"/>
                </a:lnTo>
                <a:lnTo>
                  <a:pt x="372" y="258"/>
                </a:lnTo>
                <a:lnTo>
                  <a:pt x="372" y="264"/>
                </a:lnTo>
                <a:lnTo>
                  <a:pt x="372" y="270"/>
                </a:lnTo>
                <a:lnTo>
                  <a:pt x="378" y="276"/>
                </a:lnTo>
                <a:lnTo>
                  <a:pt x="378" y="282"/>
                </a:lnTo>
                <a:lnTo>
                  <a:pt x="378" y="288"/>
                </a:lnTo>
                <a:lnTo>
                  <a:pt x="384" y="294"/>
                </a:lnTo>
                <a:lnTo>
                  <a:pt x="390" y="300"/>
                </a:lnTo>
                <a:lnTo>
                  <a:pt x="390" y="306"/>
                </a:lnTo>
                <a:lnTo>
                  <a:pt x="384" y="306"/>
                </a:lnTo>
                <a:lnTo>
                  <a:pt x="384" y="312"/>
                </a:lnTo>
                <a:lnTo>
                  <a:pt x="384" y="318"/>
                </a:lnTo>
                <a:lnTo>
                  <a:pt x="378" y="318"/>
                </a:lnTo>
                <a:lnTo>
                  <a:pt x="372" y="324"/>
                </a:lnTo>
                <a:lnTo>
                  <a:pt x="366" y="324"/>
                </a:lnTo>
                <a:lnTo>
                  <a:pt x="366" y="330"/>
                </a:lnTo>
                <a:lnTo>
                  <a:pt x="366" y="336"/>
                </a:lnTo>
                <a:lnTo>
                  <a:pt x="366" y="342"/>
                </a:lnTo>
                <a:lnTo>
                  <a:pt x="360" y="342"/>
                </a:lnTo>
                <a:lnTo>
                  <a:pt x="360" y="348"/>
                </a:lnTo>
                <a:lnTo>
                  <a:pt x="360" y="354"/>
                </a:lnTo>
                <a:lnTo>
                  <a:pt x="354" y="354"/>
                </a:lnTo>
                <a:lnTo>
                  <a:pt x="354" y="360"/>
                </a:lnTo>
                <a:lnTo>
                  <a:pt x="348" y="366"/>
                </a:lnTo>
                <a:lnTo>
                  <a:pt x="348" y="372"/>
                </a:lnTo>
                <a:lnTo>
                  <a:pt x="342" y="372"/>
                </a:lnTo>
                <a:lnTo>
                  <a:pt x="342" y="378"/>
                </a:lnTo>
                <a:lnTo>
                  <a:pt x="348" y="378"/>
                </a:lnTo>
                <a:lnTo>
                  <a:pt x="342" y="378"/>
                </a:lnTo>
                <a:lnTo>
                  <a:pt x="342" y="384"/>
                </a:lnTo>
                <a:lnTo>
                  <a:pt x="336" y="384"/>
                </a:lnTo>
                <a:lnTo>
                  <a:pt x="330" y="384"/>
                </a:lnTo>
                <a:lnTo>
                  <a:pt x="330" y="390"/>
                </a:lnTo>
                <a:lnTo>
                  <a:pt x="324" y="390"/>
                </a:lnTo>
                <a:lnTo>
                  <a:pt x="324" y="396"/>
                </a:lnTo>
                <a:lnTo>
                  <a:pt x="324" y="402"/>
                </a:lnTo>
                <a:lnTo>
                  <a:pt x="330" y="402"/>
                </a:lnTo>
                <a:lnTo>
                  <a:pt x="336" y="402"/>
                </a:lnTo>
                <a:lnTo>
                  <a:pt x="336" y="408"/>
                </a:lnTo>
                <a:lnTo>
                  <a:pt x="336" y="414"/>
                </a:lnTo>
                <a:lnTo>
                  <a:pt x="336" y="420"/>
                </a:lnTo>
                <a:lnTo>
                  <a:pt x="330" y="420"/>
                </a:lnTo>
                <a:lnTo>
                  <a:pt x="336" y="420"/>
                </a:lnTo>
                <a:lnTo>
                  <a:pt x="336" y="426"/>
                </a:lnTo>
                <a:lnTo>
                  <a:pt x="336" y="432"/>
                </a:lnTo>
                <a:lnTo>
                  <a:pt x="330" y="432"/>
                </a:lnTo>
                <a:lnTo>
                  <a:pt x="330" y="438"/>
                </a:lnTo>
                <a:lnTo>
                  <a:pt x="336" y="438"/>
                </a:lnTo>
                <a:lnTo>
                  <a:pt x="336" y="444"/>
                </a:lnTo>
                <a:lnTo>
                  <a:pt x="336" y="450"/>
                </a:lnTo>
                <a:lnTo>
                  <a:pt x="336" y="456"/>
                </a:lnTo>
                <a:lnTo>
                  <a:pt x="342" y="462"/>
                </a:lnTo>
                <a:lnTo>
                  <a:pt x="342" y="468"/>
                </a:lnTo>
                <a:lnTo>
                  <a:pt x="336" y="468"/>
                </a:lnTo>
                <a:lnTo>
                  <a:pt x="342" y="468"/>
                </a:lnTo>
                <a:lnTo>
                  <a:pt x="342" y="474"/>
                </a:lnTo>
                <a:lnTo>
                  <a:pt x="342" y="480"/>
                </a:lnTo>
                <a:lnTo>
                  <a:pt x="348" y="480"/>
                </a:lnTo>
                <a:lnTo>
                  <a:pt x="348" y="486"/>
                </a:lnTo>
                <a:lnTo>
                  <a:pt x="354" y="486"/>
                </a:lnTo>
                <a:lnTo>
                  <a:pt x="360" y="486"/>
                </a:lnTo>
                <a:lnTo>
                  <a:pt x="360" y="492"/>
                </a:lnTo>
                <a:lnTo>
                  <a:pt x="360" y="498"/>
                </a:lnTo>
                <a:lnTo>
                  <a:pt x="360" y="504"/>
                </a:lnTo>
                <a:lnTo>
                  <a:pt x="366" y="504"/>
                </a:lnTo>
                <a:lnTo>
                  <a:pt x="360" y="510"/>
                </a:lnTo>
                <a:lnTo>
                  <a:pt x="360" y="516"/>
                </a:lnTo>
                <a:lnTo>
                  <a:pt x="366" y="516"/>
                </a:lnTo>
                <a:lnTo>
                  <a:pt x="366" y="522"/>
                </a:lnTo>
                <a:lnTo>
                  <a:pt x="372" y="522"/>
                </a:lnTo>
                <a:lnTo>
                  <a:pt x="372" y="528"/>
                </a:lnTo>
                <a:lnTo>
                  <a:pt x="378" y="534"/>
                </a:lnTo>
                <a:lnTo>
                  <a:pt x="384" y="540"/>
                </a:lnTo>
                <a:lnTo>
                  <a:pt x="384" y="546"/>
                </a:lnTo>
                <a:lnTo>
                  <a:pt x="390" y="546"/>
                </a:lnTo>
                <a:lnTo>
                  <a:pt x="390" y="552"/>
                </a:lnTo>
                <a:lnTo>
                  <a:pt x="396" y="552"/>
                </a:lnTo>
                <a:lnTo>
                  <a:pt x="396" y="558"/>
                </a:lnTo>
                <a:lnTo>
                  <a:pt x="402" y="558"/>
                </a:lnTo>
                <a:lnTo>
                  <a:pt x="408" y="558"/>
                </a:lnTo>
                <a:lnTo>
                  <a:pt x="408" y="564"/>
                </a:lnTo>
                <a:lnTo>
                  <a:pt x="414" y="564"/>
                </a:lnTo>
                <a:lnTo>
                  <a:pt x="414" y="570"/>
                </a:lnTo>
                <a:lnTo>
                  <a:pt x="414" y="576"/>
                </a:lnTo>
                <a:lnTo>
                  <a:pt x="414" y="582"/>
                </a:lnTo>
                <a:lnTo>
                  <a:pt x="414" y="588"/>
                </a:lnTo>
                <a:lnTo>
                  <a:pt x="414" y="594"/>
                </a:lnTo>
                <a:lnTo>
                  <a:pt x="420" y="594"/>
                </a:lnTo>
                <a:lnTo>
                  <a:pt x="420" y="600"/>
                </a:lnTo>
                <a:lnTo>
                  <a:pt x="420" y="606"/>
                </a:lnTo>
                <a:close/>
                <a:moveTo>
                  <a:pt x="54" y="528"/>
                </a:moveTo>
                <a:lnTo>
                  <a:pt x="60" y="528"/>
                </a:lnTo>
                <a:lnTo>
                  <a:pt x="54" y="528"/>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3" name="Freeform 23">
            <a:extLst>
              <a:ext uri="{FF2B5EF4-FFF2-40B4-BE49-F238E27FC236}">
                <a16:creationId xmlns:a16="http://schemas.microsoft.com/office/drawing/2014/main" id="{9E7781DF-919B-FF45-8CA4-0A8439A24BF6}"/>
              </a:ext>
            </a:extLst>
          </p:cNvPr>
          <p:cNvSpPr>
            <a:spLocks/>
          </p:cNvSpPr>
          <p:nvPr>
            <p:custDataLst>
              <p:tags r:id="rId21"/>
            </p:custDataLst>
          </p:nvPr>
        </p:nvSpPr>
        <p:spPr bwMode="gray">
          <a:xfrm>
            <a:off x="4473485" y="4007768"/>
            <a:ext cx="836377" cy="425183"/>
          </a:xfrm>
          <a:custGeom>
            <a:avLst/>
            <a:gdLst>
              <a:gd name="T0" fmla="*/ 76720 w 726"/>
              <a:gd name="T1" fmla="*/ 147619 h 492"/>
              <a:gd name="T2" fmla="*/ 67980 w 726"/>
              <a:gd name="T3" fmla="*/ 149562 h 492"/>
              <a:gd name="T4" fmla="*/ 53412 w 726"/>
              <a:gd name="T5" fmla="*/ 149562 h 492"/>
              <a:gd name="T6" fmla="*/ 40788 w 726"/>
              <a:gd name="T7" fmla="*/ 156360 h 492"/>
              <a:gd name="T8" fmla="*/ 37874 w 726"/>
              <a:gd name="T9" fmla="*/ 170927 h 492"/>
              <a:gd name="T10" fmla="*/ 32047 w 726"/>
              <a:gd name="T11" fmla="*/ 166072 h 492"/>
              <a:gd name="T12" fmla="*/ 23308 w 726"/>
              <a:gd name="T13" fmla="*/ 156360 h 492"/>
              <a:gd name="T14" fmla="*/ 12625 w 726"/>
              <a:gd name="T15" fmla="*/ 142764 h 492"/>
              <a:gd name="T16" fmla="*/ 8741 w 726"/>
              <a:gd name="T17" fmla="*/ 130139 h 492"/>
              <a:gd name="T18" fmla="*/ 3884 w 726"/>
              <a:gd name="T19" fmla="*/ 117513 h 492"/>
              <a:gd name="T20" fmla="*/ 3884 w 726"/>
              <a:gd name="T21" fmla="*/ 106830 h 492"/>
              <a:gd name="T22" fmla="*/ 3884 w 726"/>
              <a:gd name="T23" fmla="*/ 96147 h 492"/>
              <a:gd name="T24" fmla="*/ 10682 w 726"/>
              <a:gd name="T25" fmla="*/ 85464 h 492"/>
              <a:gd name="T26" fmla="*/ 19423 w 726"/>
              <a:gd name="T27" fmla="*/ 72839 h 492"/>
              <a:gd name="T28" fmla="*/ 27192 w 726"/>
              <a:gd name="T29" fmla="*/ 70896 h 492"/>
              <a:gd name="T30" fmla="*/ 37874 w 726"/>
              <a:gd name="T31" fmla="*/ 66040 h 492"/>
              <a:gd name="T32" fmla="*/ 49528 w 726"/>
              <a:gd name="T33" fmla="*/ 67983 h 492"/>
              <a:gd name="T34" fmla="*/ 60210 w 726"/>
              <a:gd name="T35" fmla="*/ 64098 h 492"/>
              <a:gd name="T36" fmla="*/ 67980 w 726"/>
              <a:gd name="T37" fmla="*/ 62156 h 492"/>
              <a:gd name="T38" fmla="*/ 83518 w 726"/>
              <a:gd name="T39" fmla="*/ 57300 h 492"/>
              <a:gd name="T40" fmla="*/ 90316 w 726"/>
              <a:gd name="T41" fmla="*/ 49530 h 492"/>
              <a:gd name="T42" fmla="*/ 87402 w 726"/>
              <a:gd name="T43" fmla="*/ 42732 h 492"/>
              <a:gd name="T44" fmla="*/ 104883 w 726"/>
              <a:gd name="T45" fmla="*/ 40790 h 492"/>
              <a:gd name="T46" fmla="*/ 117508 w 726"/>
              <a:gd name="T47" fmla="*/ 37876 h 492"/>
              <a:gd name="T48" fmla="*/ 124306 w 726"/>
              <a:gd name="T49" fmla="*/ 33991 h 492"/>
              <a:gd name="T50" fmla="*/ 132075 w 726"/>
              <a:gd name="T51" fmla="*/ 26222 h 492"/>
              <a:gd name="T52" fmla="*/ 143729 w 726"/>
              <a:gd name="T53" fmla="*/ 17482 h 492"/>
              <a:gd name="T54" fmla="*/ 145671 w 726"/>
              <a:gd name="T55" fmla="*/ 8741 h 492"/>
              <a:gd name="T56" fmla="*/ 150527 w 726"/>
              <a:gd name="T57" fmla="*/ 3884 h 492"/>
              <a:gd name="T58" fmla="*/ 160238 w 726"/>
              <a:gd name="T59" fmla="*/ 0 h 492"/>
              <a:gd name="T60" fmla="*/ 170920 w 726"/>
              <a:gd name="T61" fmla="*/ 8741 h 492"/>
              <a:gd name="T62" fmla="*/ 181604 w 726"/>
              <a:gd name="T63" fmla="*/ 21366 h 492"/>
              <a:gd name="T64" fmla="*/ 184516 w 726"/>
              <a:gd name="T65" fmla="*/ 32049 h 492"/>
              <a:gd name="T66" fmla="*/ 179661 w 726"/>
              <a:gd name="T67" fmla="*/ 40790 h 492"/>
              <a:gd name="T68" fmla="*/ 186459 w 726"/>
              <a:gd name="T69" fmla="*/ 46616 h 492"/>
              <a:gd name="T70" fmla="*/ 195199 w 726"/>
              <a:gd name="T71" fmla="*/ 55357 h 492"/>
              <a:gd name="T72" fmla="*/ 205882 w 726"/>
              <a:gd name="T73" fmla="*/ 57300 h 492"/>
              <a:gd name="T74" fmla="*/ 214622 w 726"/>
              <a:gd name="T75" fmla="*/ 64098 h 492"/>
              <a:gd name="T76" fmla="*/ 218506 w 726"/>
              <a:gd name="T77" fmla="*/ 74781 h 492"/>
              <a:gd name="T78" fmla="*/ 231131 w 726"/>
              <a:gd name="T79" fmla="*/ 81579 h 492"/>
              <a:gd name="T80" fmla="*/ 235016 w 726"/>
              <a:gd name="T81" fmla="*/ 91291 h 492"/>
              <a:gd name="T82" fmla="*/ 241814 w 726"/>
              <a:gd name="T83" fmla="*/ 101003 h 492"/>
              <a:gd name="T84" fmla="*/ 252496 w 726"/>
              <a:gd name="T85" fmla="*/ 104887 h 492"/>
              <a:gd name="T86" fmla="*/ 256381 w 726"/>
              <a:gd name="T87" fmla="*/ 120427 h 492"/>
              <a:gd name="T88" fmla="*/ 244727 w 726"/>
              <a:gd name="T89" fmla="*/ 117513 h 492"/>
              <a:gd name="T90" fmla="*/ 233073 w 726"/>
              <a:gd name="T91" fmla="*/ 117513 h 492"/>
              <a:gd name="T92" fmla="*/ 231131 w 726"/>
              <a:gd name="T93" fmla="*/ 117513 h 492"/>
              <a:gd name="T94" fmla="*/ 226275 w 726"/>
              <a:gd name="T95" fmla="*/ 115570 h 492"/>
              <a:gd name="T96" fmla="*/ 215593 w 726"/>
              <a:gd name="T97" fmla="*/ 115570 h 492"/>
              <a:gd name="T98" fmla="*/ 207824 w 726"/>
              <a:gd name="T99" fmla="*/ 121398 h 492"/>
              <a:gd name="T100" fmla="*/ 197141 w 726"/>
              <a:gd name="T101" fmla="*/ 117513 h 492"/>
              <a:gd name="T102" fmla="*/ 188402 w 726"/>
              <a:gd name="T103" fmla="*/ 124311 h 492"/>
              <a:gd name="T104" fmla="*/ 175776 w 726"/>
              <a:gd name="T105" fmla="*/ 128196 h 492"/>
              <a:gd name="T106" fmla="*/ 167036 w 726"/>
              <a:gd name="T107" fmla="*/ 126253 h 492"/>
              <a:gd name="T108" fmla="*/ 158296 w 726"/>
              <a:gd name="T109" fmla="*/ 138879 h 492"/>
              <a:gd name="T110" fmla="*/ 143729 w 726"/>
              <a:gd name="T111" fmla="*/ 134994 h 492"/>
              <a:gd name="T112" fmla="*/ 126249 w 726"/>
              <a:gd name="T113" fmla="*/ 132081 h 492"/>
              <a:gd name="T114" fmla="*/ 113623 w 726"/>
              <a:gd name="T115" fmla="*/ 124311 h 492"/>
              <a:gd name="T116" fmla="*/ 98085 w 726"/>
              <a:gd name="T117" fmla="*/ 117513 h 492"/>
              <a:gd name="T118" fmla="*/ 87402 w 726"/>
              <a:gd name="T119" fmla="*/ 128196 h 492"/>
              <a:gd name="T120" fmla="*/ 83518 w 726"/>
              <a:gd name="T121" fmla="*/ 138879 h 4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492">
                <a:moveTo>
                  <a:pt x="234" y="426"/>
                </a:moveTo>
                <a:lnTo>
                  <a:pt x="234" y="420"/>
                </a:lnTo>
                <a:lnTo>
                  <a:pt x="228" y="420"/>
                </a:lnTo>
                <a:lnTo>
                  <a:pt x="228" y="414"/>
                </a:lnTo>
                <a:lnTo>
                  <a:pt x="222" y="414"/>
                </a:lnTo>
                <a:lnTo>
                  <a:pt x="222" y="420"/>
                </a:lnTo>
                <a:lnTo>
                  <a:pt x="222" y="414"/>
                </a:lnTo>
                <a:lnTo>
                  <a:pt x="222" y="420"/>
                </a:lnTo>
                <a:lnTo>
                  <a:pt x="216" y="414"/>
                </a:lnTo>
                <a:lnTo>
                  <a:pt x="216" y="420"/>
                </a:lnTo>
                <a:lnTo>
                  <a:pt x="210" y="420"/>
                </a:lnTo>
                <a:lnTo>
                  <a:pt x="210" y="426"/>
                </a:lnTo>
                <a:lnTo>
                  <a:pt x="210" y="420"/>
                </a:lnTo>
                <a:lnTo>
                  <a:pt x="204" y="420"/>
                </a:lnTo>
                <a:lnTo>
                  <a:pt x="198" y="420"/>
                </a:lnTo>
                <a:lnTo>
                  <a:pt x="198" y="414"/>
                </a:lnTo>
                <a:lnTo>
                  <a:pt x="192" y="414"/>
                </a:lnTo>
                <a:lnTo>
                  <a:pt x="192" y="420"/>
                </a:lnTo>
                <a:lnTo>
                  <a:pt x="192" y="414"/>
                </a:lnTo>
                <a:lnTo>
                  <a:pt x="186" y="414"/>
                </a:lnTo>
                <a:lnTo>
                  <a:pt x="180" y="414"/>
                </a:lnTo>
                <a:lnTo>
                  <a:pt x="174" y="414"/>
                </a:lnTo>
                <a:lnTo>
                  <a:pt x="168" y="414"/>
                </a:lnTo>
                <a:lnTo>
                  <a:pt x="162" y="414"/>
                </a:lnTo>
                <a:lnTo>
                  <a:pt x="156" y="414"/>
                </a:lnTo>
                <a:lnTo>
                  <a:pt x="156" y="420"/>
                </a:lnTo>
                <a:lnTo>
                  <a:pt x="150" y="420"/>
                </a:lnTo>
                <a:lnTo>
                  <a:pt x="144" y="420"/>
                </a:lnTo>
                <a:lnTo>
                  <a:pt x="138" y="420"/>
                </a:lnTo>
                <a:lnTo>
                  <a:pt x="132" y="420"/>
                </a:lnTo>
                <a:lnTo>
                  <a:pt x="126" y="420"/>
                </a:lnTo>
                <a:lnTo>
                  <a:pt x="120" y="420"/>
                </a:lnTo>
                <a:lnTo>
                  <a:pt x="120" y="426"/>
                </a:lnTo>
                <a:lnTo>
                  <a:pt x="120" y="432"/>
                </a:lnTo>
                <a:lnTo>
                  <a:pt x="120" y="438"/>
                </a:lnTo>
                <a:lnTo>
                  <a:pt x="114" y="438"/>
                </a:lnTo>
                <a:lnTo>
                  <a:pt x="114" y="444"/>
                </a:lnTo>
                <a:lnTo>
                  <a:pt x="120" y="444"/>
                </a:lnTo>
                <a:lnTo>
                  <a:pt x="114" y="450"/>
                </a:lnTo>
                <a:lnTo>
                  <a:pt x="114" y="456"/>
                </a:lnTo>
                <a:lnTo>
                  <a:pt x="114" y="462"/>
                </a:lnTo>
                <a:lnTo>
                  <a:pt x="114" y="468"/>
                </a:lnTo>
                <a:lnTo>
                  <a:pt x="108" y="468"/>
                </a:lnTo>
                <a:lnTo>
                  <a:pt x="108" y="474"/>
                </a:lnTo>
                <a:lnTo>
                  <a:pt x="108" y="480"/>
                </a:lnTo>
                <a:lnTo>
                  <a:pt x="102" y="480"/>
                </a:lnTo>
                <a:lnTo>
                  <a:pt x="102" y="486"/>
                </a:lnTo>
                <a:lnTo>
                  <a:pt x="102" y="492"/>
                </a:lnTo>
                <a:lnTo>
                  <a:pt x="96" y="492"/>
                </a:lnTo>
                <a:lnTo>
                  <a:pt x="96" y="486"/>
                </a:lnTo>
                <a:lnTo>
                  <a:pt x="96" y="480"/>
                </a:lnTo>
                <a:lnTo>
                  <a:pt x="90" y="480"/>
                </a:lnTo>
                <a:lnTo>
                  <a:pt x="90" y="474"/>
                </a:lnTo>
                <a:lnTo>
                  <a:pt x="90" y="468"/>
                </a:lnTo>
                <a:lnTo>
                  <a:pt x="90" y="462"/>
                </a:lnTo>
                <a:lnTo>
                  <a:pt x="90" y="456"/>
                </a:lnTo>
                <a:lnTo>
                  <a:pt x="90" y="450"/>
                </a:lnTo>
                <a:lnTo>
                  <a:pt x="84" y="450"/>
                </a:lnTo>
                <a:lnTo>
                  <a:pt x="84" y="444"/>
                </a:lnTo>
                <a:lnTo>
                  <a:pt x="78" y="444"/>
                </a:lnTo>
                <a:lnTo>
                  <a:pt x="72" y="444"/>
                </a:lnTo>
                <a:lnTo>
                  <a:pt x="72" y="438"/>
                </a:lnTo>
                <a:lnTo>
                  <a:pt x="66" y="438"/>
                </a:lnTo>
                <a:lnTo>
                  <a:pt x="66" y="432"/>
                </a:lnTo>
                <a:lnTo>
                  <a:pt x="60" y="432"/>
                </a:lnTo>
                <a:lnTo>
                  <a:pt x="60" y="426"/>
                </a:lnTo>
                <a:lnTo>
                  <a:pt x="54" y="420"/>
                </a:lnTo>
                <a:lnTo>
                  <a:pt x="48" y="414"/>
                </a:lnTo>
                <a:lnTo>
                  <a:pt x="48" y="408"/>
                </a:lnTo>
                <a:lnTo>
                  <a:pt x="42" y="408"/>
                </a:lnTo>
                <a:lnTo>
                  <a:pt x="42" y="402"/>
                </a:lnTo>
                <a:lnTo>
                  <a:pt x="36" y="402"/>
                </a:lnTo>
                <a:lnTo>
                  <a:pt x="36" y="396"/>
                </a:lnTo>
                <a:lnTo>
                  <a:pt x="42" y="390"/>
                </a:lnTo>
                <a:lnTo>
                  <a:pt x="36" y="390"/>
                </a:lnTo>
                <a:lnTo>
                  <a:pt x="36" y="384"/>
                </a:lnTo>
                <a:lnTo>
                  <a:pt x="36" y="378"/>
                </a:lnTo>
                <a:lnTo>
                  <a:pt x="36" y="372"/>
                </a:lnTo>
                <a:lnTo>
                  <a:pt x="30" y="372"/>
                </a:lnTo>
                <a:lnTo>
                  <a:pt x="24" y="372"/>
                </a:lnTo>
                <a:lnTo>
                  <a:pt x="24" y="366"/>
                </a:lnTo>
                <a:lnTo>
                  <a:pt x="18" y="366"/>
                </a:lnTo>
                <a:lnTo>
                  <a:pt x="18" y="360"/>
                </a:lnTo>
                <a:lnTo>
                  <a:pt x="18" y="354"/>
                </a:lnTo>
                <a:lnTo>
                  <a:pt x="12" y="354"/>
                </a:lnTo>
                <a:lnTo>
                  <a:pt x="18" y="354"/>
                </a:lnTo>
                <a:lnTo>
                  <a:pt x="18" y="348"/>
                </a:lnTo>
                <a:lnTo>
                  <a:pt x="12" y="342"/>
                </a:lnTo>
                <a:lnTo>
                  <a:pt x="12" y="336"/>
                </a:lnTo>
                <a:lnTo>
                  <a:pt x="12" y="330"/>
                </a:lnTo>
                <a:lnTo>
                  <a:pt x="12" y="324"/>
                </a:lnTo>
                <a:lnTo>
                  <a:pt x="6" y="324"/>
                </a:lnTo>
                <a:lnTo>
                  <a:pt x="6" y="318"/>
                </a:lnTo>
                <a:lnTo>
                  <a:pt x="12" y="318"/>
                </a:lnTo>
                <a:lnTo>
                  <a:pt x="12" y="312"/>
                </a:lnTo>
                <a:lnTo>
                  <a:pt x="12" y="306"/>
                </a:lnTo>
                <a:lnTo>
                  <a:pt x="6" y="306"/>
                </a:lnTo>
                <a:lnTo>
                  <a:pt x="12" y="306"/>
                </a:lnTo>
                <a:lnTo>
                  <a:pt x="12" y="300"/>
                </a:lnTo>
                <a:lnTo>
                  <a:pt x="12" y="294"/>
                </a:lnTo>
                <a:lnTo>
                  <a:pt x="12" y="288"/>
                </a:lnTo>
                <a:lnTo>
                  <a:pt x="6" y="288"/>
                </a:lnTo>
                <a:lnTo>
                  <a:pt x="0" y="288"/>
                </a:lnTo>
                <a:lnTo>
                  <a:pt x="0" y="282"/>
                </a:lnTo>
                <a:lnTo>
                  <a:pt x="0" y="276"/>
                </a:lnTo>
                <a:lnTo>
                  <a:pt x="6" y="276"/>
                </a:lnTo>
                <a:lnTo>
                  <a:pt x="6" y="270"/>
                </a:lnTo>
                <a:lnTo>
                  <a:pt x="12" y="270"/>
                </a:lnTo>
                <a:lnTo>
                  <a:pt x="18" y="270"/>
                </a:lnTo>
                <a:lnTo>
                  <a:pt x="18" y="264"/>
                </a:lnTo>
                <a:lnTo>
                  <a:pt x="24" y="264"/>
                </a:lnTo>
                <a:lnTo>
                  <a:pt x="18" y="264"/>
                </a:lnTo>
                <a:lnTo>
                  <a:pt x="18" y="258"/>
                </a:lnTo>
                <a:lnTo>
                  <a:pt x="24" y="258"/>
                </a:lnTo>
                <a:lnTo>
                  <a:pt x="24" y="252"/>
                </a:lnTo>
                <a:lnTo>
                  <a:pt x="30" y="246"/>
                </a:lnTo>
                <a:lnTo>
                  <a:pt x="30" y="240"/>
                </a:lnTo>
                <a:lnTo>
                  <a:pt x="36" y="240"/>
                </a:lnTo>
                <a:lnTo>
                  <a:pt x="36" y="234"/>
                </a:lnTo>
                <a:lnTo>
                  <a:pt x="36" y="228"/>
                </a:lnTo>
                <a:lnTo>
                  <a:pt x="42" y="228"/>
                </a:lnTo>
                <a:lnTo>
                  <a:pt x="42" y="222"/>
                </a:lnTo>
                <a:lnTo>
                  <a:pt x="42" y="216"/>
                </a:lnTo>
                <a:lnTo>
                  <a:pt x="42" y="210"/>
                </a:lnTo>
                <a:lnTo>
                  <a:pt x="48" y="210"/>
                </a:lnTo>
                <a:lnTo>
                  <a:pt x="54" y="204"/>
                </a:lnTo>
                <a:lnTo>
                  <a:pt x="60" y="204"/>
                </a:lnTo>
                <a:lnTo>
                  <a:pt x="60" y="198"/>
                </a:lnTo>
                <a:lnTo>
                  <a:pt x="66" y="198"/>
                </a:lnTo>
                <a:lnTo>
                  <a:pt x="72" y="198"/>
                </a:lnTo>
                <a:lnTo>
                  <a:pt x="72" y="204"/>
                </a:lnTo>
                <a:lnTo>
                  <a:pt x="72" y="198"/>
                </a:lnTo>
                <a:lnTo>
                  <a:pt x="78" y="198"/>
                </a:lnTo>
                <a:lnTo>
                  <a:pt x="78" y="204"/>
                </a:lnTo>
                <a:lnTo>
                  <a:pt x="78" y="198"/>
                </a:lnTo>
                <a:lnTo>
                  <a:pt x="84" y="198"/>
                </a:lnTo>
                <a:lnTo>
                  <a:pt x="90" y="198"/>
                </a:lnTo>
                <a:lnTo>
                  <a:pt x="90" y="192"/>
                </a:lnTo>
                <a:lnTo>
                  <a:pt x="96" y="192"/>
                </a:lnTo>
                <a:lnTo>
                  <a:pt x="102" y="192"/>
                </a:lnTo>
                <a:lnTo>
                  <a:pt x="108" y="192"/>
                </a:lnTo>
                <a:lnTo>
                  <a:pt x="108" y="186"/>
                </a:lnTo>
                <a:lnTo>
                  <a:pt x="114" y="186"/>
                </a:lnTo>
                <a:lnTo>
                  <a:pt x="108" y="186"/>
                </a:lnTo>
                <a:lnTo>
                  <a:pt x="114" y="180"/>
                </a:lnTo>
                <a:lnTo>
                  <a:pt x="120" y="180"/>
                </a:lnTo>
                <a:lnTo>
                  <a:pt x="120" y="186"/>
                </a:lnTo>
                <a:lnTo>
                  <a:pt x="126" y="186"/>
                </a:lnTo>
                <a:lnTo>
                  <a:pt x="126" y="192"/>
                </a:lnTo>
                <a:lnTo>
                  <a:pt x="132" y="192"/>
                </a:lnTo>
                <a:lnTo>
                  <a:pt x="132" y="198"/>
                </a:lnTo>
                <a:lnTo>
                  <a:pt x="138" y="198"/>
                </a:lnTo>
                <a:lnTo>
                  <a:pt x="138" y="192"/>
                </a:lnTo>
                <a:lnTo>
                  <a:pt x="144" y="192"/>
                </a:lnTo>
                <a:lnTo>
                  <a:pt x="150" y="192"/>
                </a:lnTo>
                <a:lnTo>
                  <a:pt x="150" y="186"/>
                </a:lnTo>
                <a:lnTo>
                  <a:pt x="150" y="192"/>
                </a:lnTo>
                <a:lnTo>
                  <a:pt x="150" y="186"/>
                </a:lnTo>
                <a:lnTo>
                  <a:pt x="156" y="186"/>
                </a:lnTo>
                <a:lnTo>
                  <a:pt x="156" y="180"/>
                </a:lnTo>
                <a:lnTo>
                  <a:pt x="162" y="180"/>
                </a:lnTo>
                <a:lnTo>
                  <a:pt x="168" y="180"/>
                </a:lnTo>
                <a:lnTo>
                  <a:pt x="168" y="174"/>
                </a:lnTo>
                <a:lnTo>
                  <a:pt x="168" y="180"/>
                </a:lnTo>
                <a:lnTo>
                  <a:pt x="174" y="180"/>
                </a:lnTo>
                <a:lnTo>
                  <a:pt x="174" y="174"/>
                </a:lnTo>
                <a:lnTo>
                  <a:pt x="174" y="180"/>
                </a:lnTo>
                <a:lnTo>
                  <a:pt x="174" y="174"/>
                </a:lnTo>
                <a:lnTo>
                  <a:pt x="180" y="174"/>
                </a:lnTo>
                <a:lnTo>
                  <a:pt x="186" y="174"/>
                </a:lnTo>
                <a:lnTo>
                  <a:pt x="192" y="174"/>
                </a:lnTo>
                <a:lnTo>
                  <a:pt x="198" y="174"/>
                </a:lnTo>
                <a:lnTo>
                  <a:pt x="198" y="168"/>
                </a:lnTo>
                <a:lnTo>
                  <a:pt x="204" y="168"/>
                </a:lnTo>
                <a:lnTo>
                  <a:pt x="210" y="168"/>
                </a:lnTo>
                <a:lnTo>
                  <a:pt x="216" y="168"/>
                </a:lnTo>
                <a:lnTo>
                  <a:pt x="222" y="168"/>
                </a:lnTo>
                <a:lnTo>
                  <a:pt x="228" y="168"/>
                </a:lnTo>
                <a:lnTo>
                  <a:pt x="234" y="168"/>
                </a:lnTo>
                <a:lnTo>
                  <a:pt x="234" y="162"/>
                </a:lnTo>
                <a:lnTo>
                  <a:pt x="234" y="156"/>
                </a:lnTo>
                <a:lnTo>
                  <a:pt x="240" y="156"/>
                </a:lnTo>
                <a:lnTo>
                  <a:pt x="246" y="156"/>
                </a:lnTo>
                <a:lnTo>
                  <a:pt x="246" y="150"/>
                </a:lnTo>
                <a:lnTo>
                  <a:pt x="252" y="150"/>
                </a:lnTo>
                <a:lnTo>
                  <a:pt x="246" y="150"/>
                </a:lnTo>
                <a:lnTo>
                  <a:pt x="252" y="150"/>
                </a:lnTo>
                <a:lnTo>
                  <a:pt x="252" y="144"/>
                </a:lnTo>
                <a:lnTo>
                  <a:pt x="252" y="138"/>
                </a:lnTo>
                <a:lnTo>
                  <a:pt x="258" y="144"/>
                </a:lnTo>
                <a:lnTo>
                  <a:pt x="258" y="138"/>
                </a:lnTo>
                <a:lnTo>
                  <a:pt x="258" y="132"/>
                </a:lnTo>
                <a:lnTo>
                  <a:pt x="258" y="126"/>
                </a:lnTo>
                <a:lnTo>
                  <a:pt x="252" y="126"/>
                </a:lnTo>
                <a:lnTo>
                  <a:pt x="246" y="126"/>
                </a:lnTo>
                <a:lnTo>
                  <a:pt x="246" y="120"/>
                </a:lnTo>
                <a:lnTo>
                  <a:pt x="246" y="126"/>
                </a:lnTo>
                <a:lnTo>
                  <a:pt x="246" y="120"/>
                </a:lnTo>
                <a:lnTo>
                  <a:pt x="252" y="120"/>
                </a:lnTo>
                <a:lnTo>
                  <a:pt x="252" y="114"/>
                </a:lnTo>
                <a:lnTo>
                  <a:pt x="258" y="114"/>
                </a:lnTo>
                <a:lnTo>
                  <a:pt x="264" y="114"/>
                </a:lnTo>
                <a:lnTo>
                  <a:pt x="270" y="114"/>
                </a:lnTo>
                <a:lnTo>
                  <a:pt x="276" y="114"/>
                </a:lnTo>
                <a:lnTo>
                  <a:pt x="282" y="114"/>
                </a:lnTo>
                <a:lnTo>
                  <a:pt x="288" y="114"/>
                </a:lnTo>
                <a:lnTo>
                  <a:pt x="294" y="114"/>
                </a:lnTo>
                <a:lnTo>
                  <a:pt x="300" y="114"/>
                </a:lnTo>
                <a:lnTo>
                  <a:pt x="300" y="108"/>
                </a:lnTo>
                <a:lnTo>
                  <a:pt x="300" y="114"/>
                </a:lnTo>
                <a:lnTo>
                  <a:pt x="300" y="108"/>
                </a:lnTo>
                <a:lnTo>
                  <a:pt x="306" y="108"/>
                </a:lnTo>
                <a:lnTo>
                  <a:pt x="312" y="108"/>
                </a:lnTo>
                <a:lnTo>
                  <a:pt x="318" y="108"/>
                </a:lnTo>
                <a:lnTo>
                  <a:pt x="324" y="108"/>
                </a:lnTo>
                <a:lnTo>
                  <a:pt x="330" y="108"/>
                </a:lnTo>
                <a:lnTo>
                  <a:pt x="336" y="108"/>
                </a:lnTo>
                <a:lnTo>
                  <a:pt x="336" y="102"/>
                </a:lnTo>
                <a:lnTo>
                  <a:pt x="336" y="96"/>
                </a:lnTo>
                <a:lnTo>
                  <a:pt x="342" y="96"/>
                </a:lnTo>
                <a:lnTo>
                  <a:pt x="336" y="96"/>
                </a:lnTo>
                <a:lnTo>
                  <a:pt x="342" y="96"/>
                </a:lnTo>
                <a:lnTo>
                  <a:pt x="348" y="96"/>
                </a:lnTo>
                <a:lnTo>
                  <a:pt x="342" y="96"/>
                </a:lnTo>
                <a:lnTo>
                  <a:pt x="348" y="96"/>
                </a:lnTo>
                <a:lnTo>
                  <a:pt x="348" y="90"/>
                </a:lnTo>
                <a:lnTo>
                  <a:pt x="354" y="90"/>
                </a:lnTo>
                <a:lnTo>
                  <a:pt x="360" y="84"/>
                </a:lnTo>
                <a:lnTo>
                  <a:pt x="360" y="90"/>
                </a:lnTo>
                <a:lnTo>
                  <a:pt x="360" y="84"/>
                </a:lnTo>
                <a:lnTo>
                  <a:pt x="360" y="78"/>
                </a:lnTo>
                <a:lnTo>
                  <a:pt x="366" y="78"/>
                </a:lnTo>
                <a:lnTo>
                  <a:pt x="366" y="72"/>
                </a:lnTo>
                <a:lnTo>
                  <a:pt x="372" y="72"/>
                </a:lnTo>
                <a:lnTo>
                  <a:pt x="372" y="66"/>
                </a:lnTo>
                <a:lnTo>
                  <a:pt x="378" y="66"/>
                </a:lnTo>
                <a:lnTo>
                  <a:pt x="378" y="60"/>
                </a:lnTo>
                <a:lnTo>
                  <a:pt x="384" y="60"/>
                </a:lnTo>
                <a:lnTo>
                  <a:pt x="390" y="60"/>
                </a:lnTo>
                <a:lnTo>
                  <a:pt x="390" y="54"/>
                </a:lnTo>
                <a:lnTo>
                  <a:pt x="390" y="48"/>
                </a:lnTo>
                <a:lnTo>
                  <a:pt x="396" y="48"/>
                </a:lnTo>
                <a:lnTo>
                  <a:pt x="402" y="48"/>
                </a:lnTo>
                <a:lnTo>
                  <a:pt x="402" y="42"/>
                </a:lnTo>
                <a:lnTo>
                  <a:pt x="402" y="48"/>
                </a:lnTo>
                <a:lnTo>
                  <a:pt x="402" y="42"/>
                </a:lnTo>
                <a:lnTo>
                  <a:pt x="408" y="42"/>
                </a:lnTo>
                <a:lnTo>
                  <a:pt x="408" y="36"/>
                </a:lnTo>
                <a:lnTo>
                  <a:pt x="408" y="30"/>
                </a:lnTo>
                <a:lnTo>
                  <a:pt x="408" y="24"/>
                </a:lnTo>
                <a:lnTo>
                  <a:pt x="408" y="18"/>
                </a:lnTo>
                <a:lnTo>
                  <a:pt x="408" y="24"/>
                </a:lnTo>
                <a:lnTo>
                  <a:pt x="408" y="18"/>
                </a:lnTo>
                <a:lnTo>
                  <a:pt x="408" y="12"/>
                </a:lnTo>
                <a:lnTo>
                  <a:pt x="414" y="12"/>
                </a:lnTo>
                <a:lnTo>
                  <a:pt x="414" y="6"/>
                </a:lnTo>
                <a:lnTo>
                  <a:pt x="414" y="12"/>
                </a:lnTo>
                <a:lnTo>
                  <a:pt x="414" y="6"/>
                </a:lnTo>
                <a:lnTo>
                  <a:pt x="420" y="12"/>
                </a:lnTo>
                <a:lnTo>
                  <a:pt x="420" y="6"/>
                </a:lnTo>
                <a:lnTo>
                  <a:pt x="420" y="12"/>
                </a:lnTo>
                <a:lnTo>
                  <a:pt x="420" y="6"/>
                </a:lnTo>
                <a:lnTo>
                  <a:pt x="420" y="12"/>
                </a:lnTo>
                <a:lnTo>
                  <a:pt x="420" y="6"/>
                </a:lnTo>
                <a:lnTo>
                  <a:pt x="426" y="6"/>
                </a:lnTo>
                <a:lnTo>
                  <a:pt x="432" y="6"/>
                </a:lnTo>
                <a:lnTo>
                  <a:pt x="438" y="6"/>
                </a:lnTo>
                <a:lnTo>
                  <a:pt x="444" y="6"/>
                </a:lnTo>
                <a:lnTo>
                  <a:pt x="444" y="0"/>
                </a:lnTo>
                <a:lnTo>
                  <a:pt x="450" y="0"/>
                </a:lnTo>
                <a:lnTo>
                  <a:pt x="456" y="0"/>
                </a:lnTo>
                <a:lnTo>
                  <a:pt x="462" y="0"/>
                </a:lnTo>
                <a:lnTo>
                  <a:pt x="462" y="6"/>
                </a:lnTo>
                <a:lnTo>
                  <a:pt x="468" y="6"/>
                </a:lnTo>
                <a:lnTo>
                  <a:pt x="474" y="6"/>
                </a:lnTo>
                <a:lnTo>
                  <a:pt x="474" y="12"/>
                </a:lnTo>
                <a:lnTo>
                  <a:pt x="474" y="18"/>
                </a:lnTo>
                <a:lnTo>
                  <a:pt x="480" y="18"/>
                </a:lnTo>
                <a:lnTo>
                  <a:pt x="480" y="24"/>
                </a:lnTo>
                <a:lnTo>
                  <a:pt x="486" y="24"/>
                </a:lnTo>
                <a:lnTo>
                  <a:pt x="486" y="30"/>
                </a:lnTo>
                <a:lnTo>
                  <a:pt x="492" y="30"/>
                </a:lnTo>
                <a:lnTo>
                  <a:pt x="492" y="36"/>
                </a:lnTo>
                <a:lnTo>
                  <a:pt x="498" y="36"/>
                </a:lnTo>
                <a:lnTo>
                  <a:pt x="498" y="42"/>
                </a:lnTo>
                <a:lnTo>
                  <a:pt x="504" y="48"/>
                </a:lnTo>
                <a:lnTo>
                  <a:pt x="510" y="54"/>
                </a:lnTo>
                <a:lnTo>
                  <a:pt x="510" y="60"/>
                </a:lnTo>
                <a:lnTo>
                  <a:pt x="516" y="66"/>
                </a:lnTo>
                <a:lnTo>
                  <a:pt x="516" y="72"/>
                </a:lnTo>
                <a:lnTo>
                  <a:pt x="516" y="78"/>
                </a:lnTo>
                <a:lnTo>
                  <a:pt x="516" y="84"/>
                </a:lnTo>
                <a:lnTo>
                  <a:pt x="510" y="84"/>
                </a:lnTo>
                <a:lnTo>
                  <a:pt x="516" y="84"/>
                </a:lnTo>
                <a:lnTo>
                  <a:pt x="510" y="84"/>
                </a:lnTo>
                <a:lnTo>
                  <a:pt x="510" y="90"/>
                </a:lnTo>
                <a:lnTo>
                  <a:pt x="516" y="90"/>
                </a:lnTo>
                <a:lnTo>
                  <a:pt x="510" y="90"/>
                </a:lnTo>
                <a:lnTo>
                  <a:pt x="510" y="96"/>
                </a:lnTo>
                <a:lnTo>
                  <a:pt x="516" y="96"/>
                </a:lnTo>
                <a:lnTo>
                  <a:pt x="510" y="102"/>
                </a:lnTo>
                <a:lnTo>
                  <a:pt x="510" y="96"/>
                </a:lnTo>
                <a:lnTo>
                  <a:pt x="510" y="102"/>
                </a:lnTo>
                <a:lnTo>
                  <a:pt x="504" y="102"/>
                </a:lnTo>
                <a:lnTo>
                  <a:pt x="504" y="108"/>
                </a:lnTo>
                <a:lnTo>
                  <a:pt x="504" y="114"/>
                </a:lnTo>
                <a:lnTo>
                  <a:pt x="510" y="114"/>
                </a:lnTo>
                <a:lnTo>
                  <a:pt x="510" y="120"/>
                </a:lnTo>
                <a:lnTo>
                  <a:pt x="510" y="126"/>
                </a:lnTo>
                <a:lnTo>
                  <a:pt x="504" y="126"/>
                </a:lnTo>
                <a:lnTo>
                  <a:pt x="504" y="132"/>
                </a:lnTo>
                <a:lnTo>
                  <a:pt x="510" y="132"/>
                </a:lnTo>
                <a:lnTo>
                  <a:pt x="510" y="126"/>
                </a:lnTo>
                <a:lnTo>
                  <a:pt x="516" y="132"/>
                </a:lnTo>
                <a:lnTo>
                  <a:pt x="522" y="132"/>
                </a:lnTo>
                <a:lnTo>
                  <a:pt x="528" y="132"/>
                </a:lnTo>
                <a:lnTo>
                  <a:pt x="534" y="132"/>
                </a:lnTo>
                <a:lnTo>
                  <a:pt x="540" y="132"/>
                </a:lnTo>
                <a:lnTo>
                  <a:pt x="546" y="132"/>
                </a:lnTo>
                <a:lnTo>
                  <a:pt x="546" y="138"/>
                </a:lnTo>
                <a:lnTo>
                  <a:pt x="546" y="144"/>
                </a:lnTo>
                <a:lnTo>
                  <a:pt x="540" y="144"/>
                </a:lnTo>
                <a:lnTo>
                  <a:pt x="540" y="150"/>
                </a:lnTo>
                <a:lnTo>
                  <a:pt x="546" y="156"/>
                </a:lnTo>
                <a:lnTo>
                  <a:pt x="552" y="156"/>
                </a:lnTo>
                <a:lnTo>
                  <a:pt x="558" y="156"/>
                </a:lnTo>
                <a:lnTo>
                  <a:pt x="564" y="156"/>
                </a:lnTo>
                <a:lnTo>
                  <a:pt x="564" y="162"/>
                </a:lnTo>
                <a:lnTo>
                  <a:pt x="564" y="156"/>
                </a:lnTo>
                <a:lnTo>
                  <a:pt x="570" y="156"/>
                </a:lnTo>
                <a:lnTo>
                  <a:pt x="570" y="162"/>
                </a:lnTo>
                <a:lnTo>
                  <a:pt x="576" y="156"/>
                </a:lnTo>
                <a:lnTo>
                  <a:pt x="576" y="162"/>
                </a:lnTo>
                <a:lnTo>
                  <a:pt x="582" y="162"/>
                </a:lnTo>
                <a:lnTo>
                  <a:pt x="582" y="168"/>
                </a:lnTo>
                <a:lnTo>
                  <a:pt x="588" y="168"/>
                </a:lnTo>
                <a:lnTo>
                  <a:pt x="588" y="174"/>
                </a:lnTo>
                <a:lnTo>
                  <a:pt x="594" y="174"/>
                </a:lnTo>
                <a:lnTo>
                  <a:pt x="594" y="180"/>
                </a:lnTo>
                <a:lnTo>
                  <a:pt x="594" y="174"/>
                </a:lnTo>
                <a:lnTo>
                  <a:pt x="600" y="174"/>
                </a:lnTo>
                <a:lnTo>
                  <a:pt x="600" y="180"/>
                </a:lnTo>
                <a:lnTo>
                  <a:pt x="606" y="180"/>
                </a:lnTo>
                <a:lnTo>
                  <a:pt x="606" y="186"/>
                </a:lnTo>
                <a:lnTo>
                  <a:pt x="606" y="192"/>
                </a:lnTo>
                <a:lnTo>
                  <a:pt x="600" y="192"/>
                </a:lnTo>
                <a:lnTo>
                  <a:pt x="600" y="198"/>
                </a:lnTo>
                <a:lnTo>
                  <a:pt x="606" y="198"/>
                </a:lnTo>
                <a:lnTo>
                  <a:pt x="606" y="204"/>
                </a:lnTo>
                <a:lnTo>
                  <a:pt x="606" y="210"/>
                </a:lnTo>
                <a:lnTo>
                  <a:pt x="612" y="210"/>
                </a:lnTo>
                <a:lnTo>
                  <a:pt x="618" y="210"/>
                </a:lnTo>
                <a:lnTo>
                  <a:pt x="618" y="216"/>
                </a:lnTo>
                <a:lnTo>
                  <a:pt x="624" y="216"/>
                </a:lnTo>
                <a:lnTo>
                  <a:pt x="630" y="216"/>
                </a:lnTo>
                <a:lnTo>
                  <a:pt x="636" y="216"/>
                </a:lnTo>
                <a:lnTo>
                  <a:pt x="636" y="222"/>
                </a:lnTo>
                <a:lnTo>
                  <a:pt x="642" y="222"/>
                </a:lnTo>
                <a:lnTo>
                  <a:pt x="642" y="228"/>
                </a:lnTo>
                <a:lnTo>
                  <a:pt x="648" y="228"/>
                </a:lnTo>
                <a:lnTo>
                  <a:pt x="648" y="234"/>
                </a:lnTo>
                <a:lnTo>
                  <a:pt x="648" y="240"/>
                </a:lnTo>
                <a:lnTo>
                  <a:pt x="654" y="240"/>
                </a:lnTo>
                <a:lnTo>
                  <a:pt x="660" y="240"/>
                </a:lnTo>
                <a:lnTo>
                  <a:pt x="660" y="246"/>
                </a:lnTo>
                <a:lnTo>
                  <a:pt x="666" y="246"/>
                </a:lnTo>
                <a:lnTo>
                  <a:pt x="666" y="252"/>
                </a:lnTo>
                <a:lnTo>
                  <a:pt x="660" y="252"/>
                </a:lnTo>
                <a:lnTo>
                  <a:pt x="660" y="258"/>
                </a:lnTo>
                <a:lnTo>
                  <a:pt x="660" y="264"/>
                </a:lnTo>
                <a:lnTo>
                  <a:pt x="666" y="264"/>
                </a:lnTo>
                <a:lnTo>
                  <a:pt x="672" y="264"/>
                </a:lnTo>
                <a:lnTo>
                  <a:pt x="672" y="270"/>
                </a:lnTo>
                <a:lnTo>
                  <a:pt x="672" y="276"/>
                </a:lnTo>
                <a:lnTo>
                  <a:pt x="666" y="276"/>
                </a:lnTo>
                <a:lnTo>
                  <a:pt x="672" y="276"/>
                </a:lnTo>
                <a:lnTo>
                  <a:pt x="672" y="282"/>
                </a:lnTo>
                <a:lnTo>
                  <a:pt x="678" y="282"/>
                </a:lnTo>
                <a:lnTo>
                  <a:pt x="684" y="282"/>
                </a:lnTo>
                <a:lnTo>
                  <a:pt x="690" y="282"/>
                </a:lnTo>
                <a:lnTo>
                  <a:pt x="690" y="288"/>
                </a:lnTo>
                <a:lnTo>
                  <a:pt x="696" y="288"/>
                </a:lnTo>
                <a:lnTo>
                  <a:pt x="696" y="294"/>
                </a:lnTo>
                <a:lnTo>
                  <a:pt x="696" y="288"/>
                </a:lnTo>
                <a:lnTo>
                  <a:pt x="702" y="288"/>
                </a:lnTo>
                <a:lnTo>
                  <a:pt x="702" y="294"/>
                </a:lnTo>
                <a:lnTo>
                  <a:pt x="708" y="294"/>
                </a:lnTo>
                <a:lnTo>
                  <a:pt x="708" y="300"/>
                </a:lnTo>
                <a:lnTo>
                  <a:pt x="714" y="300"/>
                </a:lnTo>
                <a:lnTo>
                  <a:pt x="714" y="306"/>
                </a:lnTo>
                <a:lnTo>
                  <a:pt x="714" y="312"/>
                </a:lnTo>
                <a:lnTo>
                  <a:pt x="714" y="318"/>
                </a:lnTo>
                <a:lnTo>
                  <a:pt x="714" y="324"/>
                </a:lnTo>
                <a:lnTo>
                  <a:pt x="720" y="330"/>
                </a:lnTo>
                <a:lnTo>
                  <a:pt x="726" y="336"/>
                </a:lnTo>
                <a:lnTo>
                  <a:pt x="720" y="336"/>
                </a:lnTo>
                <a:lnTo>
                  <a:pt x="720" y="330"/>
                </a:lnTo>
                <a:lnTo>
                  <a:pt x="714" y="330"/>
                </a:lnTo>
                <a:lnTo>
                  <a:pt x="708" y="330"/>
                </a:lnTo>
                <a:lnTo>
                  <a:pt x="702" y="330"/>
                </a:lnTo>
                <a:lnTo>
                  <a:pt x="696" y="330"/>
                </a:lnTo>
                <a:lnTo>
                  <a:pt x="696" y="336"/>
                </a:lnTo>
                <a:lnTo>
                  <a:pt x="690" y="336"/>
                </a:lnTo>
                <a:lnTo>
                  <a:pt x="684" y="336"/>
                </a:lnTo>
                <a:lnTo>
                  <a:pt x="684" y="330"/>
                </a:lnTo>
                <a:lnTo>
                  <a:pt x="684" y="336"/>
                </a:lnTo>
                <a:lnTo>
                  <a:pt x="678" y="336"/>
                </a:lnTo>
                <a:lnTo>
                  <a:pt x="672" y="336"/>
                </a:lnTo>
                <a:lnTo>
                  <a:pt x="666" y="336"/>
                </a:lnTo>
                <a:lnTo>
                  <a:pt x="672" y="336"/>
                </a:lnTo>
                <a:lnTo>
                  <a:pt x="666" y="336"/>
                </a:lnTo>
                <a:lnTo>
                  <a:pt x="666" y="330"/>
                </a:lnTo>
                <a:lnTo>
                  <a:pt x="660" y="330"/>
                </a:lnTo>
                <a:lnTo>
                  <a:pt x="654" y="330"/>
                </a:lnTo>
                <a:lnTo>
                  <a:pt x="660" y="330"/>
                </a:lnTo>
                <a:lnTo>
                  <a:pt x="654" y="330"/>
                </a:lnTo>
                <a:lnTo>
                  <a:pt x="654" y="324"/>
                </a:lnTo>
                <a:lnTo>
                  <a:pt x="648" y="324"/>
                </a:lnTo>
                <a:lnTo>
                  <a:pt x="648" y="330"/>
                </a:lnTo>
                <a:lnTo>
                  <a:pt x="648" y="324"/>
                </a:lnTo>
                <a:lnTo>
                  <a:pt x="648" y="330"/>
                </a:lnTo>
                <a:lnTo>
                  <a:pt x="648" y="324"/>
                </a:lnTo>
                <a:lnTo>
                  <a:pt x="648" y="330"/>
                </a:lnTo>
                <a:lnTo>
                  <a:pt x="642" y="330"/>
                </a:lnTo>
                <a:lnTo>
                  <a:pt x="642" y="324"/>
                </a:lnTo>
                <a:lnTo>
                  <a:pt x="642" y="330"/>
                </a:lnTo>
                <a:lnTo>
                  <a:pt x="636" y="330"/>
                </a:lnTo>
                <a:lnTo>
                  <a:pt x="642" y="330"/>
                </a:lnTo>
                <a:lnTo>
                  <a:pt x="636" y="330"/>
                </a:lnTo>
                <a:lnTo>
                  <a:pt x="636" y="324"/>
                </a:lnTo>
                <a:lnTo>
                  <a:pt x="636" y="330"/>
                </a:lnTo>
                <a:lnTo>
                  <a:pt x="636" y="324"/>
                </a:lnTo>
                <a:lnTo>
                  <a:pt x="630" y="324"/>
                </a:lnTo>
                <a:lnTo>
                  <a:pt x="624" y="324"/>
                </a:lnTo>
                <a:lnTo>
                  <a:pt x="624" y="318"/>
                </a:lnTo>
                <a:lnTo>
                  <a:pt x="624" y="324"/>
                </a:lnTo>
                <a:lnTo>
                  <a:pt x="624" y="318"/>
                </a:lnTo>
                <a:lnTo>
                  <a:pt x="618" y="318"/>
                </a:lnTo>
                <a:lnTo>
                  <a:pt x="612" y="318"/>
                </a:lnTo>
                <a:lnTo>
                  <a:pt x="606" y="318"/>
                </a:lnTo>
                <a:lnTo>
                  <a:pt x="606" y="324"/>
                </a:lnTo>
                <a:lnTo>
                  <a:pt x="612" y="324"/>
                </a:lnTo>
                <a:lnTo>
                  <a:pt x="606" y="324"/>
                </a:lnTo>
                <a:lnTo>
                  <a:pt x="606" y="330"/>
                </a:lnTo>
                <a:lnTo>
                  <a:pt x="606" y="336"/>
                </a:lnTo>
                <a:lnTo>
                  <a:pt x="600" y="336"/>
                </a:lnTo>
                <a:lnTo>
                  <a:pt x="594" y="336"/>
                </a:lnTo>
                <a:lnTo>
                  <a:pt x="594" y="342"/>
                </a:lnTo>
                <a:lnTo>
                  <a:pt x="588" y="342"/>
                </a:lnTo>
                <a:lnTo>
                  <a:pt x="582" y="342"/>
                </a:lnTo>
                <a:lnTo>
                  <a:pt x="576" y="342"/>
                </a:lnTo>
                <a:lnTo>
                  <a:pt x="570" y="342"/>
                </a:lnTo>
                <a:lnTo>
                  <a:pt x="570" y="336"/>
                </a:lnTo>
                <a:lnTo>
                  <a:pt x="564" y="336"/>
                </a:lnTo>
                <a:lnTo>
                  <a:pt x="558" y="336"/>
                </a:lnTo>
                <a:lnTo>
                  <a:pt x="558" y="330"/>
                </a:lnTo>
                <a:lnTo>
                  <a:pt x="558" y="336"/>
                </a:lnTo>
                <a:lnTo>
                  <a:pt x="558" y="330"/>
                </a:lnTo>
                <a:lnTo>
                  <a:pt x="552" y="330"/>
                </a:lnTo>
                <a:lnTo>
                  <a:pt x="552" y="336"/>
                </a:lnTo>
                <a:lnTo>
                  <a:pt x="558" y="336"/>
                </a:lnTo>
                <a:lnTo>
                  <a:pt x="552" y="336"/>
                </a:lnTo>
                <a:lnTo>
                  <a:pt x="546" y="336"/>
                </a:lnTo>
                <a:lnTo>
                  <a:pt x="546" y="342"/>
                </a:lnTo>
                <a:lnTo>
                  <a:pt x="540" y="342"/>
                </a:lnTo>
                <a:lnTo>
                  <a:pt x="534" y="342"/>
                </a:lnTo>
                <a:lnTo>
                  <a:pt x="534" y="348"/>
                </a:lnTo>
                <a:lnTo>
                  <a:pt x="528" y="348"/>
                </a:lnTo>
                <a:lnTo>
                  <a:pt x="522" y="348"/>
                </a:lnTo>
                <a:lnTo>
                  <a:pt x="522" y="354"/>
                </a:lnTo>
                <a:lnTo>
                  <a:pt x="516" y="348"/>
                </a:lnTo>
                <a:lnTo>
                  <a:pt x="516" y="354"/>
                </a:lnTo>
                <a:lnTo>
                  <a:pt x="510" y="354"/>
                </a:lnTo>
                <a:lnTo>
                  <a:pt x="504" y="354"/>
                </a:lnTo>
                <a:lnTo>
                  <a:pt x="504" y="360"/>
                </a:lnTo>
                <a:lnTo>
                  <a:pt x="498" y="360"/>
                </a:lnTo>
                <a:lnTo>
                  <a:pt x="492" y="360"/>
                </a:lnTo>
                <a:lnTo>
                  <a:pt x="492" y="354"/>
                </a:lnTo>
                <a:lnTo>
                  <a:pt x="486" y="354"/>
                </a:lnTo>
                <a:lnTo>
                  <a:pt x="480" y="354"/>
                </a:lnTo>
                <a:lnTo>
                  <a:pt x="474" y="354"/>
                </a:lnTo>
                <a:lnTo>
                  <a:pt x="474" y="348"/>
                </a:lnTo>
                <a:lnTo>
                  <a:pt x="468" y="348"/>
                </a:lnTo>
                <a:lnTo>
                  <a:pt x="468" y="354"/>
                </a:lnTo>
                <a:lnTo>
                  <a:pt x="474" y="354"/>
                </a:lnTo>
                <a:lnTo>
                  <a:pt x="468" y="354"/>
                </a:lnTo>
                <a:lnTo>
                  <a:pt x="462" y="354"/>
                </a:lnTo>
                <a:lnTo>
                  <a:pt x="462" y="360"/>
                </a:lnTo>
                <a:lnTo>
                  <a:pt x="462" y="366"/>
                </a:lnTo>
                <a:lnTo>
                  <a:pt x="456" y="366"/>
                </a:lnTo>
                <a:lnTo>
                  <a:pt x="456" y="372"/>
                </a:lnTo>
                <a:lnTo>
                  <a:pt x="456" y="378"/>
                </a:lnTo>
                <a:lnTo>
                  <a:pt x="450" y="378"/>
                </a:lnTo>
                <a:lnTo>
                  <a:pt x="450" y="384"/>
                </a:lnTo>
                <a:lnTo>
                  <a:pt x="444" y="390"/>
                </a:lnTo>
                <a:lnTo>
                  <a:pt x="438" y="390"/>
                </a:lnTo>
                <a:lnTo>
                  <a:pt x="432" y="390"/>
                </a:lnTo>
                <a:lnTo>
                  <a:pt x="432" y="384"/>
                </a:lnTo>
                <a:lnTo>
                  <a:pt x="426" y="384"/>
                </a:lnTo>
                <a:lnTo>
                  <a:pt x="420" y="384"/>
                </a:lnTo>
                <a:lnTo>
                  <a:pt x="414" y="384"/>
                </a:lnTo>
                <a:lnTo>
                  <a:pt x="414" y="378"/>
                </a:lnTo>
                <a:lnTo>
                  <a:pt x="408" y="378"/>
                </a:lnTo>
                <a:lnTo>
                  <a:pt x="402" y="378"/>
                </a:lnTo>
                <a:lnTo>
                  <a:pt x="396" y="378"/>
                </a:lnTo>
                <a:lnTo>
                  <a:pt x="390" y="378"/>
                </a:lnTo>
                <a:lnTo>
                  <a:pt x="384" y="378"/>
                </a:lnTo>
                <a:lnTo>
                  <a:pt x="378" y="378"/>
                </a:lnTo>
                <a:lnTo>
                  <a:pt x="372" y="378"/>
                </a:lnTo>
                <a:lnTo>
                  <a:pt x="372" y="372"/>
                </a:lnTo>
                <a:lnTo>
                  <a:pt x="366" y="372"/>
                </a:lnTo>
                <a:lnTo>
                  <a:pt x="360" y="372"/>
                </a:lnTo>
                <a:lnTo>
                  <a:pt x="354" y="372"/>
                </a:lnTo>
                <a:lnTo>
                  <a:pt x="348" y="372"/>
                </a:lnTo>
                <a:lnTo>
                  <a:pt x="342" y="372"/>
                </a:lnTo>
                <a:lnTo>
                  <a:pt x="336" y="372"/>
                </a:lnTo>
                <a:lnTo>
                  <a:pt x="336" y="366"/>
                </a:lnTo>
                <a:lnTo>
                  <a:pt x="336" y="360"/>
                </a:lnTo>
                <a:lnTo>
                  <a:pt x="330" y="354"/>
                </a:lnTo>
                <a:lnTo>
                  <a:pt x="324" y="354"/>
                </a:lnTo>
                <a:lnTo>
                  <a:pt x="324" y="348"/>
                </a:lnTo>
                <a:lnTo>
                  <a:pt x="318" y="348"/>
                </a:lnTo>
                <a:lnTo>
                  <a:pt x="318" y="342"/>
                </a:lnTo>
                <a:lnTo>
                  <a:pt x="312" y="342"/>
                </a:lnTo>
                <a:lnTo>
                  <a:pt x="306" y="342"/>
                </a:lnTo>
                <a:lnTo>
                  <a:pt x="306" y="336"/>
                </a:lnTo>
                <a:lnTo>
                  <a:pt x="300" y="336"/>
                </a:lnTo>
                <a:lnTo>
                  <a:pt x="294" y="330"/>
                </a:lnTo>
                <a:lnTo>
                  <a:pt x="288" y="330"/>
                </a:lnTo>
                <a:lnTo>
                  <a:pt x="282" y="330"/>
                </a:lnTo>
                <a:lnTo>
                  <a:pt x="276" y="330"/>
                </a:lnTo>
                <a:lnTo>
                  <a:pt x="276" y="336"/>
                </a:lnTo>
                <a:lnTo>
                  <a:pt x="270" y="336"/>
                </a:lnTo>
                <a:lnTo>
                  <a:pt x="264" y="336"/>
                </a:lnTo>
                <a:lnTo>
                  <a:pt x="264" y="342"/>
                </a:lnTo>
                <a:lnTo>
                  <a:pt x="258" y="342"/>
                </a:lnTo>
                <a:lnTo>
                  <a:pt x="258" y="348"/>
                </a:lnTo>
                <a:lnTo>
                  <a:pt x="252" y="354"/>
                </a:lnTo>
                <a:lnTo>
                  <a:pt x="252" y="360"/>
                </a:lnTo>
                <a:lnTo>
                  <a:pt x="246" y="360"/>
                </a:lnTo>
                <a:lnTo>
                  <a:pt x="246" y="366"/>
                </a:lnTo>
                <a:lnTo>
                  <a:pt x="240" y="372"/>
                </a:lnTo>
                <a:lnTo>
                  <a:pt x="234" y="372"/>
                </a:lnTo>
                <a:lnTo>
                  <a:pt x="234" y="378"/>
                </a:lnTo>
                <a:lnTo>
                  <a:pt x="234" y="372"/>
                </a:lnTo>
                <a:lnTo>
                  <a:pt x="228" y="378"/>
                </a:lnTo>
                <a:lnTo>
                  <a:pt x="228" y="384"/>
                </a:lnTo>
                <a:lnTo>
                  <a:pt x="234" y="384"/>
                </a:lnTo>
                <a:lnTo>
                  <a:pt x="234" y="390"/>
                </a:lnTo>
                <a:lnTo>
                  <a:pt x="234" y="396"/>
                </a:lnTo>
                <a:lnTo>
                  <a:pt x="234" y="402"/>
                </a:lnTo>
                <a:lnTo>
                  <a:pt x="234" y="408"/>
                </a:lnTo>
                <a:lnTo>
                  <a:pt x="234" y="414"/>
                </a:lnTo>
                <a:lnTo>
                  <a:pt x="234" y="420"/>
                </a:lnTo>
                <a:lnTo>
                  <a:pt x="234" y="426"/>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4" name="Freeform 24">
            <a:extLst>
              <a:ext uri="{FF2B5EF4-FFF2-40B4-BE49-F238E27FC236}">
                <a16:creationId xmlns:a16="http://schemas.microsoft.com/office/drawing/2014/main" id="{0ADBFA48-5C6E-BB44-A274-16E4BDF99916}"/>
              </a:ext>
            </a:extLst>
          </p:cNvPr>
          <p:cNvSpPr>
            <a:spLocks noEditPoints="1"/>
          </p:cNvSpPr>
          <p:nvPr>
            <p:custDataLst>
              <p:tags r:id="rId22"/>
            </p:custDataLst>
          </p:nvPr>
        </p:nvSpPr>
        <p:spPr bwMode="gray">
          <a:xfrm>
            <a:off x="3721033" y="3868615"/>
            <a:ext cx="765698" cy="466045"/>
          </a:xfrm>
          <a:custGeom>
            <a:avLst/>
            <a:gdLst>
              <a:gd name="T0" fmla="*/ 233201 w 666"/>
              <a:gd name="T1" fmla="*/ 33939 h 540"/>
              <a:gd name="T2" fmla="*/ 233201 w 666"/>
              <a:gd name="T3" fmla="*/ 46544 h 540"/>
              <a:gd name="T4" fmla="*/ 218687 w 666"/>
              <a:gd name="T5" fmla="*/ 57211 h 540"/>
              <a:gd name="T6" fmla="*/ 209978 w 666"/>
              <a:gd name="T7" fmla="*/ 74665 h 540"/>
              <a:gd name="T8" fmla="*/ 199334 w 666"/>
              <a:gd name="T9" fmla="*/ 90180 h 540"/>
              <a:gd name="T10" fmla="*/ 195464 w 666"/>
              <a:gd name="T11" fmla="*/ 106664 h 540"/>
              <a:gd name="T12" fmla="*/ 186755 w 666"/>
              <a:gd name="T13" fmla="*/ 119270 h 540"/>
              <a:gd name="T14" fmla="*/ 179014 w 666"/>
              <a:gd name="T15" fmla="*/ 136724 h 540"/>
              <a:gd name="T16" fmla="*/ 172240 w 666"/>
              <a:gd name="T17" fmla="*/ 145451 h 540"/>
              <a:gd name="T18" fmla="*/ 159661 w 666"/>
              <a:gd name="T19" fmla="*/ 140603 h 540"/>
              <a:gd name="T20" fmla="*/ 154823 w 666"/>
              <a:gd name="T21" fmla="*/ 138664 h 540"/>
              <a:gd name="T22" fmla="*/ 144178 w 666"/>
              <a:gd name="T23" fmla="*/ 138664 h 540"/>
              <a:gd name="T24" fmla="*/ 131599 w 666"/>
              <a:gd name="T25" fmla="*/ 151269 h 540"/>
              <a:gd name="T26" fmla="*/ 123858 w 666"/>
              <a:gd name="T27" fmla="*/ 165814 h 540"/>
              <a:gd name="T28" fmla="*/ 115150 w 666"/>
              <a:gd name="T29" fmla="*/ 181329 h 540"/>
              <a:gd name="T30" fmla="*/ 108375 w 666"/>
              <a:gd name="T31" fmla="*/ 179390 h 540"/>
              <a:gd name="T32" fmla="*/ 110311 w 666"/>
              <a:gd name="T33" fmla="*/ 185208 h 540"/>
              <a:gd name="T34" fmla="*/ 95796 w 666"/>
              <a:gd name="T35" fmla="*/ 188117 h 540"/>
              <a:gd name="T36" fmla="*/ 90958 w 666"/>
              <a:gd name="T37" fmla="*/ 188117 h 540"/>
              <a:gd name="T38" fmla="*/ 87088 w 666"/>
              <a:gd name="T39" fmla="*/ 188117 h 540"/>
              <a:gd name="T40" fmla="*/ 83217 w 666"/>
              <a:gd name="T41" fmla="*/ 185208 h 540"/>
              <a:gd name="T42" fmla="*/ 81282 w 666"/>
              <a:gd name="T43" fmla="*/ 188117 h 540"/>
              <a:gd name="T44" fmla="*/ 78379 w 666"/>
              <a:gd name="T45" fmla="*/ 188117 h 540"/>
              <a:gd name="T46" fmla="*/ 74508 w 666"/>
              <a:gd name="T47" fmla="*/ 191995 h 540"/>
              <a:gd name="T48" fmla="*/ 67735 w 666"/>
              <a:gd name="T49" fmla="*/ 190056 h 540"/>
              <a:gd name="T50" fmla="*/ 61929 w 666"/>
              <a:gd name="T51" fmla="*/ 188117 h 540"/>
              <a:gd name="T52" fmla="*/ 55155 w 666"/>
              <a:gd name="T53" fmla="*/ 181329 h 540"/>
              <a:gd name="T54" fmla="*/ 55155 w 666"/>
              <a:gd name="T55" fmla="*/ 174542 h 540"/>
              <a:gd name="T56" fmla="*/ 57091 w 666"/>
              <a:gd name="T57" fmla="*/ 168723 h 540"/>
              <a:gd name="T58" fmla="*/ 55155 w 666"/>
              <a:gd name="T59" fmla="*/ 170662 h 540"/>
              <a:gd name="T60" fmla="*/ 53220 w 666"/>
              <a:gd name="T61" fmla="*/ 164845 h 540"/>
              <a:gd name="T62" fmla="*/ 49350 w 666"/>
              <a:gd name="T63" fmla="*/ 159996 h 540"/>
              <a:gd name="T64" fmla="*/ 46447 w 666"/>
              <a:gd name="T65" fmla="*/ 161935 h 540"/>
              <a:gd name="T66" fmla="*/ 31932 w 666"/>
              <a:gd name="T67" fmla="*/ 151269 h 540"/>
              <a:gd name="T68" fmla="*/ 19352 w 666"/>
              <a:gd name="T69" fmla="*/ 147391 h 540"/>
              <a:gd name="T70" fmla="*/ 23224 w 666"/>
              <a:gd name="T71" fmla="*/ 147391 h 540"/>
              <a:gd name="T72" fmla="*/ 17418 w 666"/>
              <a:gd name="T73" fmla="*/ 147391 h 540"/>
              <a:gd name="T74" fmla="*/ 14515 w 666"/>
              <a:gd name="T75" fmla="*/ 149329 h 540"/>
              <a:gd name="T76" fmla="*/ 0 w 666"/>
              <a:gd name="T77" fmla="*/ 145451 h 540"/>
              <a:gd name="T78" fmla="*/ 1936 w 666"/>
              <a:gd name="T79" fmla="*/ 127997 h 540"/>
              <a:gd name="T80" fmla="*/ 0 w 666"/>
              <a:gd name="T81" fmla="*/ 108603 h 540"/>
              <a:gd name="T82" fmla="*/ 3870 w 666"/>
              <a:gd name="T83" fmla="*/ 95998 h 540"/>
              <a:gd name="T84" fmla="*/ 14515 w 666"/>
              <a:gd name="T85" fmla="*/ 81452 h 540"/>
              <a:gd name="T86" fmla="*/ 21288 w 666"/>
              <a:gd name="T87" fmla="*/ 67877 h 540"/>
              <a:gd name="T88" fmla="*/ 17418 w 666"/>
              <a:gd name="T89" fmla="*/ 51393 h 540"/>
              <a:gd name="T90" fmla="*/ 19352 w 666"/>
              <a:gd name="T91" fmla="*/ 27151 h 540"/>
              <a:gd name="T92" fmla="*/ 27094 w 666"/>
              <a:gd name="T93" fmla="*/ 10666 h 540"/>
              <a:gd name="T94" fmla="*/ 44512 w 666"/>
              <a:gd name="T95" fmla="*/ 1940 h 540"/>
              <a:gd name="T96" fmla="*/ 67735 w 666"/>
              <a:gd name="T97" fmla="*/ 3878 h 540"/>
              <a:gd name="T98" fmla="*/ 85153 w 666"/>
              <a:gd name="T99" fmla="*/ 17454 h 540"/>
              <a:gd name="T100" fmla="*/ 104505 w 666"/>
              <a:gd name="T101" fmla="*/ 10666 h 540"/>
              <a:gd name="T102" fmla="*/ 120955 w 666"/>
              <a:gd name="T103" fmla="*/ 19393 h 540"/>
              <a:gd name="T104" fmla="*/ 142243 w 666"/>
              <a:gd name="T105" fmla="*/ 17454 h 540"/>
              <a:gd name="T106" fmla="*/ 161596 w 666"/>
              <a:gd name="T107" fmla="*/ 10666 h 540"/>
              <a:gd name="T108" fmla="*/ 184819 w 666"/>
              <a:gd name="T109" fmla="*/ 14545 h 540"/>
              <a:gd name="T110" fmla="*/ 193528 w 666"/>
              <a:gd name="T111" fmla="*/ 17454 h 540"/>
              <a:gd name="T112" fmla="*/ 202237 w 666"/>
              <a:gd name="T113" fmla="*/ 8727 h 540"/>
              <a:gd name="T114" fmla="*/ 216752 w 666"/>
              <a:gd name="T115" fmla="*/ 1940 h 540"/>
              <a:gd name="T116" fmla="*/ 87088 w 666"/>
              <a:gd name="T117" fmla="*/ 188117 h 540"/>
              <a:gd name="T118" fmla="*/ 87088 w 666"/>
              <a:gd name="T119" fmla="*/ 190056 h 540"/>
              <a:gd name="T120" fmla="*/ 14515 w 666"/>
              <a:gd name="T121" fmla="*/ 149329 h 5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6" h="540">
                <a:moveTo>
                  <a:pt x="636" y="48"/>
                </a:moveTo>
                <a:lnTo>
                  <a:pt x="636" y="54"/>
                </a:lnTo>
                <a:lnTo>
                  <a:pt x="636" y="60"/>
                </a:lnTo>
                <a:lnTo>
                  <a:pt x="636" y="66"/>
                </a:lnTo>
                <a:lnTo>
                  <a:pt x="642" y="72"/>
                </a:lnTo>
                <a:lnTo>
                  <a:pt x="642" y="78"/>
                </a:lnTo>
                <a:lnTo>
                  <a:pt x="642" y="84"/>
                </a:lnTo>
                <a:lnTo>
                  <a:pt x="648" y="84"/>
                </a:lnTo>
                <a:lnTo>
                  <a:pt x="654" y="84"/>
                </a:lnTo>
                <a:lnTo>
                  <a:pt x="654" y="90"/>
                </a:lnTo>
                <a:lnTo>
                  <a:pt x="660" y="90"/>
                </a:lnTo>
                <a:lnTo>
                  <a:pt x="660" y="96"/>
                </a:lnTo>
                <a:lnTo>
                  <a:pt x="666" y="96"/>
                </a:lnTo>
                <a:lnTo>
                  <a:pt x="660" y="96"/>
                </a:lnTo>
                <a:lnTo>
                  <a:pt x="666" y="96"/>
                </a:lnTo>
                <a:lnTo>
                  <a:pt x="666" y="102"/>
                </a:lnTo>
                <a:lnTo>
                  <a:pt x="666" y="108"/>
                </a:lnTo>
                <a:lnTo>
                  <a:pt x="666" y="114"/>
                </a:lnTo>
                <a:lnTo>
                  <a:pt x="666" y="120"/>
                </a:lnTo>
                <a:lnTo>
                  <a:pt x="660" y="120"/>
                </a:lnTo>
                <a:lnTo>
                  <a:pt x="660" y="126"/>
                </a:lnTo>
                <a:lnTo>
                  <a:pt x="666" y="126"/>
                </a:lnTo>
                <a:lnTo>
                  <a:pt x="666" y="132"/>
                </a:lnTo>
                <a:lnTo>
                  <a:pt x="660" y="132"/>
                </a:lnTo>
                <a:lnTo>
                  <a:pt x="660" y="138"/>
                </a:lnTo>
                <a:lnTo>
                  <a:pt x="654" y="138"/>
                </a:lnTo>
                <a:lnTo>
                  <a:pt x="648" y="144"/>
                </a:lnTo>
                <a:lnTo>
                  <a:pt x="642" y="144"/>
                </a:lnTo>
                <a:lnTo>
                  <a:pt x="642" y="150"/>
                </a:lnTo>
                <a:lnTo>
                  <a:pt x="636" y="150"/>
                </a:lnTo>
                <a:lnTo>
                  <a:pt x="630" y="144"/>
                </a:lnTo>
                <a:lnTo>
                  <a:pt x="630" y="150"/>
                </a:lnTo>
                <a:lnTo>
                  <a:pt x="624" y="150"/>
                </a:lnTo>
                <a:lnTo>
                  <a:pt x="624" y="156"/>
                </a:lnTo>
                <a:lnTo>
                  <a:pt x="618" y="156"/>
                </a:lnTo>
                <a:lnTo>
                  <a:pt x="618" y="162"/>
                </a:lnTo>
                <a:lnTo>
                  <a:pt x="612" y="162"/>
                </a:lnTo>
                <a:lnTo>
                  <a:pt x="612" y="168"/>
                </a:lnTo>
                <a:lnTo>
                  <a:pt x="612" y="174"/>
                </a:lnTo>
                <a:lnTo>
                  <a:pt x="606" y="174"/>
                </a:lnTo>
                <a:lnTo>
                  <a:pt x="606" y="180"/>
                </a:lnTo>
                <a:lnTo>
                  <a:pt x="606" y="186"/>
                </a:lnTo>
                <a:lnTo>
                  <a:pt x="606" y="192"/>
                </a:lnTo>
                <a:lnTo>
                  <a:pt x="606" y="198"/>
                </a:lnTo>
                <a:lnTo>
                  <a:pt x="600" y="198"/>
                </a:lnTo>
                <a:lnTo>
                  <a:pt x="600" y="204"/>
                </a:lnTo>
                <a:lnTo>
                  <a:pt x="600" y="210"/>
                </a:lnTo>
                <a:lnTo>
                  <a:pt x="594" y="210"/>
                </a:lnTo>
                <a:lnTo>
                  <a:pt x="594" y="216"/>
                </a:lnTo>
                <a:lnTo>
                  <a:pt x="588" y="216"/>
                </a:lnTo>
                <a:lnTo>
                  <a:pt x="588" y="222"/>
                </a:lnTo>
                <a:lnTo>
                  <a:pt x="588" y="228"/>
                </a:lnTo>
                <a:lnTo>
                  <a:pt x="588" y="234"/>
                </a:lnTo>
                <a:lnTo>
                  <a:pt x="588" y="240"/>
                </a:lnTo>
                <a:lnTo>
                  <a:pt x="588" y="246"/>
                </a:lnTo>
                <a:lnTo>
                  <a:pt x="582" y="246"/>
                </a:lnTo>
                <a:lnTo>
                  <a:pt x="576" y="246"/>
                </a:lnTo>
                <a:lnTo>
                  <a:pt x="576" y="252"/>
                </a:lnTo>
                <a:lnTo>
                  <a:pt x="570" y="252"/>
                </a:lnTo>
                <a:lnTo>
                  <a:pt x="564" y="252"/>
                </a:lnTo>
                <a:lnTo>
                  <a:pt x="564" y="258"/>
                </a:lnTo>
                <a:lnTo>
                  <a:pt x="570" y="258"/>
                </a:lnTo>
                <a:lnTo>
                  <a:pt x="570" y="264"/>
                </a:lnTo>
                <a:lnTo>
                  <a:pt x="570" y="270"/>
                </a:lnTo>
                <a:lnTo>
                  <a:pt x="570" y="276"/>
                </a:lnTo>
                <a:lnTo>
                  <a:pt x="564" y="276"/>
                </a:lnTo>
                <a:lnTo>
                  <a:pt x="564" y="282"/>
                </a:lnTo>
                <a:lnTo>
                  <a:pt x="564" y="288"/>
                </a:lnTo>
                <a:lnTo>
                  <a:pt x="558" y="288"/>
                </a:lnTo>
                <a:lnTo>
                  <a:pt x="558" y="294"/>
                </a:lnTo>
                <a:lnTo>
                  <a:pt x="552" y="294"/>
                </a:lnTo>
                <a:lnTo>
                  <a:pt x="552" y="300"/>
                </a:lnTo>
                <a:lnTo>
                  <a:pt x="546" y="300"/>
                </a:lnTo>
                <a:lnTo>
                  <a:pt x="540" y="300"/>
                </a:lnTo>
                <a:lnTo>
                  <a:pt x="540" y="306"/>
                </a:lnTo>
                <a:lnTo>
                  <a:pt x="534" y="306"/>
                </a:lnTo>
                <a:lnTo>
                  <a:pt x="534" y="312"/>
                </a:lnTo>
                <a:lnTo>
                  <a:pt x="528" y="312"/>
                </a:lnTo>
                <a:lnTo>
                  <a:pt x="534" y="312"/>
                </a:lnTo>
                <a:lnTo>
                  <a:pt x="534" y="318"/>
                </a:lnTo>
                <a:lnTo>
                  <a:pt x="534" y="324"/>
                </a:lnTo>
                <a:lnTo>
                  <a:pt x="528" y="324"/>
                </a:lnTo>
                <a:lnTo>
                  <a:pt x="528" y="330"/>
                </a:lnTo>
                <a:lnTo>
                  <a:pt x="528" y="336"/>
                </a:lnTo>
                <a:lnTo>
                  <a:pt x="528" y="342"/>
                </a:lnTo>
                <a:lnTo>
                  <a:pt x="522" y="342"/>
                </a:lnTo>
                <a:lnTo>
                  <a:pt x="522" y="348"/>
                </a:lnTo>
                <a:lnTo>
                  <a:pt x="522" y="354"/>
                </a:lnTo>
                <a:lnTo>
                  <a:pt x="522" y="360"/>
                </a:lnTo>
                <a:lnTo>
                  <a:pt x="516" y="360"/>
                </a:lnTo>
                <a:lnTo>
                  <a:pt x="516" y="366"/>
                </a:lnTo>
                <a:lnTo>
                  <a:pt x="510" y="366"/>
                </a:lnTo>
                <a:lnTo>
                  <a:pt x="510" y="372"/>
                </a:lnTo>
                <a:lnTo>
                  <a:pt x="510" y="378"/>
                </a:lnTo>
                <a:lnTo>
                  <a:pt x="510" y="384"/>
                </a:lnTo>
                <a:lnTo>
                  <a:pt x="504" y="384"/>
                </a:lnTo>
                <a:lnTo>
                  <a:pt x="504" y="390"/>
                </a:lnTo>
                <a:lnTo>
                  <a:pt x="498" y="390"/>
                </a:lnTo>
                <a:lnTo>
                  <a:pt x="498" y="396"/>
                </a:lnTo>
                <a:lnTo>
                  <a:pt x="492" y="396"/>
                </a:lnTo>
                <a:lnTo>
                  <a:pt x="498" y="396"/>
                </a:lnTo>
                <a:lnTo>
                  <a:pt x="498" y="402"/>
                </a:lnTo>
                <a:lnTo>
                  <a:pt x="492" y="402"/>
                </a:lnTo>
                <a:lnTo>
                  <a:pt x="498" y="402"/>
                </a:lnTo>
                <a:lnTo>
                  <a:pt x="492" y="402"/>
                </a:lnTo>
                <a:lnTo>
                  <a:pt x="492" y="408"/>
                </a:lnTo>
                <a:lnTo>
                  <a:pt x="492" y="414"/>
                </a:lnTo>
                <a:lnTo>
                  <a:pt x="486" y="408"/>
                </a:lnTo>
                <a:lnTo>
                  <a:pt x="486" y="414"/>
                </a:lnTo>
                <a:lnTo>
                  <a:pt x="480" y="414"/>
                </a:lnTo>
                <a:lnTo>
                  <a:pt x="474" y="414"/>
                </a:lnTo>
                <a:lnTo>
                  <a:pt x="468" y="414"/>
                </a:lnTo>
                <a:lnTo>
                  <a:pt x="468" y="408"/>
                </a:lnTo>
                <a:lnTo>
                  <a:pt x="468" y="402"/>
                </a:lnTo>
                <a:lnTo>
                  <a:pt x="462" y="402"/>
                </a:lnTo>
                <a:lnTo>
                  <a:pt x="462" y="408"/>
                </a:lnTo>
                <a:lnTo>
                  <a:pt x="456" y="408"/>
                </a:lnTo>
                <a:lnTo>
                  <a:pt x="456" y="402"/>
                </a:lnTo>
                <a:lnTo>
                  <a:pt x="456" y="396"/>
                </a:lnTo>
                <a:lnTo>
                  <a:pt x="450" y="396"/>
                </a:lnTo>
                <a:lnTo>
                  <a:pt x="456" y="396"/>
                </a:lnTo>
                <a:lnTo>
                  <a:pt x="450" y="396"/>
                </a:lnTo>
                <a:lnTo>
                  <a:pt x="456" y="390"/>
                </a:lnTo>
                <a:lnTo>
                  <a:pt x="450" y="390"/>
                </a:lnTo>
                <a:lnTo>
                  <a:pt x="444" y="390"/>
                </a:lnTo>
                <a:lnTo>
                  <a:pt x="444" y="384"/>
                </a:lnTo>
                <a:lnTo>
                  <a:pt x="438" y="384"/>
                </a:lnTo>
                <a:lnTo>
                  <a:pt x="444" y="384"/>
                </a:lnTo>
                <a:lnTo>
                  <a:pt x="438" y="384"/>
                </a:lnTo>
                <a:lnTo>
                  <a:pt x="438" y="378"/>
                </a:lnTo>
                <a:lnTo>
                  <a:pt x="438" y="384"/>
                </a:lnTo>
                <a:lnTo>
                  <a:pt x="438" y="390"/>
                </a:lnTo>
                <a:lnTo>
                  <a:pt x="438" y="396"/>
                </a:lnTo>
                <a:lnTo>
                  <a:pt x="432" y="396"/>
                </a:lnTo>
                <a:lnTo>
                  <a:pt x="426" y="396"/>
                </a:lnTo>
                <a:lnTo>
                  <a:pt x="420" y="396"/>
                </a:lnTo>
                <a:lnTo>
                  <a:pt x="414" y="390"/>
                </a:lnTo>
                <a:lnTo>
                  <a:pt x="420" y="390"/>
                </a:lnTo>
                <a:lnTo>
                  <a:pt x="414" y="390"/>
                </a:lnTo>
                <a:lnTo>
                  <a:pt x="420" y="390"/>
                </a:lnTo>
                <a:lnTo>
                  <a:pt x="414" y="390"/>
                </a:lnTo>
                <a:lnTo>
                  <a:pt x="414" y="384"/>
                </a:lnTo>
                <a:lnTo>
                  <a:pt x="414" y="390"/>
                </a:lnTo>
                <a:lnTo>
                  <a:pt x="408" y="390"/>
                </a:lnTo>
                <a:lnTo>
                  <a:pt x="408" y="396"/>
                </a:lnTo>
                <a:lnTo>
                  <a:pt x="402" y="396"/>
                </a:lnTo>
                <a:lnTo>
                  <a:pt x="402" y="402"/>
                </a:lnTo>
                <a:lnTo>
                  <a:pt x="396" y="402"/>
                </a:lnTo>
                <a:lnTo>
                  <a:pt x="396" y="408"/>
                </a:lnTo>
                <a:lnTo>
                  <a:pt x="390" y="408"/>
                </a:lnTo>
                <a:lnTo>
                  <a:pt x="390" y="414"/>
                </a:lnTo>
                <a:lnTo>
                  <a:pt x="384" y="414"/>
                </a:lnTo>
                <a:lnTo>
                  <a:pt x="384" y="420"/>
                </a:lnTo>
                <a:lnTo>
                  <a:pt x="378" y="420"/>
                </a:lnTo>
                <a:lnTo>
                  <a:pt x="378" y="426"/>
                </a:lnTo>
                <a:lnTo>
                  <a:pt x="372" y="426"/>
                </a:lnTo>
                <a:lnTo>
                  <a:pt x="372" y="432"/>
                </a:lnTo>
                <a:lnTo>
                  <a:pt x="366" y="432"/>
                </a:lnTo>
                <a:lnTo>
                  <a:pt x="366" y="438"/>
                </a:lnTo>
                <a:lnTo>
                  <a:pt x="360" y="438"/>
                </a:lnTo>
                <a:lnTo>
                  <a:pt x="360" y="444"/>
                </a:lnTo>
                <a:lnTo>
                  <a:pt x="354" y="444"/>
                </a:lnTo>
                <a:lnTo>
                  <a:pt x="354" y="450"/>
                </a:lnTo>
                <a:lnTo>
                  <a:pt x="348" y="450"/>
                </a:lnTo>
                <a:lnTo>
                  <a:pt x="342" y="456"/>
                </a:lnTo>
                <a:lnTo>
                  <a:pt x="342" y="462"/>
                </a:lnTo>
                <a:lnTo>
                  <a:pt x="342" y="468"/>
                </a:lnTo>
                <a:lnTo>
                  <a:pt x="348" y="468"/>
                </a:lnTo>
                <a:lnTo>
                  <a:pt x="342" y="474"/>
                </a:lnTo>
                <a:lnTo>
                  <a:pt x="342" y="480"/>
                </a:lnTo>
                <a:lnTo>
                  <a:pt x="342" y="486"/>
                </a:lnTo>
                <a:lnTo>
                  <a:pt x="342" y="492"/>
                </a:lnTo>
                <a:lnTo>
                  <a:pt x="336" y="492"/>
                </a:lnTo>
                <a:lnTo>
                  <a:pt x="336" y="498"/>
                </a:lnTo>
                <a:lnTo>
                  <a:pt x="336" y="504"/>
                </a:lnTo>
                <a:lnTo>
                  <a:pt x="330" y="504"/>
                </a:lnTo>
                <a:lnTo>
                  <a:pt x="336" y="504"/>
                </a:lnTo>
                <a:lnTo>
                  <a:pt x="330" y="504"/>
                </a:lnTo>
                <a:lnTo>
                  <a:pt x="330" y="510"/>
                </a:lnTo>
                <a:lnTo>
                  <a:pt x="324" y="510"/>
                </a:lnTo>
                <a:lnTo>
                  <a:pt x="324" y="516"/>
                </a:lnTo>
                <a:lnTo>
                  <a:pt x="318" y="516"/>
                </a:lnTo>
                <a:lnTo>
                  <a:pt x="318" y="510"/>
                </a:lnTo>
                <a:lnTo>
                  <a:pt x="318" y="504"/>
                </a:lnTo>
                <a:lnTo>
                  <a:pt x="312" y="504"/>
                </a:lnTo>
                <a:lnTo>
                  <a:pt x="318" y="504"/>
                </a:lnTo>
                <a:lnTo>
                  <a:pt x="318" y="510"/>
                </a:lnTo>
                <a:lnTo>
                  <a:pt x="318" y="516"/>
                </a:lnTo>
                <a:lnTo>
                  <a:pt x="318" y="510"/>
                </a:lnTo>
                <a:lnTo>
                  <a:pt x="312" y="510"/>
                </a:lnTo>
                <a:lnTo>
                  <a:pt x="312" y="504"/>
                </a:lnTo>
                <a:lnTo>
                  <a:pt x="306" y="504"/>
                </a:lnTo>
                <a:lnTo>
                  <a:pt x="312" y="504"/>
                </a:lnTo>
                <a:lnTo>
                  <a:pt x="312" y="510"/>
                </a:lnTo>
                <a:lnTo>
                  <a:pt x="306" y="510"/>
                </a:lnTo>
                <a:lnTo>
                  <a:pt x="306" y="504"/>
                </a:lnTo>
                <a:lnTo>
                  <a:pt x="306" y="510"/>
                </a:lnTo>
                <a:lnTo>
                  <a:pt x="312" y="510"/>
                </a:lnTo>
                <a:lnTo>
                  <a:pt x="306" y="510"/>
                </a:lnTo>
                <a:lnTo>
                  <a:pt x="312" y="510"/>
                </a:lnTo>
                <a:lnTo>
                  <a:pt x="312" y="516"/>
                </a:lnTo>
                <a:lnTo>
                  <a:pt x="312" y="522"/>
                </a:lnTo>
                <a:lnTo>
                  <a:pt x="312" y="516"/>
                </a:lnTo>
                <a:lnTo>
                  <a:pt x="312" y="522"/>
                </a:lnTo>
                <a:lnTo>
                  <a:pt x="312" y="528"/>
                </a:lnTo>
                <a:lnTo>
                  <a:pt x="306" y="528"/>
                </a:lnTo>
                <a:lnTo>
                  <a:pt x="300" y="528"/>
                </a:lnTo>
                <a:lnTo>
                  <a:pt x="294" y="528"/>
                </a:lnTo>
                <a:lnTo>
                  <a:pt x="294" y="522"/>
                </a:lnTo>
                <a:lnTo>
                  <a:pt x="294" y="528"/>
                </a:lnTo>
                <a:lnTo>
                  <a:pt x="288" y="528"/>
                </a:lnTo>
                <a:lnTo>
                  <a:pt x="282" y="528"/>
                </a:lnTo>
                <a:lnTo>
                  <a:pt x="276" y="528"/>
                </a:lnTo>
                <a:lnTo>
                  <a:pt x="270" y="528"/>
                </a:lnTo>
                <a:lnTo>
                  <a:pt x="270" y="522"/>
                </a:lnTo>
                <a:lnTo>
                  <a:pt x="270" y="528"/>
                </a:lnTo>
                <a:lnTo>
                  <a:pt x="276" y="528"/>
                </a:lnTo>
                <a:lnTo>
                  <a:pt x="270" y="528"/>
                </a:lnTo>
                <a:lnTo>
                  <a:pt x="270" y="534"/>
                </a:lnTo>
                <a:lnTo>
                  <a:pt x="270" y="528"/>
                </a:lnTo>
                <a:lnTo>
                  <a:pt x="270" y="534"/>
                </a:lnTo>
                <a:lnTo>
                  <a:pt x="264" y="534"/>
                </a:lnTo>
                <a:lnTo>
                  <a:pt x="258" y="534"/>
                </a:lnTo>
                <a:lnTo>
                  <a:pt x="258" y="528"/>
                </a:lnTo>
                <a:lnTo>
                  <a:pt x="264" y="528"/>
                </a:lnTo>
                <a:lnTo>
                  <a:pt x="264" y="522"/>
                </a:lnTo>
                <a:lnTo>
                  <a:pt x="264" y="528"/>
                </a:lnTo>
                <a:lnTo>
                  <a:pt x="258" y="528"/>
                </a:lnTo>
                <a:lnTo>
                  <a:pt x="264" y="528"/>
                </a:lnTo>
                <a:lnTo>
                  <a:pt x="258" y="528"/>
                </a:lnTo>
                <a:lnTo>
                  <a:pt x="252" y="528"/>
                </a:lnTo>
                <a:lnTo>
                  <a:pt x="252" y="522"/>
                </a:lnTo>
                <a:lnTo>
                  <a:pt x="246" y="522"/>
                </a:lnTo>
                <a:lnTo>
                  <a:pt x="246" y="516"/>
                </a:lnTo>
                <a:lnTo>
                  <a:pt x="246" y="522"/>
                </a:lnTo>
                <a:lnTo>
                  <a:pt x="252" y="522"/>
                </a:lnTo>
                <a:lnTo>
                  <a:pt x="252" y="528"/>
                </a:lnTo>
                <a:lnTo>
                  <a:pt x="246" y="528"/>
                </a:lnTo>
                <a:lnTo>
                  <a:pt x="246" y="522"/>
                </a:lnTo>
                <a:lnTo>
                  <a:pt x="246" y="528"/>
                </a:lnTo>
                <a:lnTo>
                  <a:pt x="252" y="528"/>
                </a:lnTo>
                <a:lnTo>
                  <a:pt x="246" y="528"/>
                </a:lnTo>
                <a:lnTo>
                  <a:pt x="246" y="534"/>
                </a:lnTo>
                <a:lnTo>
                  <a:pt x="246" y="528"/>
                </a:lnTo>
                <a:lnTo>
                  <a:pt x="246" y="522"/>
                </a:lnTo>
                <a:lnTo>
                  <a:pt x="246" y="528"/>
                </a:lnTo>
                <a:lnTo>
                  <a:pt x="240" y="522"/>
                </a:lnTo>
                <a:lnTo>
                  <a:pt x="240" y="516"/>
                </a:lnTo>
                <a:lnTo>
                  <a:pt x="240" y="522"/>
                </a:lnTo>
                <a:lnTo>
                  <a:pt x="234" y="522"/>
                </a:lnTo>
                <a:lnTo>
                  <a:pt x="234" y="516"/>
                </a:lnTo>
                <a:lnTo>
                  <a:pt x="234" y="522"/>
                </a:lnTo>
                <a:lnTo>
                  <a:pt x="234" y="528"/>
                </a:lnTo>
                <a:lnTo>
                  <a:pt x="240" y="528"/>
                </a:lnTo>
                <a:lnTo>
                  <a:pt x="240" y="534"/>
                </a:lnTo>
                <a:lnTo>
                  <a:pt x="234" y="534"/>
                </a:lnTo>
                <a:lnTo>
                  <a:pt x="234" y="528"/>
                </a:lnTo>
                <a:lnTo>
                  <a:pt x="228" y="528"/>
                </a:lnTo>
                <a:lnTo>
                  <a:pt x="234" y="528"/>
                </a:lnTo>
                <a:lnTo>
                  <a:pt x="228" y="528"/>
                </a:lnTo>
                <a:lnTo>
                  <a:pt x="228" y="522"/>
                </a:lnTo>
                <a:lnTo>
                  <a:pt x="234" y="522"/>
                </a:lnTo>
                <a:lnTo>
                  <a:pt x="228" y="522"/>
                </a:lnTo>
                <a:lnTo>
                  <a:pt x="228" y="528"/>
                </a:lnTo>
                <a:lnTo>
                  <a:pt x="228" y="534"/>
                </a:lnTo>
                <a:lnTo>
                  <a:pt x="234" y="534"/>
                </a:lnTo>
                <a:lnTo>
                  <a:pt x="228" y="534"/>
                </a:lnTo>
                <a:lnTo>
                  <a:pt x="228" y="540"/>
                </a:lnTo>
                <a:lnTo>
                  <a:pt x="222" y="540"/>
                </a:lnTo>
                <a:lnTo>
                  <a:pt x="222" y="534"/>
                </a:lnTo>
                <a:lnTo>
                  <a:pt x="222" y="528"/>
                </a:lnTo>
                <a:lnTo>
                  <a:pt x="228" y="522"/>
                </a:lnTo>
                <a:lnTo>
                  <a:pt x="222" y="522"/>
                </a:lnTo>
                <a:lnTo>
                  <a:pt x="222" y="528"/>
                </a:lnTo>
                <a:lnTo>
                  <a:pt x="222" y="534"/>
                </a:lnTo>
                <a:lnTo>
                  <a:pt x="222" y="528"/>
                </a:lnTo>
                <a:lnTo>
                  <a:pt x="216" y="528"/>
                </a:lnTo>
                <a:lnTo>
                  <a:pt x="222" y="528"/>
                </a:lnTo>
                <a:lnTo>
                  <a:pt x="222" y="534"/>
                </a:lnTo>
                <a:lnTo>
                  <a:pt x="222" y="540"/>
                </a:lnTo>
                <a:lnTo>
                  <a:pt x="216" y="540"/>
                </a:lnTo>
                <a:lnTo>
                  <a:pt x="222" y="540"/>
                </a:lnTo>
                <a:lnTo>
                  <a:pt x="216" y="540"/>
                </a:lnTo>
                <a:lnTo>
                  <a:pt x="216" y="534"/>
                </a:lnTo>
                <a:lnTo>
                  <a:pt x="216" y="528"/>
                </a:lnTo>
                <a:lnTo>
                  <a:pt x="216" y="534"/>
                </a:lnTo>
                <a:lnTo>
                  <a:pt x="216" y="540"/>
                </a:lnTo>
                <a:lnTo>
                  <a:pt x="210" y="540"/>
                </a:lnTo>
                <a:lnTo>
                  <a:pt x="204" y="540"/>
                </a:lnTo>
                <a:lnTo>
                  <a:pt x="204" y="534"/>
                </a:lnTo>
                <a:lnTo>
                  <a:pt x="204" y="528"/>
                </a:lnTo>
                <a:lnTo>
                  <a:pt x="204" y="534"/>
                </a:lnTo>
                <a:lnTo>
                  <a:pt x="198" y="534"/>
                </a:lnTo>
                <a:lnTo>
                  <a:pt x="198" y="528"/>
                </a:lnTo>
                <a:lnTo>
                  <a:pt x="198" y="534"/>
                </a:lnTo>
                <a:lnTo>
                  <a:pt x="198" y="540"/>
                </a:lnTo>
                <a:lnTo>
                  <a:pt x="192" y="540"/>
                </a:lnTo>
                <a:lnTo>
                  <a:pt x="186" y="540"/>
                </a:lnTo>
                <a:lnTo>
                  <a:pt x="192" y="540"/>
                </a:lnTo>
                <a:lnTo>
                  <a:pt x="192" y="534"/>
                </a:lnTo>
                <a:lnTo>
                  <a:pt x="186" y="534"/>
                </a:lnTo>
                <a:lnTo>
                  <a:pt x="192" y="534"/>
                </a:lnTo>
                <a:lnTo>
                  <a:pt x="186" y="534"/>
                </a:lnTo>
                <a:lnTo>
                  <a:pt x="186" y="540"/>
                </a:lnTo>
                <a:lnTo>
                  <a:pt x="186" y="534"/>
                </a:lnTo>
                <a:lnTo>
                  <a:pt x="180" y="534"/>
                </a:lnTo>
                <a:lnTo>
                  <a:pt x="180" y="540"/>
                </a:lnTo>
                <a:lnTo>
                  <a:pt x="180" y="534"/>
                </a:lnTo>
                <a:lnTo>
                  <a:pt x="174" y="534"/>
                </a:lnTo>
                <a:lnTo>
                  <a:pt x="174" y="528"/>
                </a:lnTo>
                <a:lnTo>
                  <a:pt x="174" y="534"/>
                </a:lnTo>
                <a:lnTo>
                  <a:pt x="174" y="528"/>
                </a:lnTo>
                <a:lnTo>
                  <a:pt x="174" y="534"/>
                </a:lnTo>
                <a:lnTo>
                  <a:pt x="174" y="528"/>
                </a:lnTo>
                <a:lnTo>
                  <a:pt x="168" y="528"/>
                </a:lnTo>
                <a:lnTo>
                  <a:pt x="174" y="528"/>
                </a:lnTo>
                <a:lnTo>
                  <a:pt x="174" y="534"/>
                </a:lnTo>
                <a:lnTo>
                  <a:pt x="174" y="528"/>
                </a:lnTo>
                <a:lnTo>
                  <a:pt x="168" y="528"/>
                </a:lnTo>
                <a:lnTo>
                  <a:pt x="168" y="522"/>
                </a:lnTo>
                <a:lnTo>
                  <a:pt x="162" y="522"/>
                </a:lnTo>
                <a:lnTo>
                  <a:pt x="162" y="516"/>
                </a:lnTo>
                <a:lnTo>
                  <a:pt x="156" y="516"/>
                </a:lnTo>
                <a:lnTo>
                  <a:pt x="156" y="510"/>
                </a:lnTo>
                <a:lnTo>
                  <a:pt x="156" y="504"/>
                </a:lnTo>
                <a:lnTo>
                  <a:pt x="150" y="498"/>
                </a:lnTo>
                <a:lnTo>
                  <a:pt x="150" y="492"/>
                </a:lnTo>
                <a:lnTo>
                  <a:pt x="156" y="492"/>
                </a:lnTo>
                <a:lnTo>
                  <a:pt x="150" y="492"/>
                </a:lnTo>
                <a:lnTo>
                  <a:pt x="156" y="492"/>
                </a:lnTo>
                <a:lnTo>
                  <a:pt x="156" y="498"/>
                </a:lnTo>
                <a:lnTo>
                  <a:pt x="156" y="492"/>
                </a:lnTo>
                <a:lnTo>
                  <a:pt x="156" y="498"/>
                </a:lnTo>
                <a:lnTo>
                  <a:pt x="156" y="492"/>
                </a:lnTo>
                <a:lnTo>
                  <a:pt x="156" y="486"/>
                </a:lnTo>
                <a:lnTo>
                  <a:pt x="156" y="492"/>
                </a:lnTo>
                <a:lnTo>
                  <a:pt x="150" y="492"/>
                </a:lnTo>
                <a:lnTo>
                  <a:pt x="150" y="486"/>
                </a:lnTo>
                <a:lnTo>
                  <a:pt x="144" y="486"/>
                </a:lnTo>
                <a:lnTo>
                  <a:pt x="144" y="480"/>
                </a:lnTo>
                <a:lnTo>
                  <a:pt x="150" y="480"/>
                </a:lnTo>
                <a:lnTo>
                  <a:pt x="156" y="480"/>
                </a:lnTo>
                <a:lnTo>
                  <a:pt x="162" y="480"/>
                </a:lnTo>
                <a:lnTo>
                  <a:pt x="156" y="480"/>
                </a:lnTo>
                <a:lnTo>
                  <a:pt x="156" y="474"/>
                </a:lnTo>
                <a:lnTo>
                  <a:pt x="162" y="474"/>
                </a:lnTo>
                <a:lnTo>
                  <a:pt x="162" y="468"/>
                </a:lnTo>
                <a:lnTo>
                  <a:pt x="162" y="474"/>
                </a:lnTo>
                <a:lnTo>
                  <a:pt x="168" y="474"/>
                </a:lnTo>
                <a:lnTo>
                  <a:pt x="168" y="468"/>
                </a:lnTo>
                <a:lnTo>
                  <a:pt x="162" y="468"/>
                </a:lnTo>
                <a:lnTo>
                  <a:pt x="162" y="474"/>
                </a:lnTo>
                <a:lnTo>
                  <a:pt x="156" y="474"/>
                </a:lnTo>
                <a:lnTo>
                  <a:pt x="156" y="480"/>
                </a:lnTo>
                <a:lnTo>
                  <a:pt x="150" y="480"/>
                </a:lnTo>
                <a:lnTo>
                  <a:pt x="150" y="474"/>
                </a:lnTo>
                <a:lnTo>
                  <a:pt x="156" y="474"/>
                </a:lnTo>
                <a:lnTo>
                  <a:pt x="150" y="474"/>
                </a:lnTo>
                <a:lnTo>
                  <a:pt x="150" y="480"/>
                </a:lnTo>
                <a:lnTo>
                  <a:pt x="156" y="480"/>
                </a:lnTo>
                <a:lnTo>
                  <a:pt x="150" y="480"/>
                </a:lnTo>
                <a:lnTo>
                  <a:pt x="144" y="480"/>
                </a:lnTo>
                <a:lnTo>
                  <a:pt x="144" y="474"/>
                </a:lnTo>
                <a:lnTo>
                  <a:pt x="138" y="474"/>
                </a:lnTo>
                <a:lnTo>
                  <a:pt x="138" y="468"/>
                </a:lnTo>
                <a:lnTo>
                  <a:pt x="144" y="468"/>
                </a:lnTo>
                <a:lnTo>
                  <a:pt x="150" y="468"/>
                </a:lnTo>
                <a:lnTo>
                  <a:pt x="156" y="468"/>
                </a:lnTo>
                <a:lnTo>
                  <a:pt x="162" y="468"/>
                </a:lnTo>
                <a:lnTo>
                  <a:pt x="156" y="468"/>
                </a:lnTo>
                <a:lnTo>
                  <a:pt x="156" y="462"/>
                </a:lnTo>
                <a:lnTo>
                  <a:pt x="150" y="462"/>
                </a:lnTo>
                <a:lnTo>
                  <a:pt x="150" y="468"/>
                </a:lnTo>
                <a:lnTo>
                  <a:pt x="144" y="468"/>
                </a:lnTo>
                <a:lnTo>
                  <a:pt x="144" y="462"/>
                </a:lnTo>
                <a:lnTo>
                  <a:pt x="150" y="462"/>
                </a:lnTo>
                <a:lnTo>
                  <a:pt x="144" y="462"/>
                </a:lnTo>
                <a:lnTo>
                  <a:pt x="144" y="468"/>
                </a:lnTo>
                <a:lnTo>
                  <a:pt x="138" y="468"/>
                </a:lnTo>
                <a:lnTo>
                  <a:pt x="138" y="462"/>
                </a:lnTo>
                <a:lnTo>
                  <a:pt x="132" y="462"/>
                </a:lnTo>
                <a:lnTo>
                  <a:pt x="132" y="456"/>
                </a:lnTo>
                <a:lnTo>
                  <a:pt x="138" y="456"/>
                </a:lnTo>
                <a:lnTo>
                  <a:pt x="138" y="450"/>
                </a:lnTo>
                <a:lnTo>
                  <a:pt x="138" y="456"/>
                </a:lnTo>
                <a:lnTo>
                  <a:pt x="138" y="450"/>
                </a:lnTo>
                <a:lnTo>
                  <a:pt x="144" y="450"/>
                </a:lnTo>
                <a:lnTo>
                  <a:pt x="150" y="450"/>
                </a:lnTo>
                <a:lnTo>
                  <a:pt x="150" y="444"/>
                </a:lnTo>
                <a:lnTo>
                  <a:pt x="150" y="450"/>
                </a:lnTo>
                <a:lnTo>
                  <a:pt x="144" y="450"/>
                </a:lnTo>
                <a:lnTo>
                  <a:pt x="138" y="450"/>
                </a:lnTo>
                <a:lnTo>
                  <a:pt x="144" y="450"/>
                </a:lnTo>
                <a:lnTo>
                  <a:pt x="138" y="450"/>
                </a:lnTo>
                <a:lnTo>
                  <a:pt x="138" y="456"/>
                </a:lnTo>
                <a:lnTo>
                  <a:pt x="132" y="456"/>
                </a:lnTo>
                <a:lnTo>
                  <a:pt x="126" y="456"/>
                </a:lnTo>
                <a:lnTo>
                  <a:pt x="126" y="450"/>
                </a:lnTo>
                <a:lnTo>
                  <a:pt x="126" y="444"/>
                </a:lnTo>
                <a:lnTo>
                  <a:pt x="120" y="444"/>
                </a:lnTo>
                <a:lnTo>
                  <a:pt x="120" y="438"/>
                </a:lnTo>
                <a:lnTo>
                  <a:pt x="114" y="438"/>
                </a:lnTo>
                <a:lnTo>
                  <a:pt x="114" y="432"/>
                </a:lnTo>
                <a:lnTo>
                  <a:pt x="108" y="432"/>
                </a:lnTo>
                <a:lnTo>
                  <a:pt x="102" y="432"/>
                </a:lnTo>
                <a:lnTo>
                  <a:pt x="102" y="426"/>
                </a:lnTo>
                <a:lnTo>
                  <a:pt x="96" y="426"/>
                </a:lnTo>
                <a:lnTo>
                  <a:pt x="90" y="426"/>
                </a:lnTo>
                <a:lnTo>
                  <a:pt x="84" y="426"/>
                </a:lnTo>
                <a:lnTo>
                  <a:pt x="84" y="420"/>
                </a:lnTo>
                <a:lnTo>
                  <a:pt x="78" y="420"/>
                </a:lnTo>
                <a:lnTo>
                  <a:pt x="72" y="420"/>
                </a:lnTo>
                <a:lnTo>
                  <a:pt x="66" y="420"/>
                </a:lnTo>
                <a:lnTo>
                  <a:pt x="60" y="420"/>
                </a:lnTo>
                <a:lnTo>
                  <a:pt x="54" y="420"/>
                </a:lnTo>
                <a:lnTo>
                  <a:pt x="48" y="420"/>
                </a:lnTo>
                <a:lnTo>
                  <a:pt x="42" y="420"/>
                </a:lnTo>
                <a:lnTo>
                  <a:pt x="48" y="420"/>
                </a:lnTo>
                <a:lnTo>
                  <a:pt x="48" y="414"/>
                </a:lnTo>
                <a:lnTo>
                  <a:pt x="54" y="414"/>
                </a:lnTo>
                <a:lnTo>
                  <a:pt x="60" y="414"/>
                </a:lnTo>
                <a:lnTo>
                  <a:pt x="66" y="414"/>
                </a:lnTo>
                <a:lnTo>
                  <a:pt x="66" y="408"/>
                </a:lnTo>
                <a:lnTo>
                  <a:pt x="66" y="414"/>
                </a:lnTo>
                <a:lnTo>
                  <a:pt x="72" y="414"/>
                </a:lnTo>
                <a:lnTo>
                  <a:pt x="78" y="414"/>
                </a:lnTo>
                <a:lnTo>
                  <a:pt x="78" y="420"/>
                </a:lnTo>
                <a:lnTo>
                  <a:pt x="78" y="414"/>
                </a:lnTo>
                <a:lnTo>
                  <a:pt x="72" y="414"/>
                </a:lnTo>
                <a:lnTo>
                  <a:pt x="72" y="420"/>
                </a:lnTo>
                <a:lnTo>
                  <a:pt x="72" y="414"/>
                </a:lnTo>
                <a:lnTo>
                  <a:pt x="66" y="414"/>
                </a:lnTo>
                <a:lnTo>
                  <a:pt x="72" y="414"/>
                </a:lnTo>
                <a:lnTo>
                  <a:pt x="72" y="420"/>
                </a:lnTo>
                <a:lnTo>
                  <a:pt x="78" y="420"/>
                </a:lnTo>
                <a:lnTo>
                  <a:pt x="84" y="420"/>
                </a:lnTo>
                <a:lnTo>
                  <a:pt x="84" y="414"/>
                </a:lnTo>
                <a:lnTo>
                  <a:pt x="78" y="414"/>
                </a:lnTo>
                <a:lnTo>
                  <a:pt x="72" y="414"/>
                </a:lnTo>
                <a:lnTo>
                  <a:pt x="66" y="408"/>
                </a:lnTo>
                <a:lnTo>
                  <a:pt x="60" y="408"/>
                </a:lnTo>
                <a:lnTo>
                  <a:pt x="54" y="408"/>
                </a:lnTo>
                <a:lnTo>
                  <a:pt x="54" y="414"/>
                </a:lnTo>
                <a:lnTo>
                  <a:pt x="48" y="414"/>
                </a:lnTo>
                <a:lnTo>
                  <a:pt x="42" y="414"/>
                </a:lnTo>
                <a:lnTo>
                  <a:pt x="42" y="408"/>
                </a:lnTo>
                <a:lnTo>
                  <a:pt x="42" y="414"/>
                </a:lnTo>
                <a:lnTo>
                  <a:pt x="42" y="420"/>
                </a:lnTo>
                <a:lnTo>
                  <a:pt x="42" y="414"/>
                </a:lnTo>
                <a:lnTo>
                  <a:pt x="42" y="420"/>
                </a:lnTo>
                <a:lnTo>
                  <a:pt x="36" y="420"/>
                </a:lnTo>
                <a:lnTo>
                  <a:pt x="42" y="420"/>
                </a:lnTo>
                <a:lnTo>
                  <a:pt x="36" y="420"/>
                </a:lnTo>
                <a:lnTo>
                  <a:pt x="42" y="420"/>
                </a:lnTo>
                <a:lnTo>
                  <a:pt x="36" y="420"/>
                </a:lnTo>
                <a:lnTo>
                  <a:pt x="42" y="420"/>
                </a:lnTo>
                <a:lnTo>
                  <a:pt x="36" y="420"/>
                </a:lnTo>
                <a:lnTo>
                  <a:pt x="30" y="420"/>
                </a:lnTo>
                <a:lnTo>
                  <a:pt x="24" y="420"/>
                </a:lnTo>
                <a:lnTo>
                  <a:pt x="18" y="420"/>
                </a:lnTo>
                <a:lnTo>
                  <a:pt x="12" y="420"/>
                </a:lnTo>
                <a:lnTo>
                  <a:pt x="6" y="420"/>
                </a:lnTo>
                <a:lnTo>
                  <a:pt x="6" y="426"/>
                </a:lnTo>
                <a:lnTo>
                  <a:pt x="0" y="426"/>
                </a:lnTo>
                <a:lnTo>
                  <a:pt x="0" y="420"/>
                </a:lnTo>
                <a:lnTo>
                  <a:pt x="0" y="414"/>
                </a:lnTo>
                <a:lnTo>
                  <a:pt x="6" y="414"/>
                </a:lnTo>
                <a:lnTo>
                  <a:pt x="0" y="408"/>
                </a:lnTo>
                <a:lnTo>
                  <a:pt x="6" y="408"/>
                </a:lnTo>
                <a:lnTo>
                  <a:pt x="6" y="402"/>
                </a:lnTo>
                <a:lnTo>
                  <a:pt x="0" y="402"/>
                </a:lnTo>
                <a:lnTo>
                  <a:pt x="6" y="396"/>
                </a:lnTo>
                <a:lnTo>
                  <a:pt x="6" y="390"/>
                </a:lnTo>
                <a:lnTo>
                  <a:pt x="0" y="390"/>
                </a:lnTo>
                <a:lnTo>
                  <a:pt x="6" y="390"/>
                </a:lnTo>
                <a:lnTo>
                  <a:pt x="6" y="384"/>
                </a:lnTo>
                <a:lnTo>
                  <a:pt x="6" y="378"/>
                </a:lnTo>
                <a:lnTo>
                  <a:pt x="6" y="372"/>
                </a:lnTo>
                <a:lnTo>
                  <a:pt x="6" y="366"/>
                </a:lnTo>
                <a:lnTo>
                  <a:pt x="6" y="360"/>
                </a:lnTo>
                <a:lnTo>
                  <a:pt x="0" y="360"/>
                </a:lnTo>
                <a:lnTo>
                  <a:pt x="0" y="354"/>
                </a:lnTo>
                <a:lnTo>
                  <a:pt x="0" y="348"/>
                </a:lnTo>
                <a:lnTo>
                  <a:pt x="0" y="342"/>
                </a:lnTo>
                <a:lnTo>
                  <a:pt x="0" y="336"/>
                </a:lnTo>
                <a:lnTo>
                  <a:pt x="0" y="330"/>
                </a:lnTo>
                <a:lnTo>
                  <a:pt x="0" y="324"/>
                </a:lnTo>
                <a:lnTo>
                  <a:pt x="6" y="324"/>
                </a:lnTo>
                <a:lnTo>
                  <a:pt x="6" y="318"/>
                </a:lnTo>
                <a:lnTo>
                  <a:pt x="0" y="318"/>
                </a:lnTo>
                <a:lnTo>
                  <a:pt x="0" y="312"/>
                </a:lnTo>
                <a:lnTo>
                  <a:pt x="0" y="306"/>
                </a:lnTo>
                <a:lnTo>
                  <a:pt x="6" y="306"/>
                </a:lnTo>
                <a:lnTo>
                  <a:pt x="6" y="300"/>
                </a:lnTo>
                <a:lnTo>
                  <a:pt x="6" y="294"/>
                </a:lnTo>
                <a:lnTo>
                  <a:pt x="0" y="294"/>
                </a:lnTo>
                <a:lnTo>
                  <a:pt x="6" y="294"/>
                </a:lnTo>
                <a:lnTo>
                  <a:pt x="6" y="288"/>
                </a:lnTo>
                <a:lnTo>
                  <a:pt x="0" y="288"/>
                </a:lnTo>
                <a:lnTo>
                  <a:pt x="6" y="288"/>
                </a:lnTo>
                <a:lnTo>
                  <a:pt x="6" y="282"/>
                </a:lnTo>
                <a:lnTo>
                  <a:pt x="6" y="276"/>
                </a:lnTo>
                <a:lnTo>
                  <a:pt x="6" y="270"/>
                </a:lnTo>
                <a:lnTo>
                  <a:pt x="12" y="270"/>
                </a:lnTo>
                <a:lnTo>
                  <a:pt x="18" y="270"/>
                </a:lnTo>
                <a:lnTo>
                  <a:pt x="24" y="270"/>
                </a:lnTo>
                <a:lnTo>
                  <a:pt x="24" y="264"/>
                </a:lnTo>
                <a:lnTo>
                  <a:pt x="24" y="258"/>
                </a:lnTo>
                <a:lnTo>
                  <a:pt x="24" y="252"/>
                </a:lnTo>
                <a:lnTo>
                  <a:pt x="24" y="246"/>
                </a:lnTo>
                <a:lnTo>
                  <a:pt x="30" y="246"/>
                </a:lnTo>
                <a:lnTo>
                  <a:pt x="30" y="240"/>
                </a:lnTo>
                <a:lnTo>
                  <a:pt x="36" y="240"/>
                </a:lnTo>
                <a:lnTo>
                  <a:pt x="36" y="234"/>
                </a:lnTo>
                <a:lnTo>
                  <a:pt x="36" y="228"/>
                </a:lnTo>
                <a:lnTo>
                  <a:pt x="42" y="228"/>
                </a:lnTo>
                <a:lnTo>
                  <a:pt x="48" y="228"/>
                </a:lnTo>
                <a:lnTo>
                  <a:pt x="48" y="222"/>
                </a:lnTo>
                <a:lnTo>
                  <a:pt x="54" y="222"/>
                </a:lnTo>
                <a:lnTo>
                  <a:pt x="54" y="216"/>
                </a:lnTo>
                <a:lnTo>
                  <a:pt x="54" y="210"/>
                </a:lnTo>
                <a:lnTo>
                  <a:pt x="48" y="204"/>
                </a:lnTo>
                <a:lnTo>
                  <a:pt x="54" y="204"/>
                </a:lnTo>
                <a:lnTo>
                  <a:pt x="54" y="198"/>
                </a:lnTo>
                <a:lnTo>
                  <a:pt x="54" y="192"/>
                </a:lnTo>
                <a:lnTo>
                  <a:pt x="60" y="192"/>
                </a:lnTo>
                <a:lnTo>
                  <a:pt x="60" y="198"/>
                </a:lnTo>
                <a:lnTo>
                  <a:pt x="60" y="192"/>
                </a:lnTo>
                <a:lnTo>
                  <a:pt x="66" y="192"/>
                </a:lnTo>
                <a:lnTo>
                  <a:pt x="66" y="186"/>
                </a:lnTo>
                <a:lnTo>
                  <a:pt x="66" y="180"/>
                </a:lnTo>
                <a:lnTo>
                  <a:pt x="60" y="180"/>
                </a:lnTo>
                <a:lnTo>
                  <a:pt x="60" y="174"/>
                </a:lnTo>
                <a:lnTo>
                  <a:pt x="60" y="168"/>
                </a:lnTo>
                <a:lnTo>
                  <a:pt x="60" y="162"/>
                </a:lnTo>
                <a:lnTo>
                  <a:pt x="60" y="156"/>
                </a:lnTo>
                <a:lnTo>
                  <a:pt x="54" y="156"/>
                </a:lnTo>
                <a:lnTo>
                  <a:pt x="54" y="150"/>
                </a:lnTo>
                <a:lnTo>
                  <a:pt x="48" y="150"/>
                </a:lnTo>
                <a:lnTo>
                  <a:pt x="48" y="144"/>
                </a:lnTo>
                <a:lnTo>
                  <a:pt x="48" y="138"/>
                </a:lnTo>
                <a:lnTo>
                  <a:pt x="48" y="132"/>
                </a:lnTo>
                <a:lnTo>
                  <a:pt x="48" y="126"/>
                </a:lnTo>
                <a:lnTo>
                  <a:pt x="54" y="126"/>
                </a:lnTo>
                <a:lnTo>
                  <a:pt x="54" y="120"/>
                </a:lnTo>
                <a:lnTo>
                  <a:pt x="54" y="114"/>
                </a:lnTo>
                <a:lnTo>
                  <a:pt x="54" y="108"/>
                </a:lnTo>
                <a:lnTo>
                  <a:pt x="54" y="102"/>
                </a:lnTo>
                <a:lnTo>
                  <a:pt x="54" y="96"/>
                </a:lnTo>
                <a:lnTo>
                  <a:pt x="54" y="90"/>
                </a:lnTo>
                <a:lnTo>
                  <a:pt x="54" y="84"/>
                </a:lnTo>
                <a:lnTo>
                  <a:pt x="54" y="78"/>
                </a:lnTo>
                <a:lnTo>
                  <a:pt x="54" y="72"/>
                </a:lnTo>
                <a:lnTo>
                  <a:pt x="60" y="72"/>
                </a:lnTo>
                <a:lnTo>
                  <a:pt x="60" y="66"/>
                </a:lnTo>
                <a:lnTo>
                  <a:pt x="66" y="66"/>
                </a:lnTo>
                <a:lnTo>
                  <a:pt x="72" y="66"/>
                </a:lnTo>
                <a:lnTo>
                  <a:pt x="72" y="60"/>
                </a:lnTo>
                <a:lnTo>
                  <a:pt x="72" y="54"/>
                </a:lnTo>
                <a:lnTo>
                  <a:pt x="78" y="54"/>
                </a:lnTo>
                <a:lnTo>
                  <a:pt x="78" y="48"/>
                </a:lnTo>
                <a:lnTo>
                  <a:pt x="78" y="42"/>
                </a:lnTo>
                <a:lnTo>
                  <a:pt x="78" y="36"/>
                </a:lnTo>
                <a:lnTo>
                  <a:pt x="78" y="30"/>
                </a:lnTo>
                <a:lnTo>
                  <a:pt x="78" y="24"/>
                </a:lnTo>
                <a:lnTo>
                  <a:pt x="84" y="24"/>
                </a:lnTo>
                <a:lnTo>
                  <a:pt x="84" y="18"/>
                </a:lnTo>
                <a:lnTo>
                  <a:pt x="90" y="18"/>
                </a:lnTo>
                <a:lnTo>
                  <a:pt x="90" y="12"/>
                </a:lnTo>
                <a:lnTo>
                  <a:pt x="96" y="12"/>
                </a:lnTo>
                <a:lnTo>
                  <a:pt x="102" y="12"/>
                </a:lnTo>
                <a:lnTo>
                  <a:pt x="102" y="6"/>
                </a:lnTo>
                <a:lnTo>
                  <a:pt x="108" y="6"/>
                </a:lnTo>
                <a:lnTo>
                  <a:pt x="114" y="6"/>
                </a:lnTo>
                <a:lnTo>
                  <a:pt x="120" y="6"/>
                </a:lnTo>
                <a:lnTo>
                  <a:pt x="126" y="6"/>
                </a:lnTo>
                <a:lnTo>
                  <a:pt x="132" y="6"/>
                </a:lnTo>
                <a:lnTo>
                  <a:pt x="138" y="6"/>
                </a:lnTo>
                <a:lnTo>
                  <a:pt x="144" y="6"/>
                </a:lnTo>
                <a:lnTo>
                  <a:pt x="150" y="0"/>
                </a:lnTo>
                <a:lnTo>
                  <a:pt x="156" y="0"/>
                </a:lnTo>
                <a:lnTo>
                  <a:pt x="162" y="0"/>
                </a:lnTo>
                <a:lnTo>
                  <a:pt x="168" y="6"/>
                </a:lnTo>
                <a:lnTo>
                  <a:pt x="174" y="6"/>
                </a:lnTo>
                <a:lnTo>
                  <a:pt x="180" y="6"/>
                </a:lnTo>
                <a:lnTo>
                  <a:pt x="186" y="6"/>
                </a:lnTo>
                <a:lnTo>
                  <a:pt x="186" y="12"/>
                </a:lnTo>
                <a:lnTo>
                  <a:pt x="192" y="12"/>
                </a:lnTo>
                <a:lnTo>
                  <a:pt x="198" y="12"/>
                </a:lnTo>
                <a:lnTo>
                  <a:pt x="204" y="12"/>
                </a:lnTo>
                <a:lnTo>
                  <a:pt x="210" y="12"/>
                </a:lnTo>
                <a:lnTo>
                  <a:pt x="210" y="18"/>
                </a:lnTo>
                <a:lnTo>
                  <a:pt x="216" y="24"/>
                </a:lnTo>
                <a:lnTo>
                  <a:pt x="222" y="24"/>
                </a:lnTo>
                <a:lnTo>
                  <a:pt x="222" y="30"/>
                </a:lnTo>
                <a:lnTo>
                  <a:pt x="228" y="36"/>
                </a:lnTo>
                <a:lnTo>
                  <a:pt x="228" y="42"/>
                </a:lnTo>
                <a:lnTo>
                  <a:pt x="234" y="42"/>
                </a:lnTo>
                <a:lnTo>
                  <a:pt x="234" y="48"/>
                </a:lnTo>
                <a:lnTo>
                  <a:pt x="240" y="48"/>
                </a:lnTo>
                <a:lnTo>
                  <a:pt x="246" y="48"/>
                </a:lnTo>
                <a:lnTo>
                  <a:pt x="252" y="48"/>
                </a:lnTo>
                <a:lnTo>
                  <a:pt x="252" y="42"/>
                </a:lnTo>
                <a:lnTo>
                  <a:pt x="258" y="42"/>
                </a:lnTo>
                <a:lnTo>
                  <a:pt x="264" y="42"/>
                </a:lnTo>
                <a:lnTo>
                  <a:pt x="270" y="42"/>
                </a:lnTo>
                <a:lnTo>
                  <a:pt x="270" y="36"/>
                </a:lnTo>
                <a:lnTo>
                  <a:pt x="276" y="36"/>
                </a:lnTo>
                <a:lnTo>
                  <a:pt x="282" y="36"/>
                </a:lnTo>
                <a:lnTo>
                  <a:pt x="282" y="30"/>
                </a:lnTo>
                <a:lnTo>
                  <a:pt x="288" y="30"/>
                </a:lnTo>
                <a:lnTo>
                  <a:pt x="294" y="30"/>
                </a:lnTo>
                <a:lnTo>
                  <a:pt x="300" y="30"/>
                </a:lnTo>
                <a:lnTo>
                  <a:pt x="300" y="36"/>
                </a:lnTo>
                <a:lnTo>
                  <a:pt x="306" y="36"/>
                </a:lnTo>
                <a:lnTo>
                  <a:pt x="312" y="36"/>
                </a:lnTo>
                <a:lnTo>
                  <a:pt x="312" y="42"/>
                </a:lnTo>
                <a:lnTo>
                  <a:pt x="318" y="42"/>
                </a:lnTo>
                <a:lnTo>
                  <a:pt x="318" y="48"/>
                </a:lnTo>
                <a:lnTo>
                  <a:pt x="324" y="48"/>
                </a:lnTo>
                <a:lnTo>
                  <a:pt x="330" y="48"/>
                </a:lnTo>
                <a:lnTo>
                  <a:pt x="330" y="54"/>
                </a:lnTo>
                <a:lnTo>
                  <a:pt x="336" y="54"/>
                </a:lnTo>
                <a:lnTo>
                  <a:pt x="342" y="54"/>
                </a:lnTo>
                <a:lnTo>
                  <a:pt x="342" y="60"/>
                </a:lnTo>
                <a:lnTo>
                  <a:pt x="348" y="60"/>
                </a:lnTo>
                <a:lnTo>
                  <a:pt x="354" y="60"/>
                </a:lnTo>
                <a:lnTo>
                  <a:pt x="360" y="60"/>
                </a:lnTo>
                <a:lnTo>
                  <a:pt x="366" y="60"/>
                </a:lnTo>
                <a:lnTo>
                  <a:pt x="372" y="60"/>
                </a:lnTo>
                <a:lnTo>
                  <a:pt x="378" y="60"/>
                </a:lnTo>
                <a:lnTo>
                  <a:pt x="384" y="60"/>
                </a:lnTo>
                <a:lnTo>
                  <a:pt x="390" y="60"/>
                </a:lnTo>
                <a:lnTo>
                  <a:pt x="396" y="54"/>
                </a:lnTo>
                <a:lnTo>
                  <a:pt x="396" y="48"/>
                </a:lnTo>
                <a:lnTo>
                  <a:pt x="402" y="48"/>
                </a:lnTo>
                <a:lnTo>
                  <a:pt x="402" y="42"/>
                </a:lnTo>
                <a:lnTo>
                  <a:pt x="408" y="42"/>
                </a:lnTo>
                <a:lnTo>
                  <a:pt x="408" y="36"/>
                </a:lnTo>
                <a:lnTo>
                  <a:pt x="414" y="36"/>
                </a:lnTo>
                <a:lnTo>
                  <a:pt x="420" y="36"/>
                </a:lnTo>
                <a:lnTo>
                  <a:pt x="426" y="36"/>
                </a:lnTo>
                <a:lnTo>
                  <a:pt x="432" y="36"/>
                </a:lnTo>
                <a:lnTo>
                  <a:pt x="432" y="30"/>
                </a:lnTo>
                <a:lnTo>
                  <a:pt x="438" y="30"/>
                </a:lnTo>
                <a:lnTo>
                  <a:pt x="444" y="30"/>
                </a:lnTo>
                <a:lnTo>
                  <a:pt x="450" y="30"/>
                </a:lnTo>
                <a:lnTo>
                  <a:pt x="456" y="30"/>
                </a:lnTo>
                <a:lnTo>
                  <a:pt x="462" y="30"/>
                </a:lnTo>
                <a:lnTo>
                  <a:pt x="468" y="30"/>
                </a:lnTo>
                <a:lnTo>
                  <a:pt x="474" y="30"/>
                </a:lnTo>
                <a:lnTo>
                  <a:pt x="480" y="30"/>
                </a:lnTo>
                <a:lnTo>
                  <a:pt x="486" y="30"/>
                </a:lnTo>
                <a:lnTo>
                  <a:pt x="492" y="30"/>
                </a:lnTo>
                <a:lnTo>
                  <a:pt x="498" y="30"/>
                </a:lnTo>
                <a:lnTo>
                  <a:pt x="504" y="36"/>
                </a:lnTo>
                <a:lnTo>
                  <a:pt x="510" y="36"/>
                </a:lnTo>
                <a:lnTo>
                  <a:pt x="516" y="36"/>
                </a:lnTo>
                <a:lnTo>
                  <a:pt x="516" y="42"/>
                </a:lnTo>
                <a:lnTo>
                  <a:pt x="522" y="42"/>
                </a:lnTo>
                <a:lnTo>
                  <a:pt x="528" y="42"/>
                </a:lnTo>
                <a:lnTo>
                  <a:pt x="534" y="42"/>
                </a:lnTo>
                <a:lnTo>
                  <a:pt x="540" y="42"/>
                </a:lnTo>
                <a:lnTo>
                  <a:pt x="534" y="48"/>
                </a:lnTo>
                <a:lnTo>
                  <a:pt x="540" y="48"/>
                </a:lnTo>
                <a:lnTo>
                  <a:pt x="540" y="42"/>
                </a:lnTo>
                <a:lnTo>
                  <a:pt x="540" y="48"/>
                </a:lnTo>
                <a:lnTo>
                  <a:pt x="540" y="42"/>
                </a:lnTo>
                <a:lnTo>
                  <a:pt x="540" y="48"/>
                </a:lnTo>
                <a:lnTo>
                  <a:pt x="540" y="42"/>
                </a:lnTo>
                <a:lnTo>
                  <a:pt x="540" y="48"/>
                </a:lnTo>
                <a:lnTo>
                  <a:pt x="546" y="48"/>
                </a:lnTo>
                <a:lnTo>
                  <a:pt x="546" y="42"/>
                </a:lnTo>
                <a:lnTo>
                  <a:pt x="552" y="42"/>
                </a:lnTo>
                <a:lnTo>
                  <a:pt x="552" y="36"/>
                </a:lnTo>
                <a:lnTo>
                  <a:pt x="546" y="36"/>
                </a:lnTo>
                <a:lnTo>
                  <a:pt x="552" y="36"/>
                </a:lnTo>
                <a:lnTo>
                  <a:pt x="552" y="30"/>
                </a:lnTo>
                <a:lnTo>
                  <a:pt x="552" y="36"/>
                </a:lnTo>
                <a:lnTo>
                  <a:pt x="558" y="36"/>
                </a:lnTo>
                <a:lnTo>
                  <a:pt x="558" y="30"/>
                </a:lnTo>
                <a:lnTo>
                  <a:pt x="564" y="30"/>
                </a:lnTo>
                <a:lnTo>
                  <a:pt x="564" y="24"/>
                </a:lnTo>
                <a:lnTo>
                  <a:pt x="570" y="24"/>
                </a:lnTo>
                <a:lnTo>
                  <a:pt x="570" y="18"/>
                </a:lnTo>
                <a:lnTo>
                  <a:pt x="570" y="24"/>
                </a:lnTo>
                <a:lnTo>
                  <a:pt x="570" y="18"/>
                </a:lnTo>
                <a:lnTo>
                  <a:pt x="576" y="18"/>
                </a:lnTo>
                <a:lnTo>
                  <a:pt x="582" y="18"/>
                </a:lnTo>
                <a:lnTo>
                  <a:pt x="588" y="18"/>
                </a:lnTo>
                <a:lnTo>
                  <a:pt x="588" y="12"/>
                </a:lnTo>
                <a:lnTo>
                  <a:pt x="594" y="12"/>
                </a:lnTo>
                <a:lnTo>
                  <a:pt x="594" y="6"/>
                </a:lnTo>
                <a:lnTo>
                  <a:pt x="600" y="6"/>
                </a:lnTo>
                <a:lnTo>
                  <a:pt x="606" y="6"/>
                </a:lnTo>
                <a:lnTo>
                  <a:pt x="612" y="6"/>
                </a:lnTo>
                <a:lnTo>
                  <a:pt x="612" y="12"/>
                </a:lnTo>
                <a:lnTo>
                  <a:pt x="612" y="18"/>
                </a:lnTo>
                <a:lnTo>
                  <a:pt x="618" y="18"/>
                </a:lnTo>
                <a:lnTo>
                  <a:pt x="618" y="24"/>
                </a:lnTo>
                <a:lnTo>
                  <a:pt x="624" y="24"/>
                </a:lnTo>
                <a:lnTo>
                  <a:pt x="624" y="30"/>
                </a:lnTo>
                <a:lnTo>
                  <a:pt x="624" y="36"/>
                </a:lnTo>
                <a:lnTo>
                  <a:pt x="630" y="36"/>
                </a:lnTo>
                <a:lnTo>
                  <a:pt x="630" y="42"/>
                </a:lnTo>
                <a:lnTo>
                  <a:pt x="636" y="42"/>
                </a:lnTo>
                <a:lnTo>
                  <a:pt x="636" y="48"/>
                </a:lnTo>
                <a:close/>
                <a:moveTo>
                  <a:pt x="246" y="528"/>
                </a:moveTo>
                <a:lnTo>
                  <a:pt x="258" y="528"/>
                </a:lnTo>
                <a:lnTo>
                  <a:pt x="258" y="534"/>
                </a:lnTo>
                <a:lnTo>
                  <a:pt x="246" y="534"/>
                </a:lnTo>
                <a:lnTo>
                  <a:pt x="246" y="528"/>
                </a:lnTo>
                <a:close/>
                <a:moveTo>
                  <a:pt x="198" y="534"/>
                </a:moveTo>
                <a:lnTo>
                  <a:pt x="210" y="534"/>
                </a:lnTo>
                <a:lnTo>
                  <a:pt x="210" y="540"/>
                </a:lnTo>
                <a:lnTo>
                  <a:pt x="198" y="540"/>
                </a:lnTo>
                <a:lnTo>
                  <a:pt x="198" y="534"/>
                </a:lnTo>
                <a:close/>
                <a:moveTo>
                  <a:pt x="240" y="522"/>
                </a:moveTo>
                <a:lnTo>
                  <a:pt x="246" y="522"/>
                </a:lnTo>
                <a:lnTo>
                  <a:pt x="246" y="534"/>
                </a:lnTo>
                <a:lnTo>
                  <a:pt x="240" y="534"/>
                </a:lnTo>
                <a:lnTo>
                  <a:pt x="240" y="522"/>
                </a:lnTo>
                <a:close/>
                <a:moveTo>
                  <a:pt x="234" y="522"/>
                </a:moveTo>
                <a:lnTo>
                  <a:pt x="240" y="522"/>
                </a:lnTo>
                <a:lnTo>
                  <a:pt x="240" y="528"/>
                </a:lnTo>
                <a:lnTo>
                  <a:pt x="234" y="528"/>
                </a:lnTo>
                <a:lnTo>
                  <a:pt x="234" y="522"/>
                </a:lnTo>
                <a:close/>
                <a:moveTo>
                  <a:pt x="78" y="420"/>
                </a:moveTo>
                <a:lnTo>
                  <a:pt x="84" y="420"/>
                </a:lnTo>
                <a:lnTo>
                  <a:pt x="78" y="420"/>
                </a:lnTo>
                <a:close/>
                <a:moveTo>
                  <a:pt x="36" y="420"/>
                </a:moveTo>
                <a:lnTo>
                  <a:pt x="42" y="420"/>
                </a:lnTo>
                <a:lnTo>
                  <a:pt x="36" y="420"/>
                </a:lnTo>
                <a:close/>
                <a:moveTo>
                  <a:pt x="312" y="504"/>
                </a:moveTo>
                <a:lnTo>
                  <a:pt x="312" y="510"/>
                </a:lnTo>
                <a:lnTo>
                  <a:pt x="313" y="510"/>
                </a:lnTo>
                <a:lnTo>
                  <a:pt x="312" y="50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5" name="Freeform 25">
            <a:extLst>
              <a:ext uri="{FF2B5EF4-FFF2-40B4-BE49-F238E27FC236}">
                <a16:creationId xmlns:a16="http://schemas.microsoft.com/office/drawing/2014/main" id="{DB688882-8550-BA4D-AFFD-E0E54F1DC3A4}"/>
              </a:ext>
            </a:extLst>
          </p:cNvPr>
          <p:cNvSpPr>
            <a:spLocks/>
          </p:cNvSpPr>
          <p:nvPr>
            <p:custDataLst>
              <p:tags r:id="rId23"/>
            </p:custDataLst>
          </p:nvPr>
        </p:nvSpPr>
        <p:spPr bwMode="gray">
          <a:xfrm>
            <a:off x="3542860" y="4004455"/>
            <a:ext cx="123690" cy="241858"/>
          </a:xfrm>
          <a:custGeom>
            <a:avLst/>
            <a:gdLst>
              <a:gd name="T0" fmla="*/ 29720 w 108"/>
              <a:gd name="T1" fmla="*/ 95928 h 282"/>
              <a:gd name="T2" fmla="*/ 24927 w 108"/>
              <a:gd name="T3" fmla="*/ 97847 h 282"/>
              <a:gd name="T4" fmla="*/ 21092 w 108"/>
              <a:gd name="T5" fmla="*/ 95928 h 282"/>
              <a:gd name="T6" fmla="*/ 19175 w 108"/>
              <a:gd name="T7" fmla="*/ 92091 h 282"/>
              <a:gd name="T8" fmla="*/ 14381 w 108"/>
              <a:gd name="T9" fmla="*/ 90173 h 282"/>
              <a:gd name="T10" fmla="*/ 12464 w 108"/>
              <a:gd name="T11" fmla="*/ 85377 h 282"/>
              <a:gd name="T12" fmla="*/ 12464 w 108"/>
              <a:gd name="T13" fmla="*/ 83458 h 282"/>
              <a:gd name="T14" fmla="*/ 14381 w 108"/>
              <a:gd name="T15" fmla="*/ 79620 h 282"/>
              <a:gd name="T16" fmla="*/ 14381 w 108"/>
              <a:gd name="T17" fmla="*/ 73865 h 282"/>
              <a:gd name="T18" fmla="*/ 12464 w 108"/>
              <a:gd name="T19" fmla="*/ 69069 h 282"/>
              <a:gd name="T20" fmla="*/ 14381 w 108"/>
              <a:gd name="T21" fmla="*/ 65232 h 282"/>
              <a:gd name="T22" fmla="*/ 14381 w 108"/>
              <a:gd name="T23" fmla="*/ 58516 h 282"/>
              <a:gd name="T24" fmla="*/ 16298 w 108"/>
              <a:gd name="T25" fmla="*/ 54679 h 282"/>
              <a:gd name="T26" fmla="*/ 12464 w 108"/>
              <a:gd name="T27" fmla="*/ 51801 h 282"/>
              <a:gd name="T28" fmla="*/ 10546 w 108"/>
              <a:gd name="T29" fmla="*/ 47964 h 282"/>
              <a:gd name="T30" fmla="*/ 12464 w 108"/>
              <a:gd name="T31" fmla="*/ 44127 h 282"/>
              <a:gd name="T32" fmla="*/ 10546 w 108"/>
              <a:gd name="T33" fmla="*/ 40290 h 282"/>
              <a:gd name="T34" fmla="*/ 12464 w 108"/>
              <a:gd name="T35" fmla="*/ 35494 h 282"/>
              <a:gd name="T36" fmla="*/ 10546 w 108"/>
              <a:gd name="T37" fmla="*/ 31656 h 282"/>
              <a:gd name="T38" fmla="*/ 7670 w 108"/>
              <a:gd name="T39" fmla="*/ 31656 h 282"/>
              <a:gd name="T40" fmla="*/ 7670 w 108"/>
              <a:gd name="T41" fmla="*/ 33575 h 282"/>
              <a:gd name="T42" fmla="*/ 7670 w 108"/>
              <a:gd name="T43" fmla="*/ 31656 h 282"/>
              <a:gd name="T44" fmla="*/ 7670 w 108"/>
              <a:gd name="T45" fmla="*/ 29738 h 282"/>
              <a:gd name="T46" fmla="*/ 7670 w 108"/>
              <a:gd name="T47" fmla="*/ 23023 h 282"/>
              <a:gd name="T48" fmla="*/ 7670 w 108"/>
              <a:gd name="T49" fmla="*/ 21104 h 282"/>
              <a:gd name="T50" fmla="*/ 7670 w 108"/>
              <a:gd name="T51" fmla="*/ 19186 h 282"/>
              <a:gd name="T52" fmla="*/ 7670 w 108"/>
              <a:gd name="T53" fmla="*/ 16308 h 282"/>
              <a:gd name="T54" fmla="*/ 7670 w 108"/>
              <a:gd name="T55" fmla="*/ 14390 h 282"/>
              <a:gd name="T56" fmla="*/ 3835 w 108"/>
              <a:gd name="T57" fmla="*/ 12471 h 282"/>
              <a:gd name="T58" fmla="*/ 0 w 108"/>
              <a:gd name="T59" fmla="*/ 10552 h 282"/>
              <a:gd name="T60" fmla="*/ 1917 w 108"/>
              <a:gd name="T61" fmla="*/ 6715 h 282"/>
              <a:gd name="T62" fmla="*/ 1917 w 108"/>
              <a:gd name="T63" fmla="*/ 0 h 282"/>
              <a:gd name="T64" fmla="*/ 3835 w 108"/>
              <a:gd name="T65" fmla="*/ 0 h 282"/>
              <a:gd name="T66" fmla="*/ 10546 w 108"/>
              <a:gd name="T67" fmla="*/ 1918 h 282"/>
              <a:gd name="T68" fmla="*/ 14381 w 108"/>
              <a:gd name="T69" fmla="*/ 3837 h 282"/>
              <a:gd name="T70" fmla="*/ 19175 w 108"/>
              <a:gd name="T71" fmla="*/ 1918 h 282"/>
              <a:gd name="T72" fmla="*/ 19175 w 108"/>
              <a:gd name="T73" fmla="*/ 3837 h 282"/>
              <a:gd name="T74" fmla="*/ 16298 w 108"/>
              <a:gd name="T75" fmla="*/ 7674 h 282"/>
              <a:gd name="T76" fmla="*/ 16298 w 108"/>
              <a:gd name="T77" fmla="*/ 12471 h 282"/>
              <a:gd name="T78" fmla="*/ 19175 w 108"/>
              <a:gd name="T79" fmla="*/ 16308 h 282"/>
              <a:gd name="T80" fmla="*/ 23010 w 108"/>
              <a:gd name="T81" fmla="*/ 19186 h 282"/>
              <a:gd name="T82" fmla="*/ 26844 w 108"/>
              <a:gd name="T83" fmla="*/ 21104 h 282"/>
              <a:gd name="T84" fmla="*/ 29720 w 108"/>
              <a:gd name="T85" fmla="*/ 24941 h 282"/>
              <a:gd name="T86" fmla="*/ 29720 w 108"/>
              <a:gd name="T87" fmla="*/ 31656 h 282"/>
              <a:gd name="T88" fmla="*/ 29720 w 108"/>
              <a:gd name="T89" fmla="*/ 33575 h 282"/>
              <a:gd name="T90" fmla="*/ 31638 w 108"/>
              <a:gd name="T91" fmla="*/ 37413 h 282"/>
              <a:gd name="T92" fmla="*/ 33556 w 108"/>
              <a:gd name="T93" fmla="*/ 41250 h 282"/>
              <a:gd name="T94" fmla="*/ 33556 w 108"/>
              <a:gd name="T95" fmla="*/ 47964 h 282"/>
              <a:gd name="T96" fmla="*/ 33556 w 108"/>
              <a:gd name="T97" fmla="*/ 54679 h 282"/>
              <a:gd name="T98" fmla="*/ 33556 w 108"/>
              <a:gd name="T99" fmla="*/ 60435 h 282"/>
              <a:gd name="T100" fmla="*/ 33556 w 108"/>
              <a:gd name="T101" fmla="*/ 67150 h 282"/>
              <a:gd name="T102" fmla="*/ 35473 w 108"/>
              <a:gd name="T103" fmla="*/ 70987 h 282"/>
              <a:gd name="T104" fmla="*/ 33556 w 108"/>
              <a:gd name="T105" fmla="*/ 74824 h 282"/>
              <a:gd name="T106" fmla="*/ 33556 w 108"/>
              <a:gd name="T107" fmla="*/ 81539 h 282"/>
              <a:gd name="T108" fmla="*/ 33556 w 108"/>
              <a:gd name="T109" fmla="*/ 88255 h 282"/>
              <a:gd name="T110" fmla="*/ 35473 w 108"/>
              <a:gd name="T111" fmla="*/ 92091 h 282"/>
              <a:gd name="T112" fmla="*/ 35473 w 108"/>
              <a:gd name="T113" fmla="*/ 90173 h 282"/>
              <a:gd name="T114" fmla="*/ 35473 w 108"/>
              <a:gd name="T115" fmla="*/ 92091 h 282"/>
              <a:gd name="T116" fmla="*/ 37391 w 108"/>
              <a:gd name="T117" fmla="*/ 94010 h 282"/>
              <a:gd name="T118" fmla="*/ 33556 w 108"/>
              <a:gd name="T119" fmla="*/ 95928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8" h="282">
                <a:moveTo>
                  <a:pt x="96" y="276"/>
                </a:moveTo>
                <a:lnTo>
                  <a:pt x="90" y="276"/>
                </a:lnTo>
                <a:lnTo>
                  <a:pt x="84" y="276"/>
                </a:lnTo>
                <a:lnTo>
                  <a:pt x="84" y="282"/>
                </a:lnTo>
                <a:lnTo>
                  <a:pt x="78" y="282"/>
                </a:lnTo>
                <a:lnTo>
                  <a:pt x="72" y="282"/>
                </a:lnTo>
                <a:lnTo>
                  <a:pt x="66" y="282"/>
                </a:lnTo>
                <a:lnTo>
                  <a:pt x="66" y="276"/>
                </a:lnTo>
                <a:lnTo>
                  <a:pt x="60" y="276"/>
                </a:lnTo>
                <a:lnTo>
                  <a:pt x="60" y="270"/>
                </a:lnTo>
                <a:lnTo>
                  <a:pt x="54" y="270"/>
                </a:lnTo>
                <a:lnTo>
                  <a:pt x="54" y="264"/>
                </a:lnTo>
                <a:lnTo>
                  <a:pt x="48" y="264"/>
                </a:lnTo>
                <a:lnTo>
                  <a:pt x="48" y="258"/>
                </a:lnTo>
                <a:lnTo>
                  <a:pt x="42" y="258"/>
                </a:lnTo>
                <a:lnTo>
                  <a:pt x="42" y="252"/>
                </a:lnTo>
                <a:lnTo>
                  <a:pt x="42" y="246"/>
                </a:lnTo>
                <a:lnTo>
                  <a:pt x="36" y="246"/>
                </a:lnTo>
                <a:lnTo>
                  <a:pt x="42" y="246"/>
                </a:lnTo>
                <a:lnTo>
                  <a:pt x="36" y="246"/>
                </a:lnTo>
                <a:lnTo>
                  <a:pt x="36" y="240"/>
                </a:lnTo>
                <a:lnTo>
                  <a:pt x="36" y="234"/>
                </a:lnTo>
                <a:lnTo>
                  <a:pt x="42" y="234"/>
                </a:lnTo>
                <a:lnTo>
                  <a:pt x="42" y="228"/>
                </a:lnTo>
                <a:lnTo>
                  <a:pt x="42" y="222"/>
                </a:lnTo>
                <a:lnTo>
                  <a:pt x="42" y="216"/>
                </a:lnTo>
                <a:lnTo>
                  <a:pt x="42" y="210"/>
                </a:lnTo>
                <a:lnTo>
                  <a:pt x="36" y="210"/>
                </a:lnTo>
                <a:lnTo>
                  <a:pt x="36" y="204"/>
                </a:lnTo>
                <a:lnTo>
                  <a:pt x="36" y="198"/>
                </a:lnTo>
                <a:lnTo>
                  <a:pt x="36" y="192"/>
                </a:lnTo>
                <a:lnTo>
                  <a:pt x="42" y="192"/>
                </a:lnTo>
                <a:lnTo>
                  <a:pt x="42" y="186"/>
                </a:lnTo>
                <a:lnTo>
                  <a:pt x="42" y="180"/>
                </a:lnTo>
                <a:lnTo>
                  <a:pt x="42" y="174"/>
                </a:lnTo>
                <a:lnTo>
                  <a:pt x="42" y="168"/>
                </a:lnTo>
                <a:lnTo>
                  <a:pt x="42" y="162"/>
                </a:lnTo>
                <a:lnTo>
                  <a:pt x="48" y="162"/>
                </a:lnTo>
                <a:lnTo>
                  <a:pt x="48" y="156"/>
                </a:lnTo>
                <a:lnTo>
                  <a:pt x="42" y="156"/>
                </a:lnTo>
                <a:lnTo>
                  <a:pt x="42" y="150"/>
                </a:lnTo>
                <a:lnTo>
                  <a:pt x="36" y="150"/>
                </a:lnTo>
                <a:lnTo>
                  <a:pt x="36" y="144"/>
                </a:lnTo>
                <a:lnTo>
                  <a:pt x="30" y="144"/>
                </a:lnTo>
                <a:lnTo>
                  <a:pt x="30" y="138"/>
                </a:lnTo>
                <a:lnTo>
                  <a:pt x="30" y="132"/>
                </a:lnTo>
                <a:lnTo>
                  <a:pt x="36" y="132"/>
                </a:lnTo>
                <a:lnTo>
                  <a:pt x="36" y="126"/>
                </a:lnTo>
                <a:lnTo>
                  <a:pt x="36" y="120"/>
                </a:lnTo>
                <a:lnTo>
                  <a:pt x="30" y="120"/>
                </a:lnTo>
                <a:lnTo>
                  <a:pt x="30" y="114"/>
                </a:lnTo>
                <a:lnTo>
                  <a:pt x="36" y="114"/>
                </a:lnTo>
                <a:lnTo>
                  <a:pt x="36" y="108"/>
                </a:lnTo>
                <a:lnTo>
                  <a:pt x="36" y="102"/>
                </a:lnTo>
                <a:lnTo>
                  <a:pt x="36" y="96"/>
                </a:lnTo>
                <a:lnTo>
                  <a:pt x="30" y="96"/>
                </a:lnTo>
                <a:lnTo>
                  <a:pt x="30" y="90"/>
                </a:lnTo>
                <a:lnTo>
                  <a:pt x="30" y="96"/>
                </a:lnTo>
                <a:lnTo>
                  <a:pt x="30" y="90"/>
                </a:lnTo>
                <a:lnTo>
                  <a:pt x="24" y="90"/>
                </a:lnTo>
                <a:lnTo>
                  <a:pt x="24" y="96"/>
                </a:lnTo>
                <a:lnTo>
                  <a:pt x="18" y="96"/>
                </a:lnTo>
                <a:lnTo>
                  <a:pt x="24" y="96"/>
                </a:lnTo>
                <a:lnTo>
                  <a:pt x="24" y="90"/>
                </a:lnTo>
                <a:lnTo>
                  <a:pt x="18" y="90"/>
                </a:lnTo>
                <a:lnTo>
                  <a:pt x="24" y="90"/>
                </a:lnTo>
                <a:lnTo>
                  <a:pt x="30" y="90"/>
                </a:lnTo>
                <a:lnTo>
                  <a:pt x="30" y="84"/>
                </a:lnTo>
                <a:lnTo>
                  <a:pt x="24" y="84"/>
                </a:lnTo>
                <a:lnTo>
                  <a:pt x="24" y="78"/>
                </a:lnTo>
                <a:lnTo>
                  <a:pt x="24" y="72"/>
                </a:lnTo>
                <a:lnTo>
                  <a:pt x="24" y="66"/>
                </a:lnTo>
                <a:lnTo>
                  <a:pt x="30" y="66"/>
                </a:lnTo>
                <a:lnTo>
                  <a:pt x="24" y="66"/>
                </a:lnTo>
                <a:lnTo>
                  <a:pt x="24" y="60"/>
                </a:lnTo>
                <a:lnTo>
                  <a:pt x="30" y="60"/>
                </a:lnTo>
                <a:lnTo>
                  <a:pt x="24" y="60"/>
                </a:lnTo>
                <a:lnTo>
                  <a:pt x="24" y="54"/>
                </a:lnTo>
                <a:lnTo>
                  <a:pt x="24" y="48"/>
                </a:lnTo>
                <a:lnTo>
                  <a:pt x="30" y="48"/>
                </a:lnTo>
                <a:lnTo>
                  <a:pt x="24" y="48"/>
                </a:lnTo>
                <a:lnTo>
                  <a:pt x="24" y="42"/>
                </a:lnTo>
                <a:lnTo>
                  <a:pt x="24" y="48"/>
                </a:lnTo>
                <a:lnTo>
                  <a:pt x="24" y="42"/>
                </a:lnTo>
                <a:lnTo>
                  <a:pt x="18" y="42"/>
                </a:lnTo>
                <a:lnTo>
                  <a:pt x="18" y="36"/>
                </a:lnTo>
                <a:lnTo>
                  <a:pt x="12" y="36"/>
                </a:lnTo>
                <a:lnTo>
                  <a:pt x="12" y="30"/>
                </a:lnTo>
                <a:lnTo>
                  <a:pt x="6" y="30"/>
                </a:lnTo>
                <a:lnTo>
                  <a:pt x="0" y="30"/>
                </a:lnTo>
                <a:lnTo>
                  <a:pt x="0" y="24"/>
                </a:lnTo>
                <a:lnTo>
                  <a:pt x="0" y="18"/>
                </a:lnTo>
                <a:lnTo>
                  <a:pt x="6" y="18"/>
                </a:lnTo>
                <a:lnTo>
                  <a:pt x="6" y="12"/>
                </a:lnTo>
                <a:lnTo>
                  <a:pt x="6" y="6"/>
                </a:lnTo>
                <a:lnTo>
                  <a:pt x="6" y="0"/>
                </a:lnTo>
                <a:lnTo>
                  <a:pt x="0" y="0"/>
                </a:lnTo>
                <a:lnTo>
                  <a:pt x="6" y="0"/>
                </a:lnTo>
                <a:lnTo>
                  <a:pt x="12" y="0"/>
                </a:lnTo>
                <a:lnTo>
                  <a:pt x="18" y="6"/>
                </a:lnTo>
                <a:lnTo>
                  <a:pt x="24" y="6"/>
                </a:lnTo>
                <a:lnTo>
                  <a:pt x="30" y="6"/>
                </a:lnTo>
                <a:lnTo>
                  <a:pt x="36" y="6"/>
                </a:lnTo>
                <a:lnTo>
                  <a:pt x="36" y="12"/>
                </a:lnTo>
                <a:lnTo>
                  <a:pt x="42" y="12"/>
                </a:lnTo>
                <a:lnTo>
                  <a:pt x="42" y="6"/>
                </a:lnTo>
                <a:lnTo>
                  <a:pt x="48" y="6"/>
                </a:lnTo>
                <a:lnTo>
                  <a:pt x="54" y="6"/>
                </a:lnTo>
                <a:lnTo>
                  <a:pt x="60" y="6"/>
                </a:lnTo>
                <a:lnTo>
                  <a:pt x="54" y="6"/>
                </a:lnTo>
                <a:lnTo>
                  <a:pt x="54" y="12"/>
                </a:lnTo>
                <a:lnTo>
                  <a:pt x="54" y="18"/>
                </a:lnTo>
                <a:lnTo>
                  <a:pt x="54" y="24"/>
                </a:lnTo>
                <a:lnTo>
                  <a:pt x="48" y="24"/>
                </a:lnTo>
                <a:lnTo>
                  <a:pt x="54" y="24"/>
                </a:lnTo>
                <a:lnTo>
                  <a:pt x="54" y="30"/>
                </a:lnTo>
                <a:lnTo>
                  <a:pt x="48" y="36"/>
                </a:lnTo>
                <a:lnTo>
                  <a:pt x="48" y="42"/>
                </a:lnTo>
                <a:lnTo>
                  <a:pt x="54" y="42"/>
                </a:lnTo>
                <a:lnTo>
                  <a:pt x="54" y="48"/>
                </a:lnTo>
                <a:lnTo>
                  <a:pt x="60" y="48"/>
                </a:lnTo>
                <a:lnTo>
                  <a:pt x="60" y="54"/>
                </a:lnTo>
                <a:lnTo>
                  <a:pt x="66" y="54"/>
                </a:lnTo>
                <a:lnTo>
                  <a:pt x="72" y="54"/>
                </a:lnTo>
                <a:lnTo>
                  <a:pt x="72" y="60"/>
                </a:lnTo>
                <a:lnTo>
                  <a:pt x="78" y="60"/>
                </a:lnTo>
                <a:lnTo>
                  <a:pt x="78" y="66"/>
                </a:lnTo>
                <a:lnTo>
                  <a:pt x="84" y="66"/>
                </a:lnTo>
                <a:lnTo>
                  <a:pt x="84" y="72"/>
                </a:lnTo>
                <a:lnTo>
                  <a:pt x="84" y="78"/>
                </a:lnTo>
                <a:lnTo>
                  <a:pt x="84" y="84"/>
                </a:lnTo>
                <a:lnTo>
                  <a:pt x="84" y="90"/>
                </a:lnTo>
                <a:lnTo>
                  <a:pt x="84" y="96"/>
                </a:lnTo>
                <a:lnTo>
                  <a:pt x="84" y="90"/>
                </a:lnTo>
                <a:lnTo>
                  <a:pt x="84" y="96"/>
                </a:lnTo>
                <a:lnTo>
                  <a:pt x="84" y="102"/>
                </a:lnTo>
                <a:lnTo>
                  <a:pt x="90" y="102"/>
                </a:lnTo>
                <a:lnTo>
                  <a:pt x="90" y="108"/>
                </a:lnTo>
                <a:lnTo>
                  <a:pt x="96" y="108"/>
                </a:lnTo>
                <a:lnTo>
                  <a:pt x="96" y="114"/>
                </a:lnTo>
                <a:lnTo>
                  <a:pt x="96" y="120"/>
                </a:lnTo>
                <a:lnTo>
                  <a:pt x="96" y="126"/>
                </a:lnTo>
                <a:lnTo>
                  <a:pt x="96" y="132"/>
                </a:lnTo>
                <a:lnTo>
                  <a:pt x="96" y="138"/>
                </a:lnTo>
                <a:lnTo>
                  <a:pt x="96" y="144"/>
                </a:lnTo>
                <a:lnTo>
                  <a:pt x="96" y="150"/>
                </a:lnTo>
                <a:lnTo>
                  <a:pt x="96" y="156"/>
                </a:lnTo>
                <a:lnTo>
                  <a:pt x="96" y="162"/>
                </a:lnTo>
                <a:lnTo>
                  <a:pt x="96" y="168"/>
                </a:lnTo>
                <a:lnTo>
                  <a:pt x="96" y="174"/>
                </a:lnTo>
                <a:lnTo>
                  <a:pt x="96" y="180"/>
                </a:lnTo>
                <a:lnTo>
                  <a:pt x="96" y="186"/>
                </a:lnTo>
                <a:lnTo>
                  <a:pt x="96" y="192"/>
                </a:lnTo>
                <a:lnTo>
                  <a:pt x="96" y="198"/>
                </a:lnTo>
                <a:lnTo>
                  <a:pt x="96" y="204"/>
                </a:lnTo>
                <a:lnTo>
                  <a:pt x="102" y="204"/>
                </a:lnTo>
                <a:lnTo>
                  <a:pt x="96" y="204"/>
                </a:lnTo>
                <a:lnTo>
                  <a:pt x="96" y="210"/>
                </a:lnTo>
                <a:lnTo>
                  <a:pt x="96" y="216"/>
                </a:lnTo>
                <a:lnTo>
                  <a:pt x="96" y="222"/>
                </a:lnTo>
                <a:lnTo>
                  <a:pt x="96" y="228"/>
                </a:lnTo>
                <a:lnTo>
                  <a:pt x="96" y="234"/>
                </a:lnTo>
                <a:lnTo>
                  <a:pt x="96" y="240"/>
                </a:lnTo>
                <a:lnTo>
                  <a:pt x="96" y="246"/>
                </a:lnTo>
                <a:lnTo>
                  <a:pt x="96" y="252"/>
                </a:lnTo>
                <a:lnTo>
                  <a:pt x="96" y="258"/>
                </a:lnTo>
                <a:lnTo>
                  <a:pt x="102" y="258"/>
                </a:lnTo>
                <a:lnTo>
                  <a:pt x="102" y="264"/>
                </a:lnTo>
                <a:lnTo>
                  <a:pt x="102" y="258"/>
                </a:lnTo>
                <a:lnTo>
                  <a:pt x="102" y="264"/>
                </a:lnTo>
                <a:lnTo>
                  <a:pt x="102" y="258"/>
                </a:lnTo>
                <a:lnTo>
                  <a:pt x="102" y="264"/>
                </a:lnTo>
                <a:lnTo>
                  <a:pt x="108" y="264"/>
                </a:lnTo>
                <a:lnTo>
                  <a:pt x="102" y="264"/>
                </a:lnTo>
                <a:lnTo>
                  <a:pt x="108" y="264"/>
                </a:lnTo>
                <a:lnTo>
                  <a:pt x="102" y="264"/>
                </a:lnTo>
                <a:lnTo>
                  <a:pt x="108" y="270"/>
                </a:lnTo>
                <a:lnTo>
                  <a:pt x="108" y="276"/>
                </a:lnTo>
                <a:lnTo>
                  <a:pt x="102" y="276"/>
                </a:lnTo>
                <a:lnTo>
                  <a:pt x="96" y="27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6" name="Freeform 26">
            <a:extLst>
              <a:ext uri="{FF2B5EF4-FFF2-40B4-BE49-F238E27FC236}">
                <a16:creationId xmlns:a16="http://schemas.microsoft.com/office/drawing/2014/main" id="{57D3429B-4475-774C-BCFE-97B9400C481F}"/>
              </a:ext>
            </a:extLst>
          </p:cNvPr>
          <p:cNvSpPr>
            <a:spLocks/>
          </p:cNvSpPr>
          <p:nvPr>
            <p:custDataLst>
              <p:tags r:id="rId24"/>
            </p:custDataLst>
          </p:nvPr>
        </p:nvSpPr>
        <p:spPr bwMode="gray">
          <a:xfrm>
            <a:off x="3597345" y="3952520"/>
            <a:ext cx="200259" cy="300389"/>
          </a:xfrm>
          <a:custGeom>
            <a:avLst/>
            <a:gdLst>
              <a:gd name="T0" fmla="*/ 31879 w 174"/>
              <a:gd name="T1" fmla="*/ 122354 h 348"/>
              <a:gd name="T2" fmla="*/ 23184 w 174"/>
              <a:gd name="T3" fmla="*/ 122354 h 348"/>
              <a:gd name="T4" fmla="*/ 17388 w 174"/>
              <a:gd name="T5" fmla="*/ 124295 h 348"/>
              <a:gd name="T6" fmla="*/ 19321 w 174"/>
              <a:gd name="T7" fmla="*/ 120412 h 348"/>
              <a:gd name="T8" fmla="*/ 19321 w 174"/>
              <a:gd name="T9" fmla="*/ 120412 h 348"/>
              <a:gd name="T10" fmla="*/ 19321 w 174"/>
              <a:gd name="T11" fmla="*/ 120412 h 348"/>
              <a:gd name="T12" fmla="*/ 17388 w 174"/>
              <a:gd name="T13" fmla="*/ 113614 h 348"/>
              <a:gd name="T14" fmla="*/ 17388 w 174"/>
              <a:gd name="T15" fmla="*/ 104875 h 348"/>
              <a:gd name="T16" fmla="*/ 19321 w 174"/>
              <a:gd name="T17" fmla="*/ 98077 h 348"/>
              <a:gd name="T18" fmla="*/ 17388 w 174"/>
              <a:gd name="T19" fmla="*/ 92251 h 348"/>
              <a:gd name="T20" fmla="*/ 17388 w 174"/>
              <a:gd name="T21" fmla="*/ 83511 h 348"/>
              <a:gd name="T22" fmla="*/ 17388 w 174"/>
              <a:gd name="T23" fmla="*/ 74772 h 348"/>
              <a:gd name="T24" fmla="*/ 17388 w 174"/>
              <a:gd name="T25" fmla="*/ 67003 h 348"/>
              <a:gd name="T26" fmla="*/ 12558 w 174"/>
              <a:gd name="T27" fmla="*/ 62148 h 348"/>
              <a:gd name="T28" fmla="*/ 12558 w 174"/>
              <a:gd name="T29" fmla="*/ 57293 h 348"/>
              <a:gd name="T30" fmla="*/ 12558 w 174"/>
              <a:gd name="T31" fmla="*/ 49524 h 348"/>
              <a:gd name="T32" fmla="*/ 7728 w 174"/>
              <a:gd name="T33" fmla="*/ 44669 h 348"/>
              <a:gd name="T34" fmla="*/ 1932 w 174"/>
              <a:gd name="T35" fmla="*/ 42727 h 348"/>
              <a:gd name="T36" fmla="*/ 1932 w 174"/>
              <a:gd name="T37" fmla="*/ 36901 h 348"/>
              <a:gd name="T38" fmla="*/ 1932 w 174"/>
              <a:gd name="T39" fmla="*/ 32045 h 348"/>
              <a:gd name="T40" fmla="*/ 3864 w 174"/>
              <a:gd name="T41" fmla="*/ 26218 h 348"/>
              <a:gd name="T42" fmla="*/ 7728 w 174"/>
              <a:gd name="T43" fmla="*/ 26218 h 348"/>
              <a:gd name="T44" fmla="*/ 10626 w 174"/>
              <a:gd name="T45" fmla="*/ 23305 h 348"/>
              <a:gd name="T46" fmla="*/ 12558 w 174"/>
              <a:gd name="T47" fmla="*/ 21363 h 348"/>
              <a:gd name="T48" fmla="*/ 17388 w 174"/>
              <a:gd name="T49" fmla="*/ 21363 h 348"/>
              <a:gd name="T50" fmla="*/ 23184 w 174"/>
              <a:gd name="T51" fmla="*/ 19421 h 348"/>
              <a:gd name="T52" fmla="*/ 29947 w 174"/>
              <a:gd name="T53" fmla="*/ 14566 h 348"/>
              <a:gd name="T54" fmla="*/ 31879 w 174"/>
              <a:gd name="T55" fmla="*/ 8739 h 348"/>
              <a:gd name="T56" fmla="*/ 31879 w 174"/>
              <a:gd name="T57" fmla="*/ 3885 h 348"/>
              <a:gd name="T58" fmla="*/ 37674 w 174"/>
              <a:gd name="T59" fmla="*/ 1942 h 348"/>
              <a:gd name="T60" fmla="*/ 41539 w 174"/>
              <a:gd name="T61" fmla="*/ 1942 h 348"/>
              <a:gd name="T62" fmla="*/ 46369 w 174"/>
              <a:gd name="T63" fmla="*/ 6798 h 348"/>
              <a:gd name="T64" fmla="*/ 51199 w 174"/>
              <a:gd name="T65" fmla="*/ 10681 h 348"/>
              <a:gd name="T66" fmla="*/ 55063 w 174"/>
              <a:gd name="T67" fmla="*/ 14566 h 348"/>
              <a:gd name="T68" fmla="*/ 55063 w 174"/>
              <a:gd name="T69" fmla="*/ 19421 h 348"/>
              <a:gd name="T70" fmla="*/ 56995 w 174"/>
              <a:gd name="T71" fmla="*/ 26218 h 348"/>
              <a:gd name="T72" fmla="*/ 58927 w 174"/>
              <a:gd name="T73" fmla="*/ 32045 h 348"/>
              <a:gd name="T74" fmla="*/ 60859 w 174"/>
              <a:gd name="T75" fmla="*/ 37871 h 348"/>
              <a:gd name="T76" fmla="*/ 56995 w 174"/>
              <a:gd name="T77" fmla="*/ 37871 h 348"/>
              <a:gd name="T78" fmla="*/ 56995 w 174"/>
              <a:gd name="T79" fmla="*/ 44669 h 348"/>
              <a:gd name="T80" fmla="*/ 55063 w 174"/>
              <a:gd name="T81" fmla="*/ 51466 h 348"/>
              <a:gd name="T82" fmla="*/ 51199 w 174"/>
              <a:gd name="T83" fmla="*/ 56321 h 348"/>
              <a:gd name="T84" fmla="*/ 46369 w 174"/>
              <a:gd name="T85" fmla="*/ 60206 h 348"/>
              <a:gd name="T86" fmla="*/ 44437 w 174"/>
              <a:gd name="T87" fmla="*/ 67003 h 348"/>
              <a:gd name="T88" fmla="*/ 40573 w 174"/>
              <a:gd name="T89" fmla="*/ 70887 h 348"/>
              <a:gd name="T90" fmla="*/ 40573 w 174"/>
              <a:gd name="T91" fmla="*/ 74772 h 348"/>
              <a:gd name="T92" fmla="*/ 40573 w 174"/>
              <a:gd name="T93" fmla="*/ 79627 h 348"/>
              <a:gd name="T94" fmla="*/ 40573 w 174"/>
              <a:gd name="T95" fmla="*/ 83511 h 348"/>
              <a:gd name="T96" fmla="*/ 37674 w 174"/>
              <a:gd name="T97" fmla="*/ 90309 h 348"/>
              <a:gd name="T98" fmla="*/ 37674 w 174"/>
              <a:gd name="T99" fmla="*/ 98077 h 348"/>
              <a:gd name="T100" fmla="*/ 40573 w 174"/>
              <a:gd name="T101" fmla="*/ 104875 h 348"/>
              <a:gd name="T102" fmla="*/ 40573 w 174"/>
              <a:gd name="T103" fmla="*/ 109730 h 348"/>
              <a:gd name="T104" fmla="*/ 40573 w 174"/>
              <a:gd name="T105" fmla="*/ 115556 h 348"/>
              <a:gd name="T106" fmla="*/ 37674 w 174"/>
              <a:gd name="T107" fmla="*/ 120412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348">
                <a:moveTo>
                  <a:pt x="108" y="342"/>
                </a:moveTo>
                <a:lnTo>
                  <a:pt x="102" y="342"/>
                </a:lnTo>
                <a:lnTo>
                  <a:pt x="96" y="342"/>
                </a:lnTo>
                <a:lnTo>
                  <a:pt x="90" y="342"/>
                </a:lnTo>
                <a:lnTo>
                  <a:pt x="84" y="342"/>
                </a:lnTo>
                <a:lnTo>
                  <a:pt x="78" y="342"/>
                </a:lnTo>
                <a:lnTo>
                  <a:pt x="72" y="342"/>
                </a:lnTo>
                <a:lnTo>
                  <a:pt x="66" y="342"/>
                </a:lnTo>
                <a:lnTo>
                  <a:pt x="66" y="348"/>
                </a:lnTo>
                <a:lnTo>
                  <a:pt x="60" y="348"/>
                </a:lnTo>
                <a:lnTo>
                  <a:pt x="54" y="348"/>
                </a:lnTo>
                <a:lnTo>
                  <a:pt x="48" y="348"/>
                </a:lnTo>
                <a:lnTo>
                  <a:pt x="54" y="348"/>
                </a:lnTo>
                <a:lnTo>
                  <a:pt x="60" y="348"/>
                </a:lnTo>
                <a:lnTo>
                  <a:pt x="60" y="342"/>
                </a:lnTo>
                <a:lnTo>
                  <a:pt x="54" y="336"/>
                </a:lnTo>
                <a:lnTo>
                  <a:pt x="60" y="336"/>
                </a:lnTo>
                <a:lnTo>
                  <a:pt x="54" y="336"/>
                </a:lnTo>
                <a:lnTo>
                  <a:pt x="60" y="336"/>
                </a:lnTo>
                <a:lnTo>
                  <a:pt x="54" y="336"/>
                </a:lnTo>
                <a:lnTo>
                  <a:pt x="54" y="330"/>
                </a:lnTo>
                <a:lnTo>
                  <a:pt x="54" y="336"/>
                </a:lnTo>
                <a:lnTo>
                  <a:pt x="54" y="330"/>
                </a:lnTo>
                <a:lnTo>
                  <a:pt x="54" y="336"/>
                </a:lnTo>
                <a:lnTo>
                  <a:pt x="54" y="330"/>
                </a:lnTo>
                <a:lnTo>
                  <a:pt x="48" y="330"/>
                </a:lnTo>
                <a:lnTo>
                  <a:pt x="48" y="324"/>
                </a:lnTo>
                <a:lnTo>
                  <a:pt x="48" y="318"/>
                </a:lnTo>
                <a:lnTo>
                  <a:pt x="48" y="312"/>
                </a:lnTo>
                <a:lnTo>
                  <a:pt x="48" y="306"/>
                </a:lnTo>
                <a:lnTo>
                  <a:pt x="48" y="300"/>
                </a:lnTo>
                <a:lnTo>
                  <a:pt x="48" y="294"/>
                </a:lnTo>
                <a:lnTo>
                  <a:pt x="48" y="288"/>
                </a:lnTo>
                <a:lnTo>
                  <a:pt x="48" y="282"/>
                </a:lnTo>
                <a:lnTo>
                  <a:pt x="48" y="276"/>
                </a:lnTo>
                <a:lnTo>
                  <a:pt x="54" y="276"/>
                </a:lnTo>
                <a:lnTo>
                  <a:pt x="48" y="276"/>
                </a:lnTo>
                <a:lnTo>
                  <a:pt x="48" y="270"/>
                </a:lnTo>
                <a:lnTo>
                  <a:pt x="48" y="264"/>
                </a:lnTo>
                <a:lnTo>
                  <a:pt x="48" y="258"/>
                </a:lnTo>
                <a:lnTo>
                  <a:pt x="48" y="252"/>
                </a:lnTo>
                <a:lnTo>
                  <a:pt x="48" y="246"/>
                </a:lnTo>
                <a:lnTo>
                  <a:pt x="48" y="240"/>
                </a:lnTo>
                <a:lnTo>
                  <a:pt x="48" y="234"/>
                </a:lnTo>
                <a:lnTo>
                  <a:pt x="48" y="228"/>
                </a:lnTo>
                <a:lnTo>
                  <a:pt x="48" y="222"/>
                </a:lnTo>
                <a:lnTo>
                  <a:pt x="48" y="216"/>
                </a:lnTo>
                <a:lnTo>
                  <a:pt x="48" y="210"/>
                </a:lnTo>
                <a:lnTo>
                  <a:pt x="48" y="204"/>
                </a:lnTo>
                <a:lnTo>
                  <a:pt x="48" y="198"/>
                </a:lnTo>
                <a:lnTo>
                  <a:pt x="48" y="192"/>
                </a:lnTo>
                <a:lnTo>
                  <a:pt x="48" y="186"/>
                </a:lnTo>
                <a:lnTo>
                  <a:pt x="48" y="180"/>
                </a:lnTo>
                <a:lnTo>
                  <a:pt x="42" y="180"/>
                </a:lnTo>
                <a:lnTo>
                  <a:pt x="42" y="174"/>
                </a:lnTo>
                <a:lnTo>
                  <a:pt x="36" y="174"/>
                </a:lnTo>
                <a:lnTo>
                  <a:pt x="36" y="168"/>
                </a:lnTo>
                <a:lnTo>
                  <a:pt x="36" y="162"/>
                </a:lnTo>
                <a:lnTo>
                  <a:pt x="36" y="168"/>
                </a:lnTo>
                <a:lnTo>
                  <a:pt x="36" y="162"/>
                </a:lnTo>
                <a:lnTo>
                  <a:pt x="36" y="156"/>
                </a:lnTo>
                <a:lnTo>
                  <a:pt x="36" y="150"/>
                </a:lnTo>
                <a:lnTo>
                  <a:pt x="36" y="144"/>
                </a:lnTo>
                <a:lnTo>
                  <a:pt x="36" y="138"/>
                </a:lnTo>
                <a:lnTo>
                  <a:pt x="30" y="138"/>
                </a:lnTo>
                <a:lnTo>
                  <a:pt x="30" y="132"/>
                </a:lnTo>
                <a:lnTo>
                  <a:pt x="24" y="132"/>
                </a:lnTo>
                <a:lnTo>
                  <a:pt x="24" y="126"/>
                </a:lnTo>
                <a:lnTo>
                  <a:pt x="18" y="126"/>
                </a:lnTo>
                <a:lnTo>
                  <a:pt x="12" y="126"/>
                </a:lnTo>
                <a:lnTo>
                  <a:pt x="12" y="120"/>
                </a:lnTo>
                <a:lnTo>
                  <a:pt x="6" y="120"/>
                </a:lnTo>
                <a:lnTo>
                  <a:pt x="6" y="114"/>
                </a:lnTo>
                <a:lnTo>
                  <a:pt x="0" y="114"/>
                </a:lnTo>
                <a:lnTo>
                  <a:pt x="0" y="108"/>
                </a:lnTo>
                <a:lnTo>
                  <a:pt x="6" y="102"/>
                </a:lnTo>
                <a:lnTo>
                  <a:pt x="6" y="96"/>
                </a:lnTo>
                <a:lnTo>
                  <a:pt x="0" y="96"/>
                </a:lnTo>
                <a:lnTo>
                  <a:pt x="6" y="96"/>
                </a:lnTo>
                <a:lnTo>
                  <a:pt x="6" y="90"/>
                </a:lnTo>
                <a:lnTo>
                  <a:pt x="6" y="84"/>
                </a:lnTo>
                <a:lnTo>
                  <a:pt x="6" y="78"/>
                </a:lnTo>
                <a:lnTo>
                  <a:pt x="12" y="78"/>
                </a:lnTo>
                <a:lnTo>
                  <a:pt x="12" y="72"/>
                </a:lnTo>
                <a:lnTo>
                  <a:pt x="18" y="72"/>
                </a:lnTo>
                <a:lnTo>
                  <a:pt x="18" y="78"/>
                </a:lnTo>
                <a:lnTo>
                  <a:pt x="18" y="72"/>
                </a:lnTo>
                <a:lnTo>
                  <a:pt x="24" y="72"/>
                </a:lnTo>
                <a:lnTo>
                  <a:pt x="24" y="66"/>
                </a:lnTo>
                <a:lnTo>
                  <a:pt x="30" y="66"/>
                </a:lnTo>
                <a:lnTo>
                  <a:pt x="30" y="60"/>
                </a:lnTo>
                <a:lnTo>
                  <a:pt x="30" y="66"/>
                </a:lnTo>
                <a:lnTo>
                  <a:pt x="30" y="60"/>
                </a:lnTo>
                <a:lnTo>
                  <a:pt x="36" y="60"/>
                </a:lnTo>
                <a:lnTo>
                  <a:pt x="30" y="60"/>
                </a:lnTo>
                <a:lnTo>
                  <a:pt x="36" y="60"/>
                </a:lnTo>
                <a:lnTo>
                  <a:pt x="36" y="54"/>
                </a:lnTo>
                <a:lnTo>
                  <a:pt x="42" y="54"/>
                </a:lnTo>
                <a:lnTo>
                  <a:pt x="48" y="54"/>
                </a:lnTo>
                <a:lnTo>
                  <a:pt x="48" y="60"/>
                </a:lnTo>
                <a:lnTo>
                  <a:pt x="48" y="54"/>
                </a:lnTo>
                <a:lnTo>
                  <a:pt x="54" y="54"/>
                </a:lnTo>
                <a:lnTo>
                  <a:pt x="60" y="54"/>
                </a:lnTo>
                <a:lnTo>
                  <a:pt x="66" y="54"/>
                </a:lnTo>
                <a:lnTo>
                  <a:pt x="72" y="54"/>
                </a:lnTo>
                <a:lnTo>
                  <a:pt x="78" y="48"/>
                </a:lnTo>
                <a:lnTo>
                  <a:pt x="84" y="48"/>
                </a:lnTo>
                <a:lnTo>
                  <a:pt x="84" y="42"/>
                </a:lnTo>
                <a:lnTo>
                  <a:pt x="84" y="36"/>
                </a:lnTo>
                <a:lnTo>
                  <a:pt x="90" y="36"/>
                </a:lnTo>
                <a:lnTo>
                  <a:pt x="90" y="30"/>
                </a:lnTo>
                <a:lnTo>
                  <a:pt x="90" y="24"/>
                </a:lnTo>
                <a:lnTo>
                  <a:pt x="96" y="24"/>
                </a:lnTo>
                <a:lnTo>
                  <a:pt x="96" y="18"/>
                </a:lnTo>
                <a:lnTo>
                  <a:pt x="90" y="18"/>
                </a:lnTo>
                <a:lnTo>
                  <a:pt x="90" y="12"/>
                </a:lnTo>
                <a:lnTo>
                  <a:pt x="90" y="6"/>
                </a:lnTo>
                <a:lnTo>
                  <a:pt x="96" y="6"/>
                </a:lnTo>
                <a:lnTo>
                  <a:pt x="102" y="6"/>
                </a:lnTo>
                <a:lnTo>
                  <a:pt x="108" y="6"/>
                </a:lnTo>
                <a:lnTo>
                  <a:pt x="108" y="0"/>
                </a:lnTo>
                <a:lnTo>
                  <a:pt x="114" y="0"/>
                </a:lnTo>
                <a:lnTo>
                  <a:pt x="120" y="0"/>
                </a:lnTo>
                <a:lnTo>
                  <a:pt x="120" y="6"/>
                </a:lnTo>
                <a:lnTo>
                  <a:pt x="126" y="6"/>
                </a:lnTo>
                <a:lnTo>
                  <a:pt x="126" y="12"/>
                </a:lnTo>
                <a:lnTo>
                  <a:pt x="132" y="12"/>
                </a:lnTo>
                <a:lnTo>
                  <a:pt x="132" y="18"/>
                </a:lnTo>
                <a:lnTo>
                  <a:pt x="138" y="18"/>
                </a:lnTo>
                <a:lnTo>
                  <a:pt x="138" y="24"/>
                </a:lnTo>
                <a:lnTo>
                  <a:pt x="144" y="24"/>
                </a:lnTo>
                <a:lnTo>
                  <a:pt x="144" y="30"/>
                </a:lnTo>
                <a:lnTo>
                  <a:pt x="150" y="30"/>
                </a:lnTo>
                <a:lnTo>
                  <a:pt x="156" y="30"/>
                </a:lnTo>
                <a:lnTo>
                  <a:pt x="156" y="36"/>
                </a:lnTo>
                <a:lnTo>
                  <a:pt x="156" y="42"/>
                </a:lnTo>
                <a:lnTo>
                  <a:pt x="162" y="42"/>
                </a:lnTo>
                <a:lnTo>
                  <a:pt x="156" y="42"/>
                </a:lnTo>
                <a:lnTo>
                  <a:pt x="156" y="48"/>
                </a:lnTo>
                <a:lnTo>
                  <a:pt x="156" y="54"/>
                </a:lnTo>
                <a:lnTo>
                  <a:pt x="156" y="60"/>
                </a:lnTo>
                <a:lnTo>
                  <a:pt x="156" y="66"/>
                </a:lnTo>
                <a:lnTo>
                  <a:pt x="162" y="66"/>
                </a:lnTo>
                <a:lnTo>
                  <a:pt x="162" y="72"/>
                </a:lnTo>
                <a:lnTo>
                  <a:pt x="168" y="72"/>
                </a:lnTo>
                <a:lnTo>
                  <a:pt x="168" y="78"/>
                </a:lnTo>
                <a:lnTo>
                  <a:pt x="168" y="84"/>
                </a:lnTo>
                <a:lnTo>
                  <a:pt x="168" y="90"/>
                </a:lnTo>
                <a:lnTo>
                  <a:pt x="168" y="96"/>
                </a:lnTo>
                <a:lnTo>
                  <a:pt x="174" y="96"/>
                </a:lnTo>
                <a:lnTo>
                  <a:pt x="174" y="102"/>
                </a:lnTo>
                <a:lnTo>
                  <a:pt x="174" y="108"/>
                </a:lnTo>
                <a:lnTo>
                  <a:pt x="168" y="108"/>
                </a:lnTo>
                <a:lnTo>
                  <a:pt x="168" y="114"/>
                </a:lnTo>
                <a:lnTo>
                  <a:pt x="168" y="108"/>
                </a:lnTo>
                <a:lnTo>
                  <a:pt x="162" y="108"/>
                </a:lnTo>
                <a:lnTo>
                  <a:pt x="162" y="114"/>
                </a:lnTo>
                <a:lnTo>
                  <a:pt x="162" y="120"/>
                </a:lnTo>
                <a:lnTo>
                  <a:pt x="156" y="120"/>
                </a:lnTo>
                <a:lnTo>
                  <a:pt x="162" y="126"/>
                </a:lnTo>
                <a:lnTo>
                  <a:pt x="162" y="132"/>
                </a:lnTo>
                <a:lnTo>
                  <a:pt x="162" y="138"/>
                </a:lnTo>
                <a:lnTo>
                  <a:pt x="156" y="138"/>
                </a:lnTo>
                <a:lnTo>
                  <a:pt x="156" y="144"/>
                </a:lnTo>
                <a:lnTo>
                  <a:pt x="150" y="144"/>
                </a:lnTo>
                <a:lnTo>
                  <a:pt x="144" y="144"/>
                </a:lnTo>
                <a:lnTo>
                  <a:pt x="144" y="150"/>
                </a:lnTo>
                <a:lnTo>
                  <a:pt x="144" y="156"/>
                </a:lnTo>
                <a:lnTo>
                  <a:pt x="138" y="156"/>
                </a:lnTo>
                <a:lnTo>
                  <a:pt x="138" y="162"/>
                </a:lnTo>
                <a:lnTo>
                  <a:pt x="132" y="162"/>
                </a:lnTo>
                <a:lnTo>
                  <a:pt x="132" y="168"/>
                </a:lnTo>
                <a:lnTo>
                  <a:pt x="132" y="174"/>
                </a:lnTo>
                <a:lnTo>
                  <a:pt x="132" y="180"/>
                </a:lnTo>
                <a:lnTo>
                  <a:pt x="132" y="186"/>
                </a:lnTo>
                <a:lnTo>
                  <a:pt x="126" y="186"/>
                </a:lnTo>
                <a:lnTo>
                  <a:pt x="120" y="186"/>
                </a:lnTo>
                <a:lnTo>
                  <a:pt x="114" y="186"/>
                </a:lnTo>
                <a:lnTo>
                  <a:pt x="114" y="192"/>
                </a:lnTo>
                <a:lnTo>
                  <a:pt x="114" y="198"/>
                </a:lnTo>
                <a:lnTo>
                  <a:pt x="114" y="204"/>
                </a:lnTo>
                <a:lnTo>
                  <a:pt x="108" y="204"/>
                </a:lnTo>
                <a:lnTo>
                  <a:pt x="114" y="204"/>
                </a:lnTo>
                <a:lnTo>
                  <a:pt x="114" y="210"/>
                </a:lnTo>
                <a:lnTo>
                  <a:pt x="108" y="210"/>
                </a:lnTo>
                <a:lnTo>
                  <a:pt x="114" y="210"/>
                </a:lnTo>
                <a:lnTo>
                  <a:pt x="114" y="216"/>
                </a:lnTo>
                <a:lnTo>
                  <a:pt x="114" y="222"/>
                </a:lnTo>
                <a:lnTo>
                  <a:pt x="108" y="222"/>
                </a:lnTo>
                <a:lnTo>
                  <a:pt x="108" y="228"/>
                </a:lnTo>
                <a:lnTo>
                  <a:pt x="108" y="234"/>
                </a:lnTo>
                <a:lnTo>
                  <a:pt x="114" y="234"/>
                </a:lnTo>
                <a:lnTo>
                  <a:pt x="114" y="240"/>
                </a:lnTo>
                <a:lnTo>
                  <a:pt x="108" y="240"/>
                </a:lnTo>
                <a:lnTo>
                  <a:pt x="108" y="246"/>
                </a:lnTo>
                <a:lnTo>
                  <a:pt x="108" y="252"/>
                </a:lnTo>
                <a:lnTo>
                  <a:pt x="108" y="258"/>
                </a:lnTo>
                <a:lnTo>
                  <a:pt x="108" y="264"/>
                </a:lnTo>
                <a:lnTo>
                  <a:pt x="108" y="270"/>
                </a:lnTo>
                <a:lnTo>
                  <a:pt x="108" y="276"/>
                </a:lnTo>
                <a:lnTo>
                  <a:pt x="114" y="276"/>
                </a:lnTo>
                <a:lnTo>
                  <a:pt x="114" y="282"/>
                </a:lnTo>
                <a:lnTo>
                  <a:pt x="114" y="288"/>
                </a:lnTo>
                <a:lnTo>
                  <a:pt x="114" y="294"/>
                </a:lnTo>
                <a:lnTo>
                  <a:pt x="114" y="300"/>
                </a:lnTo>
                <a:lnTo>
                  <a:pt x="114" y="306"/>
                </a:lnTo>
                <a:lnTo>
                  <a:pt x="108" y="306"/>
                </a:lnTo>
                <a:lnTo>
                  <a:pt x="114" y="306"/>
                </a:lnTo>
                <a:lnTo>
                  <a:pt x="114" y="312"/>
                </a:lnTo>
                <a:lnTo>
                  <a:pt x="108" y="318"/>
                </a:lnTo>
                <a:lnTo>
                  <a:pt x="114" y="318"/>
                </a:lnTo>
                <a:lnTo>
                  <a:pt x="114" y="324"/>
                </a:lnTo>
                <a:lnTo>
                  <a:pt x="108" y="324"/>
                </a:lnTo>
                <a:lnTo>
                  <a:pt x="114" y="330"/>
                </a:lnTo>
                <a:lnTo>
                  <a:pt x="108" y="330"/>
                </a:lnTo>
                <a:lnTo>
                  <a:pt x="108" y="336"/>
                </a:lnTo>
                <a:lnTo>
                  <a:pt x="108" y="34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7" name="Freeform 27">
            <a:extLst>
              <a:ext uri="{FF2B5EF4-FFF2-40B4-BE49-F238E27FC236}">
                <a16:creationId xmlns:a16="http://schemas.microsoft.com/office/drawing/2014/main" id="{0239E93C-35BA-D74E-9CD1-692260AEEED2}"/>
              </a:ext>
            </a:extLst>
          </p:cNvPr>
          <p:cNvSpPr>
            <a:spLocks/>
          </p:cNvSpPr>
          <p:nvPr>
            <p:custDataLst>
              <p:tags r:id="rId25"/>
            </p:custDataLst>
          </p:nvPr>
        </p:nvSpPr>
        <p:spPr bwMode="gray">
          <a:xfrm>
            <a:off x="3562003" y="3377177"/>
            <a:ext cx="1008660" cy="599674"/>
          </a:xfrm>
          <a:custGeom>
            <a:avLst/>
            <a:gdLst>
              <a:gd name="T0" fmla="*/ 60190 w 876"/>
              <a:gd name="T1" fmla="*/ 237877 h 696"/>
              <a:gd name="T2" fmla="*/ 49511 w 876"/>
              <a:gd name="T3" fmla="*/ 233041 h 696"/>
              <a:gd name="T4" fmla="*/ 42716 w 876"/>
              <a:gd name="T5" fmla="*/ 241744 h 696"/>
              <a:gd name="T6" fmla="*/ 40774 w 876"/>
              <a:gd name="T7" fmla="*/ 229174 h 696"/>
              <a:gd name="T8" fmla="*/ 26211 w 876"/>
              <a:gd name="T9" fmla="*/ 227240 h 696"/>
              <a:gd name="T10" fmla="*/ 14562 w 876"/>
              <a:gd name="T11" fmla="*/ 216603 h 696"/>
              <a:gd name="T12" fmla="*/ 19416 w 876"/>
              <a:gd name="T13" fmla="*/ 212735 h 696"/>
              <a:gd name="T14" fmla="*/ 8737 w 876"/>
              <a:gd name="T15" fmla="*/ 204032 h 696"/>
              <a:gd name="T16" fmla="*/ 1942 w 876"/>
              <a:gd name="T17" fmla="*/ 195329 h 696"/>
              <a:gd name="T18" fmla="*/ 0 w 876"/>
              <a:gd name="T19" fmla="*/ 182759 h 696"/>
              <a:gd name="T20" fmla="*/ 10678 w 876"/>
              <a:gd name="T21" fmla="*/ 177924 h 696"/>
              <a:gd name="T22" fmla="*/ 23299 w 876"/>
              <a:gd name="T23" fmla="*/ 172122 h 696"/>
              <a:gd name="T24" fmla="*/ 42716 w 876"/>
              <a:gd name="T25" fmla="*/ 172122 h 696"/>
              <a:gd name="T26" fmla="*/ 62132 w 876"/>
              <a:gd name="T27" fmla="*/ 172122 h 696"/>
              <a:gd name="T28" fmla="*/ 72810 w 876"/>
              <a:gd name="T29" fmla="*/ 163420 h 696"/>
              <a:gd name="T30" fmla="*/ 76693 w 876"/>
              <a:gd name="T31" fmla="*/ 144080 h 696"/>
              <a:gd name="T32" fmla="*/ 79605 w 876"/>
              <a:gd name="T33" fmla="*/ 127641 h 696"/>
              <a:gd name="T34" fmla="*/ 79605 w 876"/>
              <a:gd name="T35" fmla="*/ 108301 h 696"/>
              <a:gd name="T36" fmla="*/ 83489 w 876"/>
              <a:gd name="T37" fmla="*/ 93797 h 696"/>
              <a:gd name="T38" fmla="*/ 102905 w 876"/>
              <a:gd name="T39" fmla="*/ 88962 h 696"/>
              <a:gd name="T40" fmla="*/ 120379 w 876"/>
              <a:gd name="T41" fmla="*/ 78325 h 696"/>
              <a:gd name="T42" fmla="*/ 132029 w 876"/>
              <a:gd name="T43" fmla="*/ 67689 h 696"/>
              <a:gd name="T44" fmla="*/ 145620 w 876"/>
              <a:gd name="T45" fmla="*/ 55118 h 696"/>
              <a:gd name="T46" fmla="*/ 158240 w 876"/>
              <a:gd name="T47" fmla="*/ 48349 h 696"/>
              <a:gd name="T48" fmla="*/ 170861 w 876"/>
              <a:gd name="T49" fmla="*/ 40613 h 696"/>
              <a:gd name="T50" fmla="*/ 186394 w 876"/>
              <a:gd name="T51" fmla="*/ 29977 h 696"/>
              <a:gd name="T52" fmla="*/ 199014 w 876"/>
              <a:gd name="T53" fmla="*/ 21274 h 696"/>
              <a:gd name="T54" fmla="*/ 214547 w 876"/>
              <a:gd name="T55" fmla="*/ 12571 h 696"/>
              <a:gd name="T56" fmla="*/ 229109 w 876"/>
              <a:gd name="T57" fmla="*/ 3868 h 696"/>
              <a:gd name="T58" fmla="*/ 244642 w 876"/>
              <a:gd name="T59" fmla="*/ 1934 h 696"/>
              <a:gd name="T60" fmla="*/ 263088 w 876"/>
              <a:gd name="T61" fmla="*/ 6769 h 696"/>
              <a:gd name="T62" fmla="*/ 273766 w 876"/>
              <a:gd name="T63" fmla="*/ 14505 h 696"/>
              <a:gd name="T64" fmla="*/ 295124 w 876"/>
              <a:gd name="T65" fmla="*/ 17406 h 696"/>
              <a:gd name="T66" fmla="*/ 298036 w 876"/>
              <a:gd name="T67" fmla="*/ 37712 h 696"/>
              <a:gd name="T68" fmla="*/ 303861 w 876"/>
              <a:gd name="T69" fmla="*/ 51250 h 696"/>
              <a:gd name="T70" fmla="*/ 312598 w 876"/>
              <a:gd name="T71" fmla="*/ 65754 h 696"/>
              <a:gd name="T72" fmla="*/ 308715 w 876"/>
              <a:gd name="T73" fmla="*/ 85094 h 696"/>
              <a:gd name="T74" fmla="*/ 305802 w 876"/>
              <a:gd name="T75" fmla="*/ 101532 h 696"/>
              <a:gd name="T76" fmla="*/ 303861 w 876"/>
              <a:gd name="T77" fmla="*/ 120872 h 696"/>
              <a:gd name="T78" fmla="*/ 301919 w 876"/>
              <a:gd name="T79" fmla="*/ 140212 h 696"/>
              <a:gd name="T80" fmla="*/ 289299 w 876"/>
              <a:gd name="T81" fmla="*/ 154717 h 696"/>
              <a:gd name="T82" fmla="*/ 280562 w 876"/>
              <a:gd name="T83" fmla="*/ 165353 h 696"/>
              <a:gd name="T84" fmla="*/ 269883 w 876"/>
              <a:gd name="T85" fmla="*/ 177924 h 696"/>
              <a:gd name="T86" fmla="*/ 263088 w 876"/>
              <a:gd name="T87" fmla="*/ 191461 h 696"/>
              <a:gd name="T88" fmla="*/ 265029 w 876"/>
              <a:gd name="T89" fmla="*/ 204032 h 696"/>
              <a:gd name="T90" fmla="*/ 252408 w 876"/>
              <a:gd name="T91" fmla="*/ 209834 h 696"/>
              <a:gd name="T92" fmla="*/ 245613 w 876"/>
              <a:gd name="T93" fmla="*/ 214669 h 696"/>
              <a:gd name="T94" fmla="*/ 241730 w 876"/>
              <a:gd name="T95" fmla="*/ 216603 h 696"/>
              <a:gd name="T96" fmla="*/ 232992 w 876"/>
              <a:gd name="T97" fmla="*/ 216603 h 696"/>
              <a:gd name="T98" fmla="*/ 215518 w 876"/>
              <a:gd name="T99" fmla="*/ 212735 h 696"/>
              <a:gd name="T100" fmla="*/ 199014 w 876"/>
              <a:gd name="T101" fmla="*/ 214669 h 696"/>
              <a:gd name="T102" fmla="*/ 186394 w 876"/>
              <a:gd name="T103" fmla="*/ 222405 h 696"/>
              <a:gd name="T104" fmla="*/ 168920 w 876"/>
              <a:gd name="T105" fmla="*/ 220471 h 696"/>
              <a:gd name="T106" fmla="*/ 156299 w 876"/>
              <a:gd name="T107" fmla="*/ 214669 h 696"/>
              <a:gd name="T108" fmla="*/ 143679 w 876"/>
              <a:gd name="T109" fmla="*/ 216603 h 696"/>
              <a:gd name="T110" fmla="*/ 131059 w 876"/>
              <a:gd name="T111" fmla="*/ 214669 h 696"/>
              <a:gd name="T112" fmla="*/ 115526 w 876"/>
              <a:gd name="T113" fmla="*/ 205966 h 696"/>
              <a:gd name="T114" fmla="*/ 98051 w 876"/>
              <a:gd name="T115" fmla="*/ 204032 h 696"/>
              <a:gd name="T116" fmla="*/ 81547 w 876"/>
              <a:gd name="T117" fmla="*/ 205966 h 696"/>
              <a:gd name="T118" fmla="*/ 76693 w 876"/>
              <a:gd name="T119" fmla="*/ 220471 h 696"/>
              <a:gd name="T120" fmla="*/ 67957 w 876"/>
              <a:gd name="T121" fmla="*/ 232075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696">
                <a:moveTo>
                  <a:pt x="192" y="696"/>
                </a:moveTo>
                <a:lnTo>
                  <a:pt x="186" y="696"/>
                </a:lnTo>
                <a:lnTo>
                  <a:pt x="186" y="690"/>
                </a:lnTo>
                <a:lnTo>
                  <a:pt x="186" y="684"/>
                </a:lnTo>
                <a:lnTo>
                  <a:pt x="180" y="684"/>
                </a:lnTo>
                <a:lnTo>
                  <a:pt x="174" y="684"/>
                </a:lnTo>
                <a:lnTo>
                  <a:pt x="174" y="678"/>
                </a:lnTo>
                <a:lnTo>
                  <a:pt x="168" y="678"/>
                </a:lnTo>
                <a:lnTo>
                  <a:pt x="168" y="672"/>
                </a:lnTo>
                <a:lnTo>
                  <a:pt x="162" y="672"/>
                </a:lnTo>
                <a:lnTo>
                  <a:pt x="162" y="666"/>
                </a:lnTo>
                <a:lnTo>
                  <a:pt x="156" y="666"/>
                </a:lnTo>
                <a:lnTo>
                  <a:pt x="156" y="660"/>
                </a:lnTo>
                <a:lnTo>
                  <a:pt x="150" y="660"/>
                </a:lnTo>
                <a:lnTo>
                  <a:pt x="150" y="654"/>
                </a:lnTo>
                <a:lnTo>
                  <a:pt x="144" y="654"/>
                </a:lnTo>
                <a:lnTo>
                  <a:pt x="138" y="654"/>
                </a:lnTo>
                <a:lnTo>
                  <a:pt x="138" y="660"/>
                </a:lnTo>
                <a:lnTo>
                  <a:pt x="132" y="660"/>
                </a:lnTo>
                <a:lnTo>
                  <a:pt x="126" y="660"/>
                </a:lnTo>
                <a:lnTo>
                  <a:pt x="120" y="660"/>
                </a:lnTo>
                <a:lnTo>
                  <a:pt x="120" y="666"/>
                </a:lnTo>
                <a:lnTo>
                  <a:pt x="120" y="672"/>
                </a:lnTo>
                <a:lnTo>
                  <a:pt x="126" y="672"/>
                </a:lnTo>
                <a:lnTo>
                  <a:pt x="126" y="678"/>
                </a:lnTo>
                <a:lnTo>
                  <a:pt x="120" y="678"/>
                </a:lnTo>
                <a:lnTo>
                  <a:pt x="120" y="684"/>
                </a:lnTo>
                <a:lnTo>
                  <a:pt x="120" y="678"/>
                </a:lnTo>
                <a:lnTo>
                  <a:pt x="114" y="672"/>
                </a:lnTo>
                <a:lnTo>
                  <a:pt x="108" y="666"/>
                </a:lnTo>
                <a:lnTo>
                  <a:pt x="108" y="660"/>
                </a:lnTo>
                <a:lnTo>
                  <a:pt x="102" y="660"/>
                </a:lnTo>
                <a:lnTo>
                  <a:pt x="102" y="654"/>
                </a:lnTo>
                <a:lnTo>
                  <a:pt x="108" y="654"/>
                </a:lnTo>
                <a:lnTo>
                  <a:pt x="114" y="654"/>
                </a:lnTo>
                <a:lnTo>
                  <a:pt x="114" y="648"/>
                </a:lnTo>
                <a:lnTo>
                  <a:pt x="114" y="642"/>
                </a:lnTo>
                <a:lnTo>
                  <a:pt x="108" y="642"/>
                </a:lnTo>
                <a:lnTo>
                  <a:pt x="108" y="636"/>
                </a:lnTo>
                <a:lnTo>
                  <a:pt x="102" y="636"/>
                </a:lnTo>
                <a:lnTo>
                  <a:pt x="96" y="636"/>
                </a:lnTo>
                <a:lnTo>
                  <a:pt x="90" y="642"/>
                </a:lnTo>
                <a:lnTo>
                  <a:pt x="84" y="642"/>
                </a:lnTo>
                <a:lnTo>
                  <a:pt x="78" y="642"/>
                </a:lnTo>
                <a:lnTo>
                  <a:pt x="72" y="642"/>
                </a:lnTo>
                <a:lnTo>
                  <a:pt x="72" y="636"/>
                </a:lnTo>
                <a:lnTo>
                  <a:pt x="66" y="636"/>
                </a:lnTo>
                <a:lnTo>
                  <a:pt x="66" y="630"/>
                </a:lnTo>
                <a:lnTo>
                  <a:pt x="60" y="630"/>
                </a:lnTo>
                <a:lnTo>
                  <a:pt x="60" y="624"/>
                </a:lnTo>
                <a:lnTo>
                  <a:pt x="54" y="624"/>
                </a:lnTo>
                <a:lnTo>
                  <a:pt x="48" y="618"/>
                </a:lnTo>
                <a:lnTo>
                  <a:pt x="42" y="618"/>
                </a:lnTo>
                <a:lnTo>
                  <a:pt x="42" y="612"/>
                </a:lnTo>
                <a:lnTo>
                  <a:pt x="42" y="606"/>
                </a:lnTo>
                <a:lnTo>
                  <a:pt x="42" y="600"/>
                </a:lnTo>
                <a:lnTo>
                  <a:pt x="48" y="600"/>
                </a:lnTo>
                <a:lnTo>
                  <a:pt x="54" y="600"/>
                </a:lnTo>
                <a:lnTo>
                  <a:pt x="60" y="600"/>
                </a:lnTo>
                <a:lnTo>
                  <a:pt x="60" y="594"/>
                </a:lnTo>
                <a:lnTo>
                  <a:pt x="54" y="600"/>
                </a:lnTo>
                <a:lnTo>
                  <a:pt x="54" y="594"/>
                </a:lnTo>
                <a:lnTo>
                  <a:pt x="54" y="600"/>
                </a:lnTo>
                <a:lnTo>
                  <a:pt x="54" y="594"/>
                </a:lnTo>
                <a:lnTo>
                  <a:pt x="48" y="594"/>
                </a:lnTo>
                <a:lnTo>
                  <a:pt x="48" y="588"/>
                </a:lnTo>
                <a:lnTo>
                  <a:pt x="42" y="588"/>
                </a:lnTo>
                <a:lnTo>
                  <a:pt x="42" y="582"/>
                </a:lnTo>
                <a:lnTo>
                  <a:pt x="36" y="582"/>
                </a:lnTo>
                <a:lnTo>
                  <a:pt x="30" y="582"/>
                </a:lnTo>
                <a:lnTo>
                  <a:pt x="24" y="582"/>
                </a:lnTo>
                <a:lnTo>
                  <a:pt x="24" y="576"/>
                </a:lnTo>
                <a:lnTo>
                  <a:pt x="18" y="576"/>
                </a:lnTo>
                <a:lnTo>
                  <a:pt x="18" y="570"/>
                </a:lnTo>
                <a:lnTo>
                  <a:pt x="12" y="570"/>
                </a:lnTo>
                <a:lnTo>
                  <a:pt x="12" y="564"/>
                </a:lnTo>
                <a:lnTo>
                  <a:pt x="18" y="564"/>
                </a:lnTo>
                <a:lnTo>
                  <a:pt x="12" y="564"/>
                </a:lnTo>
                <a:lnTo>
                  <a:pt x="12" y="558"/>
                </a:lnTo>
                <a:lnTo>
                  <a:pt x="6" y="558"/>
                </a:lnTo>
                <a:lnTo>
                  <a:pt x="6" y="552"/>
                </a:lnTo>
                <a:lnTo>
                  <a:pt x="12" y="552"/>
                </a:lnTo>
                <a:lnTo>
                  <a:pt x="12" y="546"/>
                </a:lnTo>
                <a:lnTo>
                  <a:pt x="6" y="546"/>
                </a:lnTo>
                <a:lnTo>
                  <a:pt x="6" y="540"/>
                </a:lnTo>
                <a:lnTo>
                  <a:pt x="0" y="540"/>
                </a:lnTo>
                <a:lnTo>
                  <a:pt x="0" y="534"/>
                </a:lnTo>
                <a:lnTo>
                  <a:pt x="0" y="528"/>
                </a:lnTo>
                <a:lnTo>
                  <a:pt x="0" y="522"/>
                </a:lnTo>
                <a:lnTo>
                  <a:pt x="0" y="516"/>
                </a:lnTo>
                <a:lnTo>
                  <a:pt x="0" y="510"/>
                </a:lnTo>
                <a:lnTo>
                  <a:pt x="0" y="504"/>
                </a:lnTo>
                <a:lnTo>
                  <a:pt x="6" y="504"/>
                </a:lnTo>
                <a:lnTo>
                  <a:pt x="12" y="504"/>
                </a:lnTo>
                <a:lnTo>
                  <a:pt x="18" y="504"/>
                </a:lnTo>
                <a:lnTo>
                  <a:pt x="24" y="504"/>
                </a:lnTo>
                <a:lnTo>
                  <a:pt x="24" y="510"/>
                </a:lnTo>
                <a:lnTo>
                  <a:pt x="30" y="510"/>
                </a:lnTo>
                <a:lnTo>
                  <a:pt x="30" y="504"/>
                </a:lnTo>
                <a:lnTo>
                  <a:pt x="36" y="504"/>
                </a:lnTo>
                <a:lnTo>
                  <a:pt x="42" y="504"/>
                </a:lnTo>
                <a:lnTo>
                  <a:pt x="48" y="504"/>
                </a:lnTo>
                <a:lnTo>
                  <a:pt x="48" y="498"/>
                </a:lnTo>
                <a:lnTo>
                  <a:pt x="54" y="498"/>
                </a:lnTo>
                <a:lnTo>
                  <a:pt x="54" y="492"/>
                </a:lnTo>
                <a:lnTo>
                  <a:pt x="60" y="492"/>
                </a:lnTo>
                <a:lnTo>
                  <a:pt x="66" y="492"/>
                </a:lnTo>
                <a:lnTo>
                  <a:pt x="66" y="486"/>
                </a:lnTo>
                <a:lnTo>
                  <a:pt x="72" y="486"/>
                </a:lnTo>
                <a:lnTo>
                  <a:pt x="78" y="486"/>
                </a:lnTo>
                <a:lnTo>
                  <a:pt x="84" y="486"/>
                </a:lnTo>
                <a:lnTo>
                  <a:pt x="90" y="486"/>
                </a:lnTo>
                <a:lnTo>
                  <a:pt x="96" y="486"/>
                </a:lnTo>
                <a:lnTo>
                  <a:pt x="102" y="486"/>
                </a:lnTo>
                <a:lnTo>
                  <a:pt x="108" y="486"/>
                </a:lnTo>
                <a:lnTo>
                  <a:pt x="114" y="486"/>
                </a:lnTo>
                <a:lnTo>
                  <a:pt x="120" y="486"/>
                </a:lnTo>
                <a:lnTo>
                  <a:pt x="126" y="486"/>
                </a:lnTo>
                <a:lnTo>
                  <a:pt x="132" y="486"/>
                </a:lnTo>
                <a:lnTo>
                  <a:pt x="138" y="486"/>
                </a:lnTo>
                <a:lnTo>
                  <a:pt x="144" y="486"/>
                </a:lnTo>
                <a:lnTo>
                  <a:pt x="150" y="486"/>
                </a:lnTo>
                <a:lnTo>
                  <a:pt x="156" y="486"/>
                </a:lnTo>
                <a:lnTo>
                  <a:pt x="162" y="486"/>
                </a:lnTo>
                <a:lnTo>
                  <a:pt x="168" y="486"/>
                </a:lnTo>
                <a:lnTo>
                  <a:pt x="174" y="486"/>
                </a:lnTo>
                <a:lnTo>
                  <a:pt x="180" y="486"/>
                </a:lnTo>
                <a:lnTo>
                  <a:pt x="186" y="486"/>
                </a:lnTo>
                <a:lnTo>
                  <a:pt x="186" y="480"/>
                </a:lnTo>
                <a:lnTo>
                  <a:pt x="186" y="474"/>
                </a:lnTo>
                <a:lnTo>
                  <a:pt x="192" y="474"/>
                </a:lnTo>
                <a:lnTo>
                  <a:pt x="192" y="468"/>
                </a:lnTo>
                <a:lnTo>
                  <a:pt x="198" y="468"/>
                </a:lnTo>
                <a:lnTo>
                  <a:pt x="204" y="468"/>
                </a:lnTo>
                <a:lnTo>
                  <a:pt x="204" y="462"/>
                </a:lnTo>
                <a:lnTo>
                  <a:pt x="204" y="456"/>
                </a:lnTo>
                <a:lnTo>
                  <a:pt x="210" y="450"/>
                </a:lnTo>
                <a:lnTo>
                  <a:pt x="210" y="444"/>
                </a:lnTo>
                <a:lnTo>
                  <a:pt x="210" y="438"/>
                </a:lnTo>
                <a:lnTo>
                  <a:pt x="216" y="432"/>
                </a:lnTo>
                <a:lnTo>
                  <a:pt x="216" y="426"/>
                </a:lnTo>
                <a:lnTo>
                  <a:pt x="216" y="420"/>
                </a:lnTo>
                <a:lnTo>
                  <a:pt x="216" y="414"/>
                </a:lnTo>
                <a:lnTo>
                  <a:pt x="216" y="408"/>
                </a:lnTo>
                <a:lnTo>
                  <a:pt x="216" y="402"/>
                </a:lnTo>
                <a:lnTo>
                  <a:pt x="216" y="396"/>
                </a:lnTo>
                <a:lnTo>
                  <a:pt x="216" y="390"/>
                </a:lnTo>
                <a:lnTo>
                  <a:pt x="222" y="390"/>
                </a:lnTo>
                <a:lnTo>
                  <a:pt x="222" y="384"/>
                </a:lnTo>
                <a:lnTo>
                  <a:pt x="222" y="378"/>
                </a:lnTo>
                <a:lnTo>
                  <a:pt x="222" y="372"/>
                </a:lnTo>
                <a:lnTo>
                  <a:pt x="222" y="366"/>
                </a:lnTo>
                <a:lnTo>
                  <a:pt x="222" y="360"/>
                </a:lnTo>
                <a:lnTo>
                  <a:pt x="222" y="354"/>
                </a:lnTo>
                <a:lnTo>
                  <a:pt x="222" y="348"/>
                </a:lnTo>
                <a:lnTo>
                  <a:pt x="222" y="342"/>
                </a:lnTo>
                <a:lnTo>
                  <a:pt x="222" y="336"/>
                </a:lnTo>
                <a:lnTo>
                  <a:pt x="222" y="330"/>
                </a:lnTo>
                <a:lnTo>
                  <a:pt x="222" y="324"/>
                </a:lnTo>
                <a:lnTo>
                  <a:pt x="222" y="318"/>
                </a:lnTo>
                <a:lnTo>
                  <a:pt x="222" y="312"/>
                </a:lnTo>
                <a:lnTo>
                  <a:pt x="222" y="306"/>
                </a:lnTo>
                <a:lnTo>
                  <a:pt x="222" y="300"/>
                </a:lnTo>
                <a:lnTo>
                  <a:pt x="222" y="294"/>
                </a:lnTo>
                <a:lnTo>
                  <a:pt x="222" y="288"/>
                </a:lnTo>
                <a:lnTo>
                  <a:pt x="222" y="282"/>
                </a:lnTo>
                <a:lnTo>
                  <a:pt x="222" y="276"/>
                </a:lnTo>
                <a:lnTo>
                  <a:pt x="222" y="270"/>
                </a:lnTo>
                <a:lnTo>
                  <a:pt x="222" y="264"/>
                </a:lnTo>
                <a:lnTo>
                  <a:pt x="228" y="264"/>
                </a:lnTo>
                <a:lnTo>
                  <a:pt x="234" y="264"/>
                </a:lnTo>
                <a:lnTo>
                  <a:pt x="240" y="258"/>
                </a:lnTo>
                <a:lnTo>
                  <a:pt x="246" y="258"/>
                </a:lnTo>
                <a:lnTo>
                  <a:pt x="252" y="258"/>
                </a:lnTo>
                <a:lnTo>
                  <a:pt x="258" y="258"/>
                </a:lnTo>
                <a:lnTo>
                  <a:pt x="264" y="258"/>
                </a:lnTo>
                <a:lnTo>
                  <a:pt x="270" y="252"/>
                </a:lnTo>
                <a:lnTo>
                  <a:pt x="276" y="252"/>
                </a:lnTo>
                <a:lnTo>
                  <a:pt x="282" y="252"/>
                </a:lnTo>
                <a:lnTo>
                  <a:pt x="288" y="252"/>
                </a:lnTo>
                <a:lnTo>
                  <a:pt x="294" y="252"/>
                </a:lnTo>
                <a:lnTo>
                  <a:pt x="300" y="252"/>
                </a:lnTo>
                <a:lnTo>
                  <a:pt x="306" y="246"/>
                </a:lnTo>
                <a:lnTo>
                  <a:pt x="312" y="246"/>
                </a:lnTo>
                <a:lnTo>
                  <a:pt x="318" y="240"/>
                </a:lnTo>
                <a:lnTo>
                  <a:pt x="324" y="234"/>
                </a:lnTo>
                <a:lnTo>
                  <a:pt x="330" y="228"/>
                </a:lnTo>
                <a:lnTo>
                  <a:pt x="336" y="228"/>
                </a:lnTo>
                <a:lnTo>
                  <a:pt x="336" y="222"/>
                </a:lnTo>
                <a:lnTo>
                  <a:pt x="342" y="216"/>
                </a:lnTo>
                <a:lnTo>
                  <a:pt x="348" y="210"/>
                </a:lnTo>
                <a:lnTo>
                  <a:pt x="354" y="210"/>
                </a:lnTo>
                <a:lnTo>
                  <a:pt x="354" y="204"/>
                </a:lnTo>
                <a:lnTo>
                  <a:pt x="360" y="204"/>
                </a:lnTo>
                <a:lnTo>
                  <a:pt x="360" y="198"/>
                </a:lnTo>
                <a:lnTo>
                  <a:pt x="366" y="198"/>
                </a:lnTo>
                <a:lnTo>
                  <a:pt x="366" y="192"/>
                </a:lnTo>
                <a:lnTo>
                  <a:pt x="372" y="192"/>
                </a:lnTo>
                <a:lnTo>
                  <a:pt x="372" y="186"/>
                </a:lnTo>
                <a:lnTo>
                  <a:pt x="378" y="186"/>
                </a:lnTo>
                <a:lnTo>
                  <a:pt x="384" y="180"/>
                </a:lnTo>
                <a:lnTo>
                  <a:pt x="384" y="174"/>
                </a:lnTo>
                <a:lnTo>
                  <a:pt x="390" y="174"/>
                </a:lnTo>
                <a:lnTo>
                  <a:pt x="396" y="168"/>
                </a:lnTo>
                <a:lnTo>
                  <a:pt x="402" y="162"/>
                </a:lnTo>
                <a:lnTo>
                  <a:pt x="408" y="162"/>
                </a:lnTo>
                <a:lnTo>
                  <a:pt x="408" y="156"/>
                </a:lnTo>
                <a:lnTo>
                  <a:pt x="414" y="156"/>
                </a:lnTo>
                <a:lnTo>
                  <a:pt x="420" y="156"/>
                </a:lnTo>
                <a:lnTo>
                  <a:pt x="420" y="150"/>
                </a:lnTo>
                <a:lnTo>
                  <a:pt x="426" y="150"/>
                </a:lnTo>
                <a:lnTo>
                  <a:pt x="426" y="144"/>
                </a:lnTo>
                <a:lnTo>
                  <a:pt x="432" y="144"/>
                </a:lnTo>
                <a:lnTo>
                  <a:pt x="438" y="144"/>
                </a:lnTo>
                <a:lnTo>
                  <a:pt x="438" y="138"/>
                </a:lnTo>
                <a:lnTo>
                  <a:pt x="444" y="138"/>
                </a:lnTo>
                <a:lnTo>
                  <a:pt x="450" y="132"/>
                </a:lnTo>
                <a:lnTo>
                  <a:pt x="456" y="132"/>
                </a:lnTo>
                <a:lnTo>
                  <a:pt x="456" y="126"/>
                </a:lnTo>
                <a:lnTo>
                  <a:pt x="462" y="126"/>
                </a:lnTo>
                <a:lnTo>
                  <a:pt x="462" y="120"/>
                </a:lnTo>
                <a:lnTo>
                  <a:pt x="468" y="120"/>
                </a:lnTo>
                <a:lnTo>
                  <a:pt x="474" y="120"/>
                </a:lnTo>
                <a:lnTo>
                  <a:pt x="474" y="114"/>
                </a:lnTo>
                <a:lnTo>
                  <a:pt x="480" y="114"/>
                </a:lnTo>
                <a:lnTo>
                  <a:pt x="486" y="108"/>
                </a:lnTo>
                <a:lnTo>
                  <a:pt x="492" y="108"/>
                </a:lnTo>
                <a:lnTo>
                  <a:pt x="492" y="102"/>
                </a:lnTo>
                <a:lnTo>
                  <a:pt x="498" y="102"/>
                </a:lnTo>
                <a:lnTo>
                  <a:pt x="504" y="96"/>
                </a:lnTo>
                <a:lnTo>
                  <a:pt x="510" y="96"/>
                </a:lnTo>
                <a:lnTo>
                  <a:pt x="510" y="90"/>
                </a:lnTo>
                <a:lnTo>
                  <a:pt x="516" y="90"/>
                </a:lnTo>
                <a:lnTo>
                  <a:pt x="522" y="84"/>
                </a:lnTo>
                <a:lnTo>
                  <a:pt x="528" y="84"/>
                </a:lnTo>
                <a:lnTo>
                  <a:pt x="528" y="78"/>
                </a:lnTo>
                <a:lnTo>
                  <a:pt x="534" y="78"/>
                </a:lnTo>
                <a:lnTo>
                  <a:pt x="540" y="78"/>
                </a:lnTo>
                <a:lnTo>
                  <a:pt x="540" y="72"/>
                </a:lnTo>
                <a:lnTo>
                  <a:pt x="546" y="72"/>
                </a:lnTo>
                <a:lnTo>
                  <a:pt x="552" y="66"/>
                </a:lnTo>
                <a:lnTo>
                  <a:pt x="558" y="66"/>
                </a:lnTo>
                <a:lnTo>
                  <a:pt x="558" y="60"/>
                </a:lnTo>
                <a:lnTo>
                  <a:pt x="564" y="60"/>
                </a:lnTo>
                <a:lnTo>
                  <a:pt x="570" y="54"/>
                </a:lnTo>
                <a:lnTo>
                  <a:pt x="576" y="54"/>
                </a:lnTo>
                <a:lnTo>
                  <a:pt x="576" y="48"/>
                </a:lnTo>
                <a:lnTo>
                  <a:pt x="582" y="48"/>
                </a:lnTo>
                <a:lnTo>
                  <a:pt x="588" y="48"/>
                </a:lnTo>
                <a:lnTo>
                  <a:pt x="588" y="42"/>
                </a:lnTo>
                <a:lnTo>
                  <a:pt x="594" y="36"/>
                </a:lnTo>
                <a:lnTo>
                  <a:pt x="600" y="36"/>
                </a:lnTo>
                <a:lnTo>
                  <a:pt x="606" y="36"/>
                </a:lnTo>
                <a:lnTo>
                  <a:pt x="606" y="30"/>
                </a:lnTo>
                <a:lnTo>
                  <a:pt x="612" y="30"/>
                </a:lnTo>
                <a:lnTo>
                  <a:pt x="618" y="24"/>
                </a:lnTo>
                <a:lnTo>
                  <a:pt x="624" y="24"/>
                </a:lnTo>
                <a:lnTo>
                  <a:pt x="624" y="18"/>
                </a:lnTo>
                <a:lnTo>
                  <a:pt x="630" y="18"/>
                </a:lnTo>
                <a:lnTo>
                  <a:pt x="636" y="12"/>
                </a:lnTo>
                <a:lnTo>
                  <a:pt x="642" y="12"/>
                </a:lnTo>
                <a:lnTo>
                  <a:pt x="642" y="6"/>
                </a:lnTo>
                <a:lnTo>
                  <a:pt x="648" y="6"/>
                </a:lnTo>
                <a:lnTo>
                  <a:pt x="654" y="6"/>
                </a:lnTo>
                <a:lnTo>
                  <a:pt x="654" y="0"/>
                </a:lnTo>
                <a:lnTo>
                  <a:pt x="660" y="6"/>
                </a:lnTo>
                <a:lnTo>
                  <a:pt x="666" y="6"/>
                </a:lnTo>
                <a:lnTo>
                  <a:pt x="672" y="6"/>
                </a:lnTo>
                <a:lnTo>
                  <a:pt x="678" y="6"/>
                </a:lnTo>
                <a:lnTo>
                  <a:pt x="684" y="6"/>
                </a:lnTo>
                <a:lnTo>
                  <a:pt x="690" y="12"/>
                </a:lnTo>
                <a:lnTo>
                  <a:pt x="696" y="12"/>
                </a:lnTo>
                <a:lnTo>
                  <a:pt x="702" y="12"/>
                </a:lnTo>
                <a:lnTo>
                  <a:pt x="708" y="12"/>
                </a:lnTo>
                <a:lnTo>
                  <a:pt x="714" y="18"/>
                </a:lnTo>
                <a:lnTo>
                  <a:pt x="720" y="18"/>
                </a:lnTo>
                <a:lnTo>
                  <a:pt x="726" y="18"/>
                </a:lnTo>
                <a:lnTo>
                  <a:pt x="732" y="18"/>
                </a:lnTo>
                <a:lnTo>
                  <a:pt x="738" y="18"/>
                </a:lnTo>
                <a:lnTo>
                  <a:pt x="738" y="24"/>
                </a:lnTo>
                <a:lnTo>
                  <a:pt x="744" y="24"/>
                </a:lnTo>
                <a:lnTo>
                  <a:pt x="750" y="24"/>
                </a:lnTo>
                <a:lnTo>
                  <a:pt x="750" y="30"/>
                </a:lnTo>
                <a:lnTo>
                  <a:pt x="756" y="30"/>
                </a:lnTo>
                <a:lnTo>
                  <a:pt x="756" y="36"/>
                </a:lnTo>
                <a:lnTo>
                  <a:pt x="762" y="36"/>
                </a:lnTo>
                <a:lnTo>
                  <a:pt x="762" y="42"/>
                </a:lnTo>
                <a:lnTo>
                  <a:pt x="768" y="42"/>
                </a:lnTo>
                <a:lnTo>
                  <a:pt x="768" y="48"/>
                </a:lnTo>
                <a:lnTo>
                  <a:pt x="774" y="48"/>
                </a:lnTo>
                <a:lnTo>
                  <a:pt x="774" y="54"/>
                </a:lnTo>
                <a:lnTo>
                  <a:pt x="780" y="54"/>
                </a:lnTo>
                <a:lnTo>
                  <a:pt x="822" y="30"/>
                </a:lnTo>
                <a:lnTo>
                  <a:pt x="822" y="36"/>
                </a:lnTo>
                <a:lnTo>
                  <a:pt x="822" y="42"/>
                </a:lnTo>
                <a:lnTo>
                  <a:pt x="828" y="42"/>
                </a:lnTo>
                <a:lnTo>
                  <a:pt x="828" y="48"/>
                </a:lnTo>
                <a:lnTo>
                  <a:pt x="828" y="54"/>
                </a:lnTo>
                <a:lnTo>
                  <a:pt x="828" y="66"/>
                </a:lnTo>
                <a:lnTo>
                  <a:pt x="828" y="72"/>
                </a:lnTo>
                <a:lnTo>
                  <a:pt x="834" y="78"/>
                </a:lnTo>
                <a:lnTo>
                  <a:pt x="834" y="84"/>
                </a:lnTo>
                <a:lnTo>
                  <a:pt x="834" y="90"/>
                </a:lnTo>
                <a:lnTo>
                  <a:pt x="834" y="96"/>
                </a:lnTo>
                <a:lnTo>
                  <a:pt x="834" y="102"/>
                </a:lnTo>
                <a:lnTo>
                  <a:pt x="834" y="108"/>
                </a:lnTo>
                <a:lnTo>
                  <a:pt x="834" y="114"/>
                </a:lnTo>
                <a:lnTo>
                  <a:pt x="834" y="120"/>
                </a:lnTo>
                <a:lnTo>
                  <a:pt x="834" y="126"/>
                </a:lnTo>
                <a:lnTo>
                  <a:pt x="840" y="126"/>
                </a:lnTo>
                <a:lnTo>
                  <a:pt x="840" y="132"/>
                </a:lnTo>
                <a:lnTo>
                  <a:pt x="846" y="132"/>
                </a:lnTo>
                <a:lnTo>
                  <a:pt x="846" y="138"/>
                </a:lnTo>
                <a:lnTo>
                  <a:pt x="846" y="144"/>
                </a:lnTo>
                <a:lnTo>
                  <a:pt x="852" y="144"/>
                </a:lnTo>
                <a:lnTo>
                  <a:pt x="858" y="150"/>
                </a:lnTo>
                <a:lnTo>
                  <a:pt x="858" y="156"/>
                </a:lnTo>
                <a:lnTo>
                  <a:pt x="852" y="156"/>
                </a:lnTo>
                <a:lnTo>
                  <a:pt x="852" y="162"/>
                </a:lnTo>
                <a:lnTo>
                  <a:pt x="858" y="168"/>
                </a:lnTo>
                <a:lnTo>
                  <a:pt x="864" y="174"/>
                </a:lnTo>
                <a:lnTo>
                  <a:pt x="870" y="180"/>
                </a:lnTo>
                <a:lnTo>
                  <a:pt x="870" y="186"/>
                </a:lnTo>
                <a:lnTo>
                  <a:pt x="876" y="186"/>
                </a:lnTo>
                <a:lnTo>
                  <a:pt x="876" y="192"/>
                </a:lnTo>
                <a:lnTo>
                  <a:pt x="876" y="198"/>
                </a:lnTo>
                <a:lnTo>
                  <a:pt x="876" y="204"/>
                </a:lnTo>
                <a:lnTo>
                  <a:pt x="870" y="210"/>
                </a:lnTo>
                <a:lnTo>
                  <a:pt x="864" y="216"/>
                </a:lnTo>
                <a:lnTo>
                  <a:pt x="864" y="222"/>
                </a:lnTo>
                <a:lnTo>
                  <a:pt x="864" y="228"/>
                </a:lnTo>
                <a:lnTo>
                  <a:pt x="864" y="234"/>
                </a:lnTo>
                <a:lnTo>
                  <a:pt x="864" y="240"/>
                </a:lnTo>
                <a:lnTo>
                  <a:pt x="864" y="246"/>
                </a:lnTo>
                <a:lnTo>
                  <a:pt x="864" y="252"/>
                </a:lnTo>
                <a:lnTo>
                  <a:pt x="858" y="252"/>
                </a:lnTo>
                <a:lnTo>
                  <a:pt x="858" y="258"/>
                </a:lnTo>
                <a:lnTo>
                  <a:pt x="858" y="264"/>
                </a:lnTo>
                <a:lnTo>
                  <a:pt x="858" y="270"/>
                </a:lnTo>
                <a:lnTo>
                  <a:pt x="858" y="276"/>
                </a:lnTo>
                <a:lnTo>
                  <a:pt x="858" y="282"/>
                </a:lnTo>
                <a:lnTo>
                  <a:pt x="858" y="288"/>
                </a:lnTo>
                <a:lnTo>
                  <a:pt x="858" y="294"/>
                </a:lnTo>
                <a:lnTo>
                  <a:pt x="858" y="300"/>
                </a:lnTo>
                <a:lnTo>
                  <a:pt x="858" y="306"/>
                </a:lnTo>
                <a:lnTo>
                  <a:pt x="858" y="312"/>
                </a:lnTo>
                <a:lnTo>
                  <a:pt x="858" y="318"/>
                </a:lnTo>
                <a:lnTo>
                  <a:pt x="852" y="324"/>
                </a:lnTo>
                <a:lnTo>
                  <a:pt x="852" y="330"/>
                </a:lnTo>
                <a:lnTo>
                  <a:pt x="852" y="336"/>
                </a:lnTo>
                <a:lnTo>
                  <a:pt x="852" y="342"/>
                </a:lnTo>
                <a:lnTo>
                  <a:pt x="852" y="348"/>
                </a:lnTo>
                <a:lnTo>
                  <a:pt x="852" y="354"/>
                </a:lnTo>
                <a:lnTo>
                  <a:pt x="852" y="360"/>
                </a:lnTo>
                <a:lnTo>
                  <a:pt x="852" y="372"/>
                </a:lnTo>
                <a:lnTo>
                  <a:pt x="852" y="378"/>
                </a:lnTo>
                <a:lnTo>
                  <a:pt x="852" y="384"/>
                </a:lnTo>
                <a:lnTo>
                  <a:pt x="852" y="390"/>
                </a:lnTo>
                <a:lnTo>
                  <a:pt x="852" y="396"/>
                </a:lnTo>
                <a:lnTo>
                  <a:pt x="846" y="396"/>
                </a:lnTo>
                <a:lnTo>
                  <a:pt x="846" y="402"/>
                </a:lnTo>
                <a:lnTo>
                  <a:pt x="840" y="408"/>
                </a:lnTo>
                <a:lnTo>
                  <a:pt x="834" y="414"/>
                </a:lnTo>
                <a:lnTo>
                  <a:pt x="828" y="420"/>
                </a:lnTo>
                <a:lnTo>
                  <a:pt x="822" y="426"/>
                </a:lnTo>
                <a:lnTo>
                  <a:pt x="822" y="432"/>
                </a:lnTo>
                <a:lnTo>
                  <a:pt x="816" y="432"/>
                </a:lnTo>
                <a:lnTo>
                  <a:pt x="816" y="438"/>
                </a:lnTo>
                <a:lnTo>
                  <a:pt x="810" y="438"/>
                </a:lnTo>
                <a:lnTo>
                  <a:pt x="810" y="444"/>
                </a:lnTo>
                <a:lnTo>
                  <a:pt x="804" y="444"/>
                </a:lnTo>
                <a:lnTo>
                  <a:pt x="804" y="450"/>
                </a:lnTo>
                <a:lnTo>
                  <a:pt x="798" y="450"/>
                </a:lnTo>
                <a:lnTo>
                  <a:pt x="798" y="456"/>
                </a:lnTo>
                <a:lnTo>
                  <a:pt x="792" y="456"/>
                </a:lnTo>
                <a:lnTo>
                  <a:pt x="792" y="462"/>
                </a:lnTo>
                <a:lnTo>
                  <a:pt x="786" y="462"/>
                </a:lnTo>
                <a:lnTo>
                  <a:pt x="786" y="468"/>
                </a:lnTo>
                <a:lnTo>
                  <a:pt x="780" y="474"/>
                </a:lnTo>
                <a:lnTo>
                  <a:pt x="780" y="480"/>
                </a:lnTo>
                <a:lnTo>
                  <a:pt x="774" y="480"/>
                </a:lnTo>
                <a:lnTo>
                  <a:pt x="774" y="486"/>
                </a:lnTo>
                <a:lnTo>
                  <a:pt x="768" y="492"/>
                </a:lnTo>
                <a:lnTo>
                  <a:pt x="768" y="498"/>
                </a:lnTo>
                <a:lnTo>
                  <a:pt x="762" y="498"/>
                </a:lnTo>
                <a:lnTo>
                  <a:pt x="762" y="504"/>
                </a:lnTo>
                <a:lnTo>
                  <a:pt x="756" y="504"/>
                </a:lnTo>
                <a:lnTo>
                  <a:pt x="756" y="510"/>
                </a:lnTo>
                <a:lnTo>
                  <a:pt x="756" y="516"/>
                </a:lnTo>
                <a:lnTo>
                  <a:pt x="756" y="522"/>
                </a:lnTo>
                <a:lnTo>
                  <a:pt x="750" y="522"/>
                </a:lnTo>
                <a:lnTo>
                  <a:pt x="750" y="528"/>
                </a:lnTo>
                <a:lnTo>
                  <a:pt x="750" y="534"/>
                </a:lnTo>
                <a:lnTo>
                  <a:pt x="744" y="534"/>
                </a:lnTo>
                <a:lnTo>
                  <a:pt x="738" y="534"/>
                </a:lnTo>
                <a:lnTo>
                  <a:pt x="738" y="540"/>
                </a:lnTo>
                <a:lnTo>
                  <a:pt x="738" y="546"/>
                </a:lnTo>
                <a:lnTo>
                  <a:pt x="738" y="552"/>
                </a:lnTo>
                <a:lnTo>
                  <a:pt x="744" y="552"/>
                </a:lnTo>
                <a:lnTo>
                  <a:pt x="744" y="558"/>
                </a:lnTo>
                <a:lnTo>
                  <a:pt x="744" y="564"/>
                </a:lnTo>
                <a:lnTo>
                  <a:pt x="744" y="570"/>
                </a:lnTo>
                <a:lnTo>
                  <a:pt x="744" y="576"/>
                </a:lnTo>
                <a:lnTo>
                  <a:pt x="750" y="576"/>
                </a:lnTo>
                <a:lnTo>
                  <a:pt x="744" y="576"/>
                </a:lnTo>
                <a:lnTo>
                  <a:pt x="738" y="576"/>
                </a:lnTo>
                <a:lnTo>
                  <a:pt x="732" y="576"/>
                </a:lnTo>
                <a:lnTo>
                  <a:pt x="732" y="582"/>
                </a:lnTo>
                <a:lnTo>
                  <a:pt x="726" y="582"/>
                </a:lnTo>
                <a:lnTo>
                  <a:pt x="726" y="588"/>
                </a:lnTo>
                <a:lnTo>
                  <a:pt x="720" y="588"/>
                </a:lnTo>
                <a:lnTo>
                  <a:pt x="714" y="588"/>
                </a:lnTo>
                <a:lnTo>
                  <a:pt x="708" y="588"/>
                </a:lnTo>
                <a:lnTo>
                  <a:pt x="708" y="594"/>
                </a:lnTo>
                <a:lnTo>
                  <a:pt x="708" y="588"/>
                </a:lnTo>
                <a:lnTo>
                  <a:pt x="708" y="594"/>
                </a:lnTo>
                <a:lnTo>
                  <a:pt x="702" y="594"/>
                </a:lnTo>
                <a:lnTo>
                  <a:pt x="702" y="600"/>
                </a:lnTo>
                <a:lnTo>
                  <a:pt x="696" y="600"/>
                </a:lnTo>
                <a:lnTo>
                  <a:pt x="696" y="606"/>
                </a:lnTo>
                <a:lnTo>
                  <a:pt x="690" y="606"/>
                </a:lnTo>
                <a:lnTo>
                  <a:pt x="690" y="600"/>
                </a:lnTo>
                <a:lnTo>
                  <a:pt x="690" y="606"/>
                </a:lnTo>
                <a:lnTo>
                  <a:pt x="684" y="606"/>
                </a:lnTo>
                <a:lnTo>
                  <a:pt x="690" y="606"/>
                </a:lnTo>
                <a:lnTo>
                  <a:pt x="690" y="612"/>
                </a:lnTo>
                <a:lnTo>
                  <a:pt x="684" y="612"/>
                </a:lnTo>
                <a:lnTo>
                  <a:pt x="684" y="618"/>
                </a:lnTo>
                <a:lnTo>
                  <a:pt x="678" y="618"/>
                </a:lnTo>
                <a:lnTo>
                  <a:pt x="678" y="612"/>
                </a:lnTo>
                <a:lnTo>
                  <a:pt x="678" y="618"/>
                </a:lnTo>
                <a:lnTo>
                  <a:pt x="678" y="612"/>
                </a:lnTo>
                <a:lnTo>
                  <a:pt x="678" y="618"/>
                </a:lnTo>
                <a:lnTo>
                  <a:pt x="678" y="612"/>
                </a:lnTo>
                <a:lnTo>
                  <a:pt x="678" y="618"/>
                </a:lnTo>
                <a:lnTo>
                  <a:pt x="672" y="618"/>
                </a:lnTo>
                <a:lnTo>
                  <a:pt x="678" y="612"/>
                </a:lnTo>
                <a:lnTo>
                  <a:pt x="672" y="612"/>
                </a:lnTo>
                <a:lnTo>
                  <a:pt x="666" y="612"/>
                </a:lnTo>
                <a:lnTo>
                  <a:pt x="660" y="612"/>
                </a:lnTo>
                <a:lnTo>
                  <a:pt x="654" y="612"/>
                </a:lnTo>
                <a:lnTo>
                  <a:pt x="654" y="606"/>
                </a:lnTo>
                <a:lnTo>
                  <a:pt x="648" y="606"/>
                </a:lnTo>
                <a:lnTo>
                  <a:pt x="642" y="606"/>
                </a:lnTo>
                <a:lnTo>
                  <a:pt x="636" y="600"/>
                </a:lnTo>
                <a:lnTo>
                  <a:pt x="630" y="600"/>
                </a:lnTo>
                <a:lnTo>
                  <a:pt x="624" y="600"/>
                </a:lnTo>
                <a:lnTo>
                  <a:pt x="618" y="600"/>
                </a:lnTo>
                <a:lnTo>
                  <a:pt x="612" y="600"/>
                </a:lnTo>
                <a:lnTo>
                  <a:pt x="606" y="600"/>
                </a:lnTo>
                <a:lnTo>
                  <a:pt x="600" y="600"/>
                </a:lnTo>
                <a:lnTo>
                  <a:pt x="594" y="600"/>
                </a:lnTo>
                <a:lnTo>
                  <a:pt x="588" y="600"/>
                </a:lnTo>
                <a:lnTo>
                  <a:pt x="582" y="600"/>
                </a:lnTo>
                <a:lnTo>
                  <a:pt x="576" y="600"/>
                </a:lnTo>
                <a:lnTo>
                  <a:pt x="570" y="600"/>
                </a:lnTo>
                <a:lnTo>
                  <a:pt x="570" y="606"/>
                </a:lnTo>
                <a:lnTo>
                  <a:pt x="564" y="606"/>
                </a:lnTo>
                <a:lnTo>
                  <a:pt x="558" y="606"/>
                </a:lnTo>
                <a:lnTo>
                  <a:pt x="552" y="606"/>
                </a:lnTo>
                <a:lnTo>
                  <a:pt x="546" y="606"/>
                </a:lnTo>
                <a:lnTo>
                  <a:pt x="546" y="612"/>
                </a:lnTo>
                <a:lnTo>
                  <a:pt x="540" y="612"/>
                </a:lnTo>
                <a:lnTo>
                  <a:pt x="540" y="618"/>
                </a:lnTo>
                <a:lnTo>
                  <a:pt x="534" y="618"/>
                </a:lnTo>
                <a:lnTo>
                  <a:pt x="534" y="624"/>
                </a:lnTo>
                <a:lnTo>
                  <a:pt x="528" y="630"/>
                </a:lnTo>
                <a:lnTo>
                  <a:pt x="522" y="630"/>
                </a:lnTo>
                <a:lnTo>
                  <a:pt x="516" y="630"/>
                </a:lnTo>
                <a:lnTo>
                  <a:pt x="510" y="630"/>
                </a:lnTo>
                <a:lnTo>
                  <a:pt x="504" y="630"/>
                </a:lnTo>
                <a:lnTo>
                  <a:pt x="498" y="630"/>
                </a:lnTo>
                <a:lnTo>
                  <a:pt x="492" y="630"/>
                </a:lnTo>
                <a:lnTo>
                  <a:pt x="486" y="630"/>
                </a:lnTo>
                <a:lnTo>
                  <a:pt x="480" y="630"/>
                </a:lnTo>
                <a:lnTo>
                  <a:pt x="480" y="624"/>
                </a:lnTo>
                <a:lnTo>
                  <a:pt x="474" y="624"/>
                </a:lnTo>
                <a:lnTo>
                  <a:pt x="468" y="624"/>
                </a:lnTo>
                <a:lnTo>
                  <a:pt x="468" y="618"/>
                </a:lnTo>
                <a:lnTo>
                  <a:pt x="462" y="618"/>
                </a:lnTo>
                <a:lnTo>
                  <a:pt x="456" y="618"/>
                </a:lnTo>
                <a:lnTo>
                  <a:pt x="456" y="612"/>
                </a:lnTo>
                <a:lnTo>
                  <a:pt x="450" y="612"/>
                </a:lnTo>
                <a:lnTo>
                  <a:pt x="450" y="606"/>
                </a:lnTo>
                <a:lnTo>
                  <a:pt x="444" y="606"/>
                </a:lnTo>
                <a:lnTo>
                  <a:pt x="438" y="606"/>
                </a:lnTo>
                <a:lnTo>
                  <a:pt x="438" y="600"/>
                </a:lnTo>
                <a:lnTo>
                  <a:pt x="432" y="600"/>
                </a:lnTo>
                <a:lnTo>
                  <a:pt x="426" y="600"/>
                </a:lnTo>
                <a:lnTo>
                  <a:pt x="420" y="600"/>
                </a:lnTo>
                <a:lnTo>
                  <a:pt x="420" y="606"/>
                </a:lnTo>
                <a:lnTo>
                  <a:pt x="414" y="606"/>
                </a:lnTo>
                <a:lnTo>
                  <a:pt x="408" y="606"/>
                </a:lnTo>
                <a:lnTo>
                  <a:pt x="408" y="612"/>
                </a:lnTo>
                <a:lnTo>
                  <a:pt x="402" y="612"/>
                </a:lnTo>
                <a:lnTo>
                  <a:pt x="396" y="612"/>
                </a:lnTo>
                <a:lnTo>
                  <a:pt x="390" y="612"/>
                </a:lnTo>
                <a:lnTo>
                  <a:pt x="390" y="618"/>
                </a:lnTo>
                <a:lnTo>
                  <a:pt x="384" y="618"/>
                </a:lnTo>
                <a:lnTo>
                  <a:pt x="378" y="618"/>
                </a:lnTo>
                <a:lnTo>
                  <a:pt x="372" y="618"/>
                </a:lnTo>
                <a:lnTo>
                  <a:pt x="372" y="612"/>
                </a:lnTo>
                <a:lnTo>
                  <a:pt x="366" y="612"/>
                </a:lnTo>
                <a:lnTo>
                  <a:pt x="366" y="606"/>
                </a:lnTo>
                <a:lnTo>
                  <a:pt x="360" y="600"/>
                </a:lnTo>
                <a:lnTo>
                  <a:pt x="360" y="594"/>
                </a:lnTo>
                <a:lnTo>
                  <a:pt x="354" y="594"/>
                </a:lnTo>
                <a:lnTo>
                  <a:pt x="348" y="588"/>
                </a:lnTo>
                <a:lnTo>
                  <a:pt x="348" y="582"/>
                </a:lnTo>
                <a:lnTo>
                  <a:pt x="342" y="582"/>
                </a:lnTo>
                <a:lnTo>
                  <a:pt x="336" y="582"/>
                </a:lnTo>
                <a:lnTo>
                  <a:pt x="330" y="582"/>
                </a:lnTo>
                <a:lnTo>
                  <a:pt x="324" y="582"/>
                </a:lnTo>
                <a:lnTo>
                  <a:pt x="324" y="576"/>
                </a:lnTo>
                <a:lnTo>
                  <a:pt x="318" y="576"/>
                </a:lnTo>
                <a:lnTo>
                  <a:pt x="312" y="576"/>
                </a:lnTo>
                <a:lnTo>
                  <a:pt x="306" y="576"/>
                </a:lnTo>
                <a:lnTo>
                  <a:pt x="300" y="570"/>
                </a:lnTo>
                <a:lnTo>
                  <a:pt x="294" y="570"/>
                </a:lnTo>
                <a:lnTo>
                  <a:pt x="288" y="570"/>
                </a:lnTo>
                <a:lnTo>
                  <a:pt x="282" y="576"/>
                </a:lnTo>
                <a:lnTo>
                  <a:pt x="276" y="576"/>
                </a:lnTo>
                <a:lnTo>
                  <a:pt x="270" y="576"/>
                </a:lnTo>
                <a:lnTo>
                  <a:pt x="264" y="576"/>
                </a:lnTo>
                <a:lnTo>
                  <a:pt x="258" y="576"/>
                </a:lnTo>
                <a:lnTo>
                  <a:pt x="252" y="576"/>
                </a:lnTo>
                <a:lnTo>
                  <a:pt x="246" y="576"/>
                </a:lnTo>
                <a:lnTo>
                  <a:pt x="240" y="576"/>
                </a:lnTo>
                <a:lnTo>
                  <a:pt x="240" y="582"/>
                </a:lnTo>
                <a:lnTo>
                  <a:pt x="234" y="582"/>
                </a:lnTo>
                <a:lnTo>
                  <a:pt x="228" y="582"/>
                </a:lnTo>
                <a:lnTo>
                  <a:pt x="228" y="588"/>
                </a:lnTo>
                <a:lnTo>
                  <a:pt x="222" y="588"/>
                </a:lnTo>
                <a:lnTo>
                  <a:pt x="222" y="594"/>
                </a:lnTo>
                <a:lnTo>
                  <a:pt x="216" y="594"/>
                </a:lnTo>
                <a:lnTo>
                  <a:pt x="216" y="600"/>
                </a:lnTo>
                <a:lnTo>
                  <a:pt x="216" y="606"/>
                </a:lnTo>
                <a:lnTo>
                  <a:pt x="216" y="612"/>
                </a:lnTo>
                <a:lnTo>
                  <a:pt x="216" y="618"/>
                </a:lnTo>
                <a:lnTo>
                  <a:pt x="216" y="624"/>
                </a:lnTo>
                <a:lnTo>
                  <a:pt x="210" y="624"/>
                </a:lnTo>
                <a:lnTo>
                  <a:pt x="210" y="630"/>
                </a:lnTo>
                <a:lnTo>
                  <a:pt x="210" y="636"/>
                </a:lnTo>
                <a:lnTo>
                  <a:pt x="204" y="636"/>
                </a:lnTo>
                <a:lnTo>
                  <a:pt x="198" y="636"/>
                </a:lnTo>
                <a:lnTo>
                  <a:pt x="198" y="642"/>
                </a:lnTo>
                <a:lnTo>
                  <a:pt x="192" y="642"/>
                </a:lnTo>
                <a:lnTo>
                  <a:pt x="192" y="648"/>
                </a:lnTo>
                <a:lnTo>
                  <a:pt x="192" y="654"/>
                </a:lnTo>
                <a:lnTo>
                  <a:pt x="192" y="660"/>
                </a:lnTo>
                <a:lnTo>
                  <a:pt x="192" y="666"/>
                </a:lnTo>
                <a:lnTo>
                  <a:pt x="192" y="672"/>
                </a:lnTo>
                <a:lnTo>
                  <a:pt x="192" y="678"/>
                </a:lnTo>
                <a:lnTo>
                  <a:pt x="192" y="684"/>
                </a:lnTo>
                <a:lnTo>
                  <a:pt x="192" y="690"/>
                </a:lnTo>
                <a:lnTo>
                  <a:pt x="192" y="69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8" name="Freeform 28">
            <a:extLst>
              <a:ext uri="{FF2B5EF4-FFF2-40B4-BE49-F238E27FC236}">
                <a16:creationId xmlns:a16="http://schemas.microsoft.com/office/drawing/2014/main" id="{CE0F471D-47B0-C84F-9E49-7A30F793BBF1}"/>
              </a:ext>
            </a:extLst>
          </p:cNvPr>
          <p:cNvSpPr>
            <a:spLocks/>
          </p:cNvSpPr>
          <p:nvPr>
            <p:custDataLst>
              <p:tags r:id="rId26"/>
            </p:custDataLst>
          </p:nvPr>
        </p:nvSpPr>
        <p:spPr bwMode="gray">
          <a:xfrm>
            <a:off x="4411633" y="3380491"/>
            <a:ext cx="677348" cy="803983"/>
          </a:xfrm>
          <a:custGeom>
            <a:avLst/>
            <a:gdLst>
              <a:gd name="T0" fmla="*/ 174132 w 588"/>
              <a:gd name="T1" fmla="*/ 261667 h 930"/>
              <a:gd name="T2" fmla="*/ 167323 w 588"/>
              <a:gd name="T3" fmla="*/ 264586 h 930"/>
              <a:gd name="T4" fmla="*/ 166349 w 588"/>
              <a:gd name="T5" fmla="*/ 272368 h 930"/>
              <a:gd name="T6" fmla="*/ 159540 w 588"/>
              <a:gd name="T7" fmla="*/ 281122 h 930"/>
              <a:gd name="T8" fmla="*/ 147867 w 588"/>
              <a:gd name="T9" fmla="*/ 289877 h 930"/>
              <a:gd name="T10" fmla="*/ 140084 w 588"/>
              <a:gd name="T11" fmla="*/ 294741 h 930"/>
              <a:gd name="T12" fmla="*/ 129383 w 588"/>
              <a:gd name="T13" fmla="*/ 298632 h 930"/>
              <a:gd name="T14" fmla="*/ 116737 w 588"/>
              <a:gd name="T15" fmla="*/ 300577 h 930"/>
              <a:gd name="T16" fmla="*/ 109927 w 588"/>
              <a:gd name="T17" fmla="*/ 305441 h 930"/>
              <a:gd name="T18" fmla="*/ 109927 w 588"/>
              <a:gd name="T19" fmla="*/ 313223 h 930"/>
              <a:gd name="T20" fmla="*/ 97281 w 588"/>
              <a:gd name="T21" fmla="*/ 320032 h 930"/>
              <a:gd name="T22" fmla="*/ 81716 w 588"/>
              <a:gd name="T23" fmla="*/ 323923 h 930"/>
              <a:gd name="T24" fmla="*/ 72960 w 588"/>
              <a:gd name="T25" fmla="*/ 325868 h 930"/>
              <a:gd name="T26" fmla="*/ 64205 w 588"/>
              <a:gd name="T27" fmla="*/ 328787 h 930"/>
              <a:gd name="T28" fmla="*/ 56423 w 588"/>
              <a:gd name="T29" fmla="*/ 328787 h 930"/>
              <a:gd name="T30" fmla="*/ 45721 w 588"/>
              <a:gd name="T31" fmla="*/ 332678 h 930"/>
              <a:gd name="T32" fmla="*/ 38912 w 588"/>
              <a:gd name="T33" fmla="*/ 320032 h 930"/>
              <a:gd name="T34" fmla="*/ 30157 w 588"/>
              <a:gd name="T35" fmla="*/ 306414 h 930"/>
              <a:gd name="T36" fmla="*/ 19456 w 588"/>
              <a:gd name="T37" fmla="*/ 298632 h 930"/>
              <a:gd name="T38" fmla="*/ 12646 w 588"/>
              <a:gd name="T39" fmla="*/ 289877 h 930"/>
              <a:gd name="T40" fmla="*/ 21402 w 588"/>
              <a:gd name="T41" fmla="*/ 281122 h 930"/>
              <a:gd name="T42" fmla="*/ 40858 w 588"/>
              <a:gd name="T43" fmla="*/ 281122 h 930"/>
              <a:gd name="T44" fmla="*/ 36967 w 588"/>
              <a:gd name="T45" fmla="*/ 272368 h 930"/>
              <a:gd name="T46" fmla="*/ 32102 w 588"/>
              <a:gd name="T47" fmla="*/ 257777 h 930"/>
              <a:gd name="T48" fmla="*/ 32102 w 588"/>
              <a:gd name="T49" fmla="*/ 250967 h 930"/>
              <a:gd name="T50" fmla="*/ 30157 w 588"/>
              <a:gd name="T51" fmla="*/ 238322 h 930"/>
              <a:gd name="T52" fmla="*/ 26265 w 588"/>
              <a:gd name="T53" fmla="*/ 225676 h 930"/>
              <a:gd name="T54" fmla="*/ 21402 w 588"/>
              <a:gd name="T55" fmla="*/ 218867 h 930"/>
              <a:gd name="T56" fmla="*/ 8755 w 588"/>
              <a:gd name="T57" fmla="*/ 212058 h 930"/>
              <a:gd name="T58" fmla="*/ 1946 w 588"/>
              <a:gd name="T59" fmla="*/ 199413 h 930"/>
              <a:gd name="T60" fmla="*/ 3891 w 588"/>
              <a:gd name="T61" fmla="*/ 186766 h 930"/>
              <a:gd name="T62" fmla="*/ 10700 w 588"/>
              <a:gd name="T63" fmla="*/ 174121 h 930"/>
              <a:gd name="T64" fmla="*/ 21402 w 588"/>
              <a:gd name="T65" fmla="*/ 161475 h 930"/>
              <a:gd name="T66" fmla="*/ 30157 w 588"/>
              <a:gd name="T67" fmla="*/ 150775 h 930"/>
              <a:gd name="T68" fmla="*/ 40858 w 588"/>
              <a:gd name="T69" fmla="*/ 133265 h 930"/>
              <a:gd name="T70" fmla="*/ 42803 w 588"/>
              <a:gd name="T71" fmla="*/ 111865 h 930"/>
              <a:gd name="T72" fmla="*/ 42803 w 588"/>
              <a:gd name="T73" fmla="*/ 92411 h 930"/>
              <a:gd name="T74" fmla="*/ 45721 w 588"/>
              <a:gd name="T75" fmla="*/ 74901 h 930"/>
              <a:gd name="T76" fmla="*/ 42803 w 588"/>
              <a:gd name="T77" fmla="*/ 57391 h 930"/>
              <a:gd name="T78" fmla="*/ 36967 w 588"/>
              <a:gd name="T79" fmla="*/ 44746 h 930"/>
              <a:gd name="T80" fmla="*/ 34048 w 588"/>
              <a:gd name="T81" fmla="*/ 28210 h 930"/>
              <a:gd name="T82" fmla="*/ 30157 w 588"/>
              <a:gd name="T83" fmla="*/ 8755 h 930"/>
              <a:gd name="T84" fmla="*/ 42803 w 588"/>
              <a:gd name="T85" fmla="*/ 1945 h 930"/>
              <a:gd name="T86" fmla="*/ 62260 w 588"/>
              <a:gd name="T87" fmla="*/ 6810 h 930"/>
              <a:gd name="T88" fmla="*/ 81716 w 588"/>
              <a:gd name="T89" fmla="*/ 14591 h 930"/>
              <a:gd name="T90" fmla="*/ 97281 w 588"/>
              <a:gd name="T91" fmla="*/ 23346 h 930"/>
              <a:gd name="T92" fmla="*/ 211099 w 588"/>
              <a:gd name="T93" fmla="*/ 90465 h 930"/>
              <a:gd name="T94" fmla="*/ 211099 w 588"/>
              <a:gd name="T95" fmla="*/ 109920 h 930"/>
              <a:gd name="T96" fmla="*/ 211099 w 588"/>
              <a:gd name="T97" fmla="*/ 128402 h 930"/>
              <a:gd name="T98" fmla="*/ 211099 w 588"/>
              <a:gd name="T99" fmla="*/ 147857 h 930"/>
              <a:gd name="T100" fmla="*/ 204289 w 588"/>
              <a:gd name="T101" fmla="*/ 163420 h 930"/>
              <a:gd name="T102" fmla="*/ 189697 w 588"/>
              <a:gd name="T103" fmla="*/ 167312 h 930"/>
              <a:gd name="T104" fmla="*/ 182888 w 588"/>
              <a:gd name="T105" fmla="*/ 180930 h 930"/>
              <a:gd name="T106" fmla="*/ 178023 w 588"/>
              <a:gd name="T107" fmla="*/ 192603 h 930"/>
              <a:gd name="T108" fmla="*/ 174132 w 588"/>
              <a:gd name="T109" fmla="*/ 199413 h 930"/>
              <a:gd name="T110" fmla="*/ 177051 w 588"/>
              <a:gd name="T111" fmla="*/ 212058 h 930"/>
              <a:gd name="T112" fmla="*/ 167323 w 588"/>
              <a:gd name="T113" fmla="*/ 220813 h 930"/>
              <a:gd name="T114" fmla="*/ 178023 w 588"/>
              <a:gd name="T115" fmla="*/ 227621 h 930"/>
              <a:gd name="T116" fmla="*/ 182888 w 588"/>
              <a:gd name="T117" fmla="*/ 238322 h 930"/>
              <a:gd name="T118" fmla="*/ 186779 w 588"/>
              <a:gd name="T119" fmla="*/ 25096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8" h="930">
                <a:moveTo>
                  <a:pt x="522" y="732"/>
                </a:moveTo>
                <a:lnTo>
                  <a:pt x="516" y="732"/>
                </a:lnTo>
                <a:lnTo>
                  <a:pt x="516" y="726"/>
                </a:lnTo>
                <a:lnTo>
                  <a:pt x="510" y="726"/>
                </a:lnTo>
                <a:lnTo>
                  <a:pt x="504" y="726"/>
                </a:lnTo>
                <a:lnTo>
                  <a:pt x="498" y="726"/>
                </a:lnTo>
                <a:lnTo>
                  <a:pt x="498" y="732"/>
                </a:lnTo>
                <a:lnTo>
                  <a:pt x="492" y="732"/>
                </a:lnTo>
                <a:lnTo>
                  <a:pt x="486" y="732"/>
                </a:lnTo>
                <a:lnTo>
                  <a:pt x="480" y="732"/>
                </a:lnTo>
                <a:lnTo>
                  <a:pt x="474" y="732"/>
                </a:lnTo>
                <a:lnTo>
                  <a:pt x="474" y="738"/>
                </a:lnTo>
                <a:lnTo>
                  <a:pt x="474" y="732"/>
                </a:lnTo>
                <a:lnTo>
                  <a:pt x="474" y="738"/>
                </a:lnTo>
                <a:lnTo>
                  <a:pt x="474" y="732"/>
                </a:lnTo>
                <a:lnTo>
                  <a:pt x="474" y="738"/>
                </a:lnTo>
                <a:lnTo>
                  <a:pt x="468" y="732"/>
                </a:lnTo>
                <a:lnTo>
                  <a:pt x="468" y="738"/>
                </a:lnTo>
                <a:lnTo>
                  <a:pt x="468" y="732"/>
                </a:lnTo>
                <a:lnTo>
                  <a:pt x="468" y="738"/>
                </a:lnTo>
                <a:lnTo>
                  <a:pt x="462" y="738"/>
                </a:lnTo>
                <a:lnTo>
                  <a:pt x="462" y="744"/>
                </a:lnTo>
                <a:lnTo>
                  <a:pt x="462" y="750"/>
                </a:lnTo>
                <a:lnTo>
                  <a:pt x="462" y="744"/>
                </a:lnTo>
                <a:lnTo>
                  <a:pt x="462" y="750"/>
                </a:lnTo>
                <a:lnTo>
                  <a:pt x="462" y="756"/>
                </a:lnTo>
                <a:lnTo>
                  <a:pt x="462" y="762"/>
                </a:lnTo>
                <a:lnTo>
                  <a:pt x="462" y="768"/>
                </a:lnTo>
                <a:lnTo>
                  <a:pt x="456" y="768"/>
                </a:lnTo>
                <a:lnTo>
                  <a:pt x="456" y="774"/>
                </a:lnTo>
                <a:lnTo>
                  <a:pt x="456" y="768"/>
                </a:lnTo>
                <a:lnTo>
                  <a:pt x="456" y="774"/>
                </a:lnTo>
                <a:lnTo>
                  <a:pt x="450" y="774"/>
                </a:lnTo>
                <a:lnTo>
                  <a:pt x="444" y="774"/>
                </a:lnTo>
                <a:lnTo>
                  <a:pt x="444" y="780"/>
                </a:lnTo>
                <a:lnTo>
                  <a:pt x="444" y="786"/>
                </a:lnTo>
                <a:lnTo>
                  <a:pt x="438" y="786"/>
                </a:lnTo>
                <a:lnTo>
                  <a:pt x="432" y="786"/>
                </a:lnTo>
                <a:lnTo>
                  <a:pt x="432" y="792"/>
                </a:lnTo>
                <a:lnTo>
                  <a:pt x="426" y="792"/>
                </a:lnTo>
                <a:lnTo>
                  <a:pt x="426" y="798"/>
                </a:lnTo>
                <a:lnTo>
                  <a:pt x="420" y="798"/>
                </a:lnTo>
                <a:lnTo>
                  <a:pt x="420" y="804"/>
                </a:lnTo>
                <a:lnTo>
                  <a:pt x="414" y="804"/>
                </a:lnTo>
                <a:lnTo>
                  <a:pt x="414" y="810"/>
                </a:lnTo>
                <a:lnTo>
                  <a:pt x="414" y="816"/>
                </a:lnTo>
                <a:lnTo>
                  <a:pt x="414" y="810"/>
                </a:lnTo>
                <a:lnTo>
                  <a:pt x="408" y="816"/>
                </a:lnTo>
                <a:lnTo>
                  <a:pt x="402" y="816"/>
                </a:lnTo>
                <a:lnTo>
                  <a:pt x="402" y="822"/>
                </a:lnTo>
                <a:lnTo>
                  <a:pt x="396" y="822"/>
                </a:lnTo>
                <a:lnTo>
                  <a:pt x="402" y="822"/>
                </a:lnTo>
                <a:lnTo>
                  <a:pt x="396" y="822"/>
                </a:lnTo>
                <a:lnTo>
                  <a:pt x="390" y="822"/>
                </a:lnTo>
                <a:lnTo>
                  <a:pt x="396" y="822"/>
                </a:lnTo>
                <a:lnTo>
                  <a:pt x="390" y="822"/>
                </a:lnTo>
                <a:lnTo>
                  <a:pt x="390" y="828"/>
                </a:lnTo>
                <a:lnTo>
                  <a:pt x="390" y="834"/>
                </a:lnTo>
                <a:lnTo>
                  <a:pt x="384" y="834"/>
                </a:lnTo>
                <a:lnTo>
                  <a:pt x="378" y="834"/>
                </a:lnTo>
                <a:lnTo>
                  <a:pt x="372" y="834"/>
                </a:lnTo>
                <a:lnTo>
                  <a:pt x="366" y="834"/>
                </a:lnTo>
                <a:lnTo>
                  <a:pt x="360" y="834"/>
                </a:lnTo>
                <a:lnTo>
                  <a:pt x="354" y="834"/>
                </a:lnTo>
                <a:lnTo>
                  <a:pt x="354" y="840"/>
                </a:lnTo>
                <a:lnTo>
                  <a:pt x="354" y="834"/>
                </a:lnTo>
                <a:lnTo>
                  <a:pt x="354" y="840"/>
                </a:lnTo>
                <a:lnTo>
                  <a:pt x="348" y="840"/>
                </a:lnTo>
                <a:lnTo>
                  <a:pt x="342" y="840"/>
                </a:lnTo>
                <a:lnTo>
                  <a:pt x="336" y="840"/>
                </a:lnTo>
                <a:lnTo>
                  <a:pt x="330" y="840"/>
                </a:lnTo>
                <a:lnTo>
                  <a:pt x="324" y="840"/>
                </a:lnTo>
                <a:lnTo>
                  <a:pt x="318" y="840"/>
                </a:lnTo>
                <a:lnTo>
                  <a:pt x="312" y="840"/>
                </a:lnTo>
                <a:lnTo>
                  <a:pt x="306" y="840"/>
                </a:lnTo>
                <a:lnTo>
                  <a:pt x="306" y="846"/>
                </a:lnTo>
                <a:lnTo>
                  <a:pt x="300" y="846"/>
                </a:lnTo>
                <a:lnTo>
                  <a:pt x="300" y="852"/>
                </a:lnTo>
                <a:lnTo>
                  <a:pt x="300" y="846"/>
                </a:lnTo>
                <a:lnTo>
                  <a:pt x="300" y="852"/>
                </a:lnTo>
                <a:lnTo>
                  <a:pt x="306" y="852"/>
                </a:lnTo>
                <a:lnTo>
                  <a:pt x="312" y="852"/>
                </a:lnTo>
                <a:lnTo>
                  <a:pt x="312" y="858"/>
                </a:lnTo>
                <a:lnTo>
                  <a:pt x="312" y="864"/>
                </a:lnTo>
                <a:lnTo>
                  <a:pt x="312" y="870"/>
                </a:lnTo>
                <a:lnTo>
                  <a:pt x="306" y="864"/>
                </a:lnTo>
                <a:lnTo>
                  <a:pt x="306" y="870"/>
                </a:lnTo>
                <a:lnTo>
                  <a:pt x="306" y="876"/>
                </a:lnTo>
                <a:lnTo>
                  <a:pt x="300" y="876"/>
                </a:lnTo>
                <a:lnTo>
                  <a:pt x="306" y="876"/>
                </a:lnTo>
                <a:lnTo>
                  <a:pt x="300" y="876"/>
                </a:lnTo>
                <a:lnTo>
                  <a:pt x="300" y="882"/>
                </a:lnTo>
                <a:lnTo>
                  <a:pt x="294" y="882"/>
                </a:lnTo>
                <a:lnTo>
                  <a:pt x="288" y="882"/>
                </a:lnTo>
                <a:lnTo>
                  <a:pt x="288" y="888"/>
                </a:lnTo>
                <a:lnTo>
                  <a:pt x="288" y="894"/>
                </a:lnTo>
                <a:lnTo>
                  <a:pt x="282" y="894"/>
                </a:lnTo>
                <a:lnTo>
                  <a:pt x="276" y="894"/>
                </a:lnTo>
                <a:lnTo>
                  <a:pt x="270" y="894"/>
                </a:lnTo>
                <a:lnTo>
                  <a:pt x="264" y="894"/>
                </a:lnTo>
                <a:lnTo>
                  <a:pt x="258" y="894"/>
                </a:lnTo>
                <a:lnTo>
                  <a:pt x="252" y="894"/>
                </a:lnTo>
                <a:lnTo>
                  <a:pt x="252" y="900"/>
                </a:lnTo>
                <a:lnTo>
                  <a:pt x="246" y="900"/>
                </a:lnTo>
                <a:lnTo>
                  <a:pt x="240" y="900"/>
                </a:lnTo>
                <a:lnTo>
                  <a:pt x="234" y="900"/>
                </a:lnTo>
                <a:lnTo>
                  <a:pt x="228" y="900"/>
                </a:lnTo>
                <a:lnTo>
                  <a:pt x="228" y="906"/>
                </a:lnTo>
                <a:lnTo>
                  <a:pt x="228" y="900"/>
                </a:lnTo>
                <a:lnTo>
                  <a:pt x="228" y="906"/>
                </a:lnTo>
                <a:lnTo>
                  <a:pt x="222" y="906"/>
                </a:lnTo>
                <a:lnTo>
                  <a:pt x="222" y="900"/>
                </a:lnTo>
                <a:lnTo>
                  <a:pt x="222" y="906"/>
                </a:lnTo>
                <a:lnTo>
                  <a:pt x="216" y="906"/>
                </a:lnTo>
                <a:lnTo>
                  <a:pt x="210" y="906"/>
                </a:lnTo>
                <a:lnTo>
                  <a:pt x="210" y="912"/>
                </a:lnTo>
                <a:lnTo>
                  <a:pt x="204" y="912"/>
                </a:lnTo>
                <a:lnTo>
                  <a:pt x="204" y="918"/>
                </a:lnTo>
                <a:lnTo>
                  <a:pt x="204" y="912"/>
                </a:lnTo>
                <a:lnTo>
                  <a:pt x="204" y="918"/>
                </a:lnTo>
                <a:lnTo>
                  <a:pt x="198" y="918"/>
                </a:lnTo>
                <a:lnTo>
                  <a:pt x="192" y="918"/>
                </a:lnTo>
                <a:lnTo>
                  <a:pt x="192" y="924"/>
                </a:lnTo>
                <a:lnTo>
                  <a:pt x="186" y="924"/>
                </a:lnTo>
                <a:lnTo>
                  <a:pt x="186" y="918"/>
                </a:lnTo>
                <a:lnTo>
                  <a:pt x="180" y="918"/>
                </a:lnTo>
                <a:lnTo>
                  <a:pt x="180" y="912"/>
                </a:lnTo>
                <a:lnTo>
                  <a:pt x="174" y="912"/>
                </a:lnTo>
                <a:lnTo>
                  <a:pt x="174" y="906"/>
                </a:lnTo>
                <a:lnTo>
                  <a:pt x="168" y="906"/>
                </a:lnTo>
                <a:lnTo>
                  <a:pt x="162" y="912"/>
                </a:lnTo>
                <a:lnTo>
                  <a:pt x="168" y="912"/>
                </a:lnTo>
                <a:lnTo>
                  <a:pt x="162" y="912"/>
                </a:lnTo>
                <a:lnTo>
                  <a:pt x="162" y="918"/>
                </a:lnTo>
                <a:lnTo>
                  <a:pt x="156" y="918"/>
                </a:lnTo>
                <a:lnTo>
                  <a:pt x="150" y="918"/>
                </a:lnTo>
                <a:lnTo>
                  <a:pt x="144" y="918"/>
                </a:lnTo>
                <a:lnTo>
                  <a:pt x="144" y="924"/>
                </a:lnTo>
                <a:lnTo>
                  <a:pt x="138" y="924"/>
                </a:lnTo>
                <a:lnTo>
                  <a:pt x="132" y="924"/>
                </a:lnTo>
                <a:lnTo>
                  <a:pt x="132" y="930"/>
                </a:lnTo>
                <a:lnTo>
                  <a:pt x="132" y="924"/>
                </a:lnTo>
                <a:lnTo>
                  <a:pt x="126" y="924"/>
                </a:lnTo>
                <a:lnTo>
                  <a:pt x="126" y="930"/>
                </a:lnTo>
                <a:lnTo>
                  <a:pt x="126" y="924"/>
                </a:lnTo>
                <a:lnTo>
                  <a:pt x="120" y="924"/>
                </a:lnTo>
                <a:lnTo>
                  <a:pt x="114" y="924"/>
                </a:lnTo>
                <a:lnTo>
                  <a:pt x="114" y="918"/>
                </a:lnTo>
                <a:lnTo>
                  <a:pt x="120" y="918"/>
                </a:lnTo>
                <a:lnTo>
                  <a:pt x="120" y="912"/>
                </a:lnTo>
                <a:lnTo>
                  <a:pt x="114" y="906"/>
                </a:lnTo>
                <a:lnTo>
                  <a:pt x="108" y="900"/>
                </a:lnTo>
                <a:lnTo>
                  <a:pt x="108" y="894"/>
                </a:lnTo>
                <a:lnTo>
                  <a:pt x="108" y="888"/>
                </a:lnTo>
                <a:lnTo>
                  <a:pt x="102" y="882"/>
                </a:lnTo>
                <a:lnTo>
                  <a:pt x="102" y="876"/>
                </a:lnTo>
                <a:lnTo>
                  <a:pt x="102" y="870"/>
                </a:lnTo>
                <a:lnTo>
                  <a:pt x="96" y="870"/>
                </a:lnTo>
                <a:lnTo>
                  <a:pt x="96" y="864"/>
                </a:lnTo>
                <a:lnTo>
                  <a:pt x="96" y="858"/>
                </a:lnTo>
                <a:lnTo>
                  <a:pt x="90" y="858"/>
                </a:lnTo>
                <a:lnTo>
                  <a:pt x="84" y="858"/>
                </a:lnTo>
                <a:lnTo>
                  <a:pt x="84" y="852"/>
                </a:lnTo>
                <a:lnTo>
                  <a:pt x="78" y="852"/>
                </a:lnTo>
                <a:lnTo>
                  <a:pt x="84" y="852"/>
                </a:lnTo>
                <a:lnTo>
                  <a:pt x="78" y="852"/>
                </a:lnTo>
                <a:lnTo>
                  <a:pt x="72" y="852"/>
                </a:lnTo>
                <a:lnTo>
                  <a:pt x="72" y="846"/>
                </a:lnTo>
                <a:lnTo>
                  <a:pt x="66" y="846"/>
                </a:lnTo>
                <a:lnTo>
                  <a:pt x="60" y="840"/>
                </a:lnTo>
                <a:lnTo>
                  <a:pt x="54" y="834"/>
                </a:lnTo>
                <a:lnTo>
                  <a:pt x="60" y="834"/>
                </a:lnTo>
                <a:lnTo>
                  <a:pt x="54" y="834"/>
                </a:lnTo>
                <a:lnTo>
                  <a:pt x="54" y="828"/>
                </a:lnTo>
                <a:lnTo>
                  <a:pt x="48" y="828"/>
                </a:lnTo>
                <a:lnTo>
                  <a:pt x="54" y="828"/>
                </a:lnTo>
                <a:lnTo>
                  <a:pt x="54" y="822"/>
                </a:lnTo>
                <a:lnTo>
                  <a:pt x="48" y="822"/>
                </a:lnTo>
                <a:lnTo>
                  <a:pt x="42" y="816"/>
                </a:lnTo>
                <a:lnTo>
                  <a:pt x="36" y="810"/>
                </a:lnTo>
                <a:lnTo>
                  <a:pt x="30" y="804"/>
                </a:lnTo>
                <a:lnTo>
                  <a:pt x="30" y="798"/>
                </a:lnTo>
                <a:lnTo>
                  <a:pt x="36" y="798"/>
                </a:lnTo>
                <a:lnTo>
                  <a:pt x="36" y="792"/>
                </a:lnTo>
                <a:lnTo>
                  <a:pt x="42" y="792"/>
                </a:lnTo>
                <a:lnTo>
                  <a:pt x="42" y="786"/>
                </a:lnTo>
                <a:lnTo>
                  <a:pt x="48" y="786"/>
                </a:lnTo>
                <a:lnTo>
                  <a:pt x="54" y="786"/>
                </a:lnTo>
                <a:lnTo>
                  <a:pt x="60" y="786"/>
                </a:lnTo>
                <a:lnTo>
                  <a:pt x="66" y="786"/>
                </a:lnTo>
                <a:lnTo>
                  <a:pt x="72" y="786"/>
                </a:lnTo>
                <a:lnTo>
                  <a:pt x="78" y="786"/>
                </a:lnTo>
                <a:lnTo>
                  <a:pt x="84" y="786"/>
                </a:lnTo>
                <a:lnTo>
                  <a:pt x="90" y="786"/>
                </a:lnTo>
                <a:lnTo>
                  <a:pt x="96" y="786"/>
                </a:lnTo>
                <a:lnTo>
                  <a:pt x="102" y="786"/>
                </a:lnTo>
                <a:lnTo>
                  <a:pt x="108" y="786"/>
                </a:lnTo>
                <a:lnTo>
                  <a:pt x="114" y="786"/>
                </a:lnTo>
                <a:lnTo>
                  <a:pt x="120" y="786"/>
                </a:lnTo>
                <a:lnTo>
                  <a:pt x="126" y="786"/>
                </a:lnTo>
                <a:lnTo>
                  <a:pt x="120" y="780"/>
                </a:lnTo>
                <a:lnTo>
                  <a:pt x="114" y="780"/>
                </a:lnTo>
                <a:lnTo>
                  <a:pt x="114" y="774"/>
                </a:lnTo>
                <a:lnTo>
                  <a:pt x="108" y="774"/>
                </a:lnTo>
                <a:lnTo>
                  <a:pt x="108" y="768"/>
                </a:lnTo>
                <a:lnTo>
                  <a:pt x="102" y="768"/>
                </a:lnTo>
                <a:lnTo>
                  <a:pt x="102" y="762"/>
                </a:lnTo>
                <a:lnTo>
                  <a:pt x="102" y="756"/>
                </a:lnTo>
                <a:lnTo>
                  <a:pt x="96" y="756"/>
                </a:lnTo>
                <a:lnTo>
                  <a:pt x="96" y="750"/>
                </a:lnTo>
                <a:lnTo>
                  <a:pt x="96" y="744"/>
                </a:lnTo>
                <a:lnTo>
                  <a:pt x="90" y="744"/>
                </a:lnTo>
                <a:lnTo>
                  <a:pt x="90" y="738"/>
                </a:lnTo>
                <a:lnTo>
                  <a:pt x="90" y="732"/>
                </a:lnTo>
                <a:lnTo>
                  <a:pt x="90" y="726"/>
                </a:lnTo>
                <a:lnTo>
                  <a:pt x="90" y="720"/>
                </a:lnTo>
                <a:lnTo>
                  <a:pt x="84" y="720"/>
                </a:lnTo>
                <a:lnTo>
                  <a:pt x="90" y="720"/>
                </a:lnTo>
                <a:lnTo>
                  <a:pt x="90" y="714"/>
                </a:lnTo>
                <a:lnTo>
                  <a:pt x="84" y="714"/>
                </a:lnTo>
                <a:lnTo>
                  <a:pt x="90" y="714"/>
                </a:lnTo>
                <a:lnTo>
                  <a:pt x="84" y="714"/>
                </a:lnTo>
                <a:lnTo>
                  <a:pt x="90" y="714"/>
                </a:lnTo>
                <a:lnTo>
                  <a:pt x="90" y="708"/>
                </a:lnTo>
                <a:lnTo>
                  <a:pt x="90" y="702"/>
                </a:lnTo>
                <a:lnTo>
                  <a:pt x="90" y="696"/>
                </a:lnTo>
                <a:lnTo>
                  <a:pt x="96" y="696"/>
                </a:lnTo>
                <a:lnTo>
                  <a:pt x="90" y="696"/>
                </a:lnTo>
                <a:lnTo>
                  <a:pt x="90" y="690"/>
                </a:lnTo>
                <a:lnTo>
                  <a:pt x="90" y="684"/>
                </a:lnTo>
                <a:lnTo>
                  <a:pt x="90" y="678"/>
                </a:lnTo>
                <a:lnTo>
                  <a:pt x="90" y="672"/>
                </a:lnTo>
                <a:lnTo>
                  <a:pt x="90" y="666"/>
                </a:lnTo>
                <a:lnTo>
                  <a:pt x="84" y="666"/>
                </a:lnTo>
                <a:lnTo>
                  <a:pt x="78" y="660"/>
                </a:lnTo>
                <a:lnTo>
                  <a:pt x="78" y="654"/>
                </a:lnTo>
                <a:lnTo>
                  <a:pt x="78" y="648"/>
                </a:lnTo>
                <a:lnTo>
                  <a:pt x="78" y="642"/>
                </a:lnTo>
                <a:lnTo>
                  <a:pt x="78" y="648"/>
                </a:lnTo>
                <a:lnTo>
                  <a:pt x="78" y="642"/>
                </a:lnTo>
                <a:lnTo>
                  <a:pt x="78" y="636"/>
                </a:lnTo>
                <a:lnTo>
                  <a:pt x="72" y="636"/>
                </a:lnTo>
                <a:lnTo>
                  <a:pt x="72" y="630"/>
                </a:lnTo>
                <a:lnTo>
                  <a:pt x="72" y="636"/>
                </a:lnTo>
                <a:lnTo>
                  <a:pt x="72" y="630"/>
                </a:lnTo>
                <a:lnTo>
                  <a:pt x="66" y="630"/>
                </a:lnTo>
                <a:lnTo>
                  <a:pt x="66" y="624"/>
                </a:lnTo>
                <a:lnTo>
                  <a:pt x="66" y="630"/>
                </a:lnTo>
                <a:lnTo>
                  <a:pt x="60" y="630"/>
                </a:lnTo>
                <a:lnTo>
                  <a:pt x="60" y="624"/>
                </a:lnTo>
                <a:lnTo>
                  <a:pt x="60" y="618"/>
                </a:lnTo>
                <a:lnTo>
                  <a:pt x="60" y="612"/>
                </a:lnTo>
                <a:lnTo>
                  <a:pt x="54" y="612"/>
                </a:lnTo>
                <a:lnTo>
                  <a:pt x="48" y="612"/>
                </a:lnTo>
                <a:lnTo>
                  <a:pt x="42" y="612"/>
                </a:lnTo>
                <a:lnTo>
                  <a:pt x="36" y="612"/>
                </a:lnTo>
                <a:lnTo>
                  <a:pt x="36" y="606"/>
                </a:lnTo>
                <a:lnTo>
                  <a:pt x="30" y="606"/>
                </a:lnTo>
                <a:lnTo>
                  <a:pt x="30" y="600"/>
                </a:lnTo>
                <a:lnTo>
                  <a:pt x="24" y="600"/>
                </a:lnTo>
                <a:lnTo>
                  <a:pt x="24" y="594"/>
                </a:lnTo>
                <a:lnTo>
                  <a:pt x="24" y="588"/>
                </a:lnTo>
                <a:lnTo>
                  <a:pt x="18" y="588"/>
                </a:lnTo>
                <a:lnTo>
                  <a:pt x="18" y="582"/>
                </a:lnTo>
                <a:lnTo>
                  <a:pt x="12" y="582"/>
                </a:lnTo>
                <a:lnTo>
                  <a:pt x="12" y="576"/>
                </a:lnTo>
                <a:lnTo>
                  <a:pt x="12" y="570"/>
                </a:lnTo>
                <a:lnTo>
                  <a:pt x="6" y="570"/>
                </a:lnTo>
                <a:lnTo>
                  <a:pt x="6" y="564"/>
                </a:lnTo>
                <a:lnTo>
                  <a:pt x="6" y="558"/>
                </a:lnTo>
                <a:lnTo>
                  <a:pt x="6" y="552"/>
                </a:lnTo>
                <a:lnTo>
                  <a:pt x="6" y="546"/>
                </a:lnTo>
                <a:lnTo>
                  <a:pt x="0" y="546"/>
                </a:lnTo>
                <a:lnTo>
                  <a:pt x="0" y="540"/>
                </a:lnTo>
                <a:lnTo>
                  <a:pt x="0" y="534"/>
                </a:lnTo>
                <a:lnTo>
                  <a:pt x="0" y="528"/>
                </a:lnTo>
                <a:lnTo>
                  <a:pt x="6" y="528"/>
                </a:lnTo>
                <a:lnTo>
                  <a:pt x="12" y="528"/>
                </a:lnTo>
                <a:lnTo>
                  <a:pt x="12" y="522"/>
                </a:lnTo>
                <a:lnTo>
                  <a:pt x="12" y="516"/>
                </a:lnTo>
                <a:lnTo>
                  <a:pt x="18" y="516"/>
                </a:lnTo>
                <a:lnTo>
                  <a:pt x="18" y="510"/>
                </a:lnTo>
                <a:lnTo>
                  <a:pt x="18" y="504"/>
                </a:lnTo>
                <a:lnTo>
                  <a:pt x="18" y="498"/>
                </a:lnTo>
                <a:lnTo>
                  <a:pt x="24" y="498"/>
                </a:lnTo>
                <a:lnTo>
                  <a:pt x="24" y="492"/>
                </a:lnTo>
                <a:lnTo>
                  <a:pt x="30" y="492"/>
                </a:lnTo>
                <a:lnTo>
                  <a:pt x="30" y="486"/>
                </a:lnTo>
                <a:lnTo>
                  <a:pt x="36" y="480"/>
                </a:lnTo>
                <a:lnTo>
                  <a:pt x="36" y="474"/>
                </a:lnTo>
                <a:lnTo>
                  <a:pt x="42" y="474"/>
                </a:lnTo>
                <a:lnTo>
                  <a:pt x="42" y="468"/>
                </a:lnTo>
                <a:lnTo>
                  <a:pt x="48" y="462"/>
                </a:lnTo>
                <a:lnTo>
                  <a:pt x="48" y="456"/>
                </a:lnTo>
                <a:lnTo>
                  <a:pt x="54" y="456"/>
                </a:lnTo>
                <a:lnTo>
                  <a:pt x="54" y="450"/>
                </a:lnTo>
                <a:lnTo>
                  <a:pt x="60" y="450"/>
                </a:lnTo>
                <a:lnTo>
                  <a:pt x="60" y="444"/>
                </a:lnTo>
                <a:lnTo>
                  <a:pt x="66" y="444"/>
                </a:lnTo>
                <a:lnTo>
                  <a:pt x="66" y="438"/>
                </a:lnTo>
                <a:lnTo>
                  <a:pt x="72" y="438"/>
                </a:lnTo>
                <a:lnTo>
                  <a:pt x="72" y="432"/>
                </a:lnTo>
                <a:lnTo>
                  <a:pt x="78" y="432"/>
                </a:lnTo>
                <a:lnTo>
                  <a:pt x="78" y="426"/>
                </a:lnTo>
                <a:lnTo>
                  <a:pt x="84" y="426"/>
                </a:lnTo>
                <a:lnTo>
                  <a:pt x="84" y="420"/>
                </a:lnTo>
                <a:lnTo>
                  <a:pt x="90" y="414"/>
                </a:lnTo>
                <a:lnTo>
                  <a:pt x="96" y="408"/>
                </a:lnTo>
                <a:lnTo>
                  <a:pt x="102" y="402"/>
                </a:lnTo>
                <a:lnTo>
                  <a:pt x="108" y="396"/>
                </a:lnTo>
                <a:lnTo>
                  <a:pt x="108" y="390"/>
                </a:lnTo>
                <a:lnTo>
                  <a:pt x="114" y="390"/>
                </a:lnTo>
                <a:lnTo>
                  <a:pt x="114" y="384"/>
                </a:lnTo>
                <a:lnTo>
                  <a:pt x="114" y="378"/>
                </a:lnTo>
                <a:lnTo>
                  <a:pt x="114" y="372"/>
                </a:lnTo>
                <a:lnTo>
                  <a:pt x="114" y="366"/>
                </a:lnTo>
                <a:lnTo>
                  <a:pt x="114" y="354"/>
                </a:lnTo>
                <a:lnTo>
                  <a:pt x="114" y="348"/>
                </a:lnTo>
                <a:lnTo>
                  <a:pt x="114" y="342"/>
                </a:lnTo>
                <a:lnTo>
                  <a:pt x="114" y="336"/>
                </a:lnTo>
                <a:lnTo>
                  <a:pt x="114" y="330"/>
                </a:lnTo>
                <a:lnTo>
                  <a:pt x="114" y="324"/>
                </a:lnTo>
                <a:lnTo>
                  <a:pt x="114" y="318"/>
                </a:lnTo>
                <a:lnTo>
                  <a:pt x="120" y="312"/>
                </a:lnTo>
                <a:lnTo>
                  <a:pt x="120" y="306"/>
                </a:lnTo>
                <a:lnTo>
                  <a:pt x="120" y="300"/>
                </a:lnTo>
                <a:lnTo>
                  <a:pt x="120" y="294"/>
                </a:lnTo>
                <a:lnTo>
                  <a:pt x="120" y="288"/>
                </a:lnTo>
                <a:lnTo>
                  <a:pt x="120" y="282"/>
                </a:lnTo>
                <a:lnTo>
                  <a:pt x="120" y="276"/>
                </a:lnTo>
                <a:lnTo>
                  <a:pt x="120" y="270"/>
                </a:lnTo>
                <a:lnTo>
                  <a:pt x="120" y="264"/>
                </a:lnTo>
                <a:lnTo>
                  <a:pt x="120" y="258"/>
                </a:lnTo>
                <a:lnTo>
                  <a:pt x="120" y="252"/>
                </a:lnTo>
                <a:lnTo>
                  <a:pt x="120" y="246"/>
                </a:lnTo>
                <a:lnTo>
                  <a:pt x="126" y="246"/>
                </a:lnTo>
                <a:lnTo>
                  <a:pt x="126" y="240"/>
                </a:lnTo>
                <a:lnTo>
                  <a:pt x="126" y="234"/>
                </a:lnTo>
                <a:lnTo>
                  <a:pt x="126" y="228"/>
                </a:lnTo>
                <a:lnTo>
                  <a:pt x="126" y="222"/>
                </a:lnTo>
                <a:lnTo>
                  <a:pt x="126" y="216"/>
                </a:lnTo>
                <a:lnTo>
                  <a:pt x="126" y="210"/>
                </a:lnTo>
                <a:lnTo>
                  <a:pt x="132" y="204"/>
                </a:lnTo>
                <a:lnTo>
                  <a:pt x="138" y="198"/>
                </a:lnTo>
                <a:lnTo>
                  <a:pt x="138" y="192"/>
                </a:lnTo>
                <a:lnTo>
                  <a:pt x="138" y="186"/>
                </a:lnTo>
                <a:lnTo>
                  <a:pt x="138" y="180"/>
                </a:lnTo>
                <a:lnTo>
                  <a:pt x="132" y="180"/>
                </a:lnTo>
                <a:lnTo>
                  <a:pt x="132" y="174"/>
                </a:lnTo>
                <a:lnTo>
                  <a:pt x="126" y="168"/>
                </a:lnTo>
                <a:lnTo>
                  <a:pt x="120" y="162"/>
                </a:lnTo>
                <a:lnTo>
                  <a:pt x="114" y="156"/>
                </a:lnTo>
                <a:lnTo>
                  <a:pt x="114" y="150"/>
                </a:lnTo>
                <a:lnTo>
                  <a:pt x="120" y="150"/>
                </a:lnTo>
                <a:lnTo>
                  <a:pt x="120" y="144"/>
                </a:lnTo>
                <a:lnTo>
                  <a:pt x="114" y="138"/>
                </a:lnTo>
                <a:lnTo>
                  <a:pt x="108" y="138"/>
                </a:lnTo>
                <a:lnTo>
                  <a:pt x="108" y="132"/>
                </a:lnTo>
                <a:lnTo>
                  <a:pt x="108" y="126"/>
                </a:lnTo>
                <a:lnTo>
                  <a:pt x="102" y="126"/>
                </a:lnTo>
                <a:lnTo>
                  <a:pt x="102" y="120"/>
                </a:lnTo>
                <a:lnTo>
                  <a:pt x="96" y="120"/>
                </a:lnTo>
                <a:lnTo>
                  <a:pt x="96" y="114"/>
                </a:lnTo>
                <a:lnTo>
                  <a:pt x="96" y="108"/>
                </a:lnTo>
                <a:lnTo>
                  <a:pt x="96" y="102"/>
                </a:lnTo>
                <a:lnTo>
                  <a:pt x="96" y="96"/>
                </a:lnTo>
                <a:lnTo>
                  <a:pt x="96" y="90"/>
                </a:lnTo>
                <a:lnTo>
                  <a:pt x="96" y="84"/>
                </a:lnTo>
                <a:lnTo>
                  <a:pt x="96" y="78"/>
                </a:lnTo>
                <a:lnTo>
                  <a:pt x="96" y="72"/>
                </a:lnTo>
                <a:lnTo>
                  <a:pt x="90" y="66"/>
                </a:lnTo>
                <a:lnTo>
                  <a:pt x="90" y="60"/>
                </a:lnTo>
                <a:lnTo>
                  <a:pt x="90" y="48"/>
                </a:lnTo>
                <a:lnTo>
                  <a:pt x="90" y="42"/>
                </a:lnTo>
                <a:lnTo>
                  <a:pt x="90" y="36"/>
                </a:lnTo>
                <a:lnTo>
                  <a:pt x="84" y="36"/>
                </a:lnTo>
                <a:lnTo>
                  <a:pt x="84" y="30"/>
                </a:lnTo>
                <a:lnTo>
                  <a:pt x="84" y="24"/>
                </a:lnTo>
                <a:lnTo>
                  <a:pt x="90" y="24"/>
                </a:lnTo>
                <a:lnTo>
                  <a:pt x="96" y="24"/>
                </a:lnTo>
                <a:lnTo>
                  <a:pt x="96" y="18"/>
                </a:lnTo>
                <a:lnTo>
                  <a:pt x="102" y="18"/>
                </a:lnTo>
                <a:lnTo>
                  <a:pt x="108" y="18"/>
                </a:lnTo>
                <a:lnTo>
                  <a:pt x="108" y="12"/>
                </a:lnTo>
                <a:lnTo>
                  <a:pt x="114" y="12"/>
                </a:lnTo>
                <a:lnTo>
                  <a:pt x="120" y="12"/>
                </a:lnTo>
                <a:lnTo>
                  <a:pt x="120" y="6"/>
                </a:lnTo>
                <a:lnTo>
                  <a:pt x="126" y="6"/>
                </a:lnTo>
                <a:lnTo>
                  <a:pt x="132" y="6"/>
                </a:lnTo>
                <a:lnTo>
                  <a:pt x="138" y="0"/>
                </a:lnTo>
                <a:lnTo>
                  <a:pt x="144" y="0"/>
                </a:lnTo>
                <a:lnTo>
                  <a:pt x="150" y="6"/>
                </a:lnTo>
                <a:lnTo>
                  <a:pt x="156" y="6"/>
                </a:lnTo>
                <a:lnTo>
                  <a:pt x="162" y="12"/>
                </a:lnTo>
                <a:lnTo>
                  <a:pt x="168" y="12"/>
                </a:lnTo>
                <a:lnTo>
                  <a:pt x="174" y="18"/>
                </a:lnTo>
                <a:lnTo>
                  <a:pt x="180" y="18"/>
                </a:lnTo>
                <a:lnTo>
                  <a:pt x="186" y="24"/>
                </a:lnTo>
                <a:lnTo>
                  <a:pt x="192" y="24"/>
                </a:lnTo>
                <a:lnTo>
                  <a:pt x="198" y="30"/>
                </a:lnTo>
                <a:lnTo>
                  <a:pt x="204" y="30"/>
                </a:lnTo>
                <a:lnTo>
                  <a:pt x="210" y="36"/>
                </a:lnTo>
                <a:lnTo>
                  <a:pt x="216" y="36"/>
                </a:lnTo>
                <a:lnTo>
                  <a:pt x="222" y="42"/>
                </a:lnTo>
                <a:lnTo>
                  <a:pt x="228" y="42"/>
                </a:lnTo>
                <a:lnTo>
                  <a:pt x="234" y="48"/>
                </a:lnTo>
                <a:lnTo>
                  <a:pt x="240" y="48"/>
                </a:lnTo>
                <a:lnTo>
                  <a:pt x="246" y="54"/>
                </a:lnTo>
                <a:lnTo>
                  <a:pt x="252" y="54"/>
                </a:lnTo>
                <a:lnTo>
                  <a:pt x="252" y="60"/>
                </a:lnTo>
                <a:lnTo>
                  <a:pt x="258" y="60"/>
                </a:lnTo>
                <a:lnTo>
                  <a:pt x="264" y="60"/>
                </a:lnTo>
                <a:lnTo>
                  <a:pt x="264" y="66"/>
                </a:lnTo>
                <a:lnTo>
                  <a:pt x="270" y="66"/>
                </a:lnTo>
                <a:lnTo>
                  <a:pt x="276" y="66"/>
                </a:lnTo>
                <a:lnTo>
                  <a:pt x="282" y="72"/>
                </a:lnTo>
                <a:lnTo>
                  <a:pt x="288" y="72"/>
                </a:lnTo>
                <a:lnTo>
                  <a:pt x="288" y="78"/>
                </a:lnTo>
                <a:lnTo>
                  <a:pt x="306" y="84"/>
                </a:lnTo>
                <a:lnTo>
                  <a:pt x="588" y="234"/>
                </a:lnTo>
                <a:lnTo>
                  <a:pt x="588" y="240"/>
                </a:lnTo>
                <a:lnTo>
                  <a:pt x="588" y="246"/>
                </a:lnTo>
                <a:lnTo>
                  <a:pt x="588" y="252"/>
                </a:lnTo>
                <a:lnTo>
                  <a:pt x="588" y="258"/>
                </a:lnTo>
                <a:lnTo>
                  <a:pt x="588" y="264"/>
                </a:lnTo>
                <a:lnTo>
                  <a:pt x="588" y="270"/>
                </a:lnTo>
                <a:lnTo>
                  <a:pt x="588" y="276"/>
                </a:lnTo>
                <a:lnTo>
                  <a:pt x="588" y="282"/>
                </a:lnTo>
                <a:lnTo>
                  <a:pt x="588" y="288"/>
                </a:lnTo>
                <a:lnTo>
                  <a:pt x="588" y="294"/>
                </a:lnTo>
                <a:lnTo>
                  <a:pt x="588" y="300"/>
                </a:lnTo>
                <a:lnTo>
                  <a:pt x="588" y="306"/>
                </a:lnTo>
                <a:lnTo>
                  <a:pt x="588" y="312"/>
                </a:lnTo>
                <a:lnTo>
                  <a:pt x="588" y="318"/>
                </a:lnTo>
                <a:lnTo>
                  <a:pt x="588" y="324"/>
                </a:lnTo>
                <a:lnTo>
                  <a:pt x="588" y="330"/>
                </a:lnTo>
                <a:lnTo>
                  <a:pt x="588" y="336"/>
                </a:lnTo>
                <a:lnTo>
                  <a:pt x="588" y="342"/>
                </a:lnTo>
                <a:lnTo>
                  <a:pt x="588" y="348"/>
                </a:lnTo>
                <a:lnTo>
                  <a:pt x="588" y="354"/>
                </a:lnTo>
                <a:lnTo>
                  <a:pt x="588" y="360"/>
                </a:lnTo>
                <a:lnTo>
                  <a:pt x="588" y="366"/>
                </a:lnTo>
                <a:lnTo>
                  <a:pt x="588" y="372"/>
                </a:lnTo>
                <a:lnTo>
                  <a:pt x="588" y="378"/>
                </a:lnTo>
                <a:lnTo>
                  <a:pt x="588" y="384"/>
                </a:lnTo>
                <a:lnTo>
                  <a:pt x="588" y="390"/>
                </a:lnTo>
                <a:lnTo>
                  <a:pt x="588" y="396"/>
                </a:lnTo>
                <a:lnTo>
                  <a:pt x="588" y="402"/>
                </a:lnTo>
                <a:lnTo>
                  <a:pt x="588" y="408"/>
                </a:lnTo>
                <a:lnTo>
                  <a:pt x="588" y="414"/>
                </a:lnTo>
                <a:lnTo>
                  <a:pt x="588" y="420"/>
                </a:lnTo>
                <a:lnTo>
                  <a:pt x="588" y="426"/>
                </a:lnTo>
                <a:lnTo>
                  <a:pt x="588" y="432"/>
                </a:lnTo>
                <a:lnTo>
                  <a:pt x="588" y="438"/>
                </a:lnTo>
                <a:lnTo>
                  <a:pt x="588" y="450"/>
                </a:lnTo>
                <a:lnTo>
                  <a:pt x="588" y="456"/>
                </a:lnTo>
                <a:lnTo>
                  <a:pt x="582" y="456"/>
                </a:lnTo>
                <a:lnTo>
                  <a:pt x="576" y="456"/>
                </a:lnTo>
                <a:lnTo>
                  <a:pt x="570" y="456"/>
                </a:lnTo>
                <a:lnTo>
                  <a:pt x="564" y="456"/>
                </a:lnTo>
                <a:lnTo>
                  <a:pt x="558" y="456"/>
                </a:lnTo>
                <a:lnTo>
                  <a:pt x="552" y="456"/>
                </a:lnTo>
                <a:lnTo>
                  <a:pt x="552" y="462"/>
                </a:lnTo>
                <a:lnTo>
                  <a:pt x="546" y="456"/>
                </a:lnTo>
                <a:lnTo>
                  <a:pt x="540" y="456"/>
                </a:lnTo>
                <a:lnTo>
                  <a:pt x="534" y="456"/>
                </a:lnTo>
                <a:lnTo>
                  <a:pt x="534" y="462"/>
                </a:lnTo>
                <a:lnTo>
                  <a:pt x="528" y="468"/>
                </a:lnTo>
                <a:lnTo>
                  <a:pt x="528" y="474"/>
                </a:lnTo>
                <a:lnTo>
                  <a:pt x="528" y="480"/>
                </a:lnTo>
                <a:lnTo>
                  <a:pt x="528" y="486"/>
                </a:lnTo>
                <a:lnTo>
                  <a:pt x="528" y="492"/>
                </a:lnTo>
                <a:lnTo>
                  <a:pt x="522" y="492"/>
                </a:lnTo>
                <a:lnTo>
                  <a:pt x="522" y="498"/>
                </a:lnTo>
                <a:lnTo>
                  <a:pt x="516" y="498"/>
                </a:lnTo>
                <a:lnTo>
                  <a:pt x="516" y="504"/>
                </a:lnTo>
                <a:lnTo>
                  <a:pt x="510" y="504"/>
                </a:lnTo>
                <a:lnTo>
                  <a:pt x="510" y="510"/>
                </a:lnTo>
                <a:lnTo>
                  <a:pt x="516" y="510"/>
                </a:lnTo>
                <a:lnTo>
                  <a:pt x="516" y="516"/>
                </a:lnTo>
                <a:lnTo>
                  <a:pt x="510" y="516"/>
                </a:lnTo>
                <a:lnTo>
                  <a:pt x="504" y="522"/>
                </a:lnTo>
                <a:lnTo>
                  <a:pt x="498" y="522"/>
                </a:lnTo>
                <a:lnTo>
                  <a:pt x="498" y="528"/>
                </a:lnTo>
                <a:lnTo>
                  <a:pt x="498" y="534"/>
                </a:lnTo>
                <a:lnTo>
                  <a:pt x="498" y="540"/>
                </a:lnTo>
                <a:lnTo>
                  <a:pt x="504" y="540"/>
                </a:lnTo>
                <a:lnTo>
                  <a:pt x="504" y="546"/>
                </a:lnTo>
                <a:lnTo>
                  <a:pt x="510" y="546"/>
                </a:lnTo>
                <a:lnTo>
                  <a:pt x="504" y="546"/>
                </a:lnTo>
                <a:lnTo>
                  <a:pt x="504" y="552"/>
                </a:lnTo>
                <a:lnTo>
                  <a:pt x="498" y="552"/>
                </a:lnTo>
                <a:lnTo>
                  <a:pt x="498" y="558"/>
                </a:lnTo>
                <a:lnTo>
                  <a:pt x="492" y="558"/>
                </a:lnTo>
                <a:lnTo>
                  <a:pt x="486" y="558"/>
                </a:lnTo>
                <a:lnTo>
                  <a:pt x="486" y="564"/>
                </a:lnTo>
                <a:lnTo>
                  <a:pt x="480" y="564"/>
                </a:lnTo>
                <a:lnTo>
                  <a:pt x="480" y="570"/>
                </a:lnTo>
                <a:lnTo>
                  <a:pt x="480" y="576"/>
                </a:lnTo>
                <a:lnTo>
                  <a:pt x="486" y="576"/>
                </a:lnTo>
                <a:lnTo>
                  <a:pt x="486" y="582"/>
                </a:lnTo>
                <a:lnTo>
                  <a:pt x="486" y="588"/>
                </a:lnTo>
                <a:lnTo>
                  <a:pt x="492" y="588"/>
                </a:lnTo>
                <a:lnTo>
                  <a:pt x="492" y="594"/>
                </a:lnTo>
                <a:lnTo>
                  <a:pt x="486" y="594"/>
                </a:lnTo>
                <a:lnTo>
                  <a:pt x="486" y="600"/>
                </a:lnTo>
                <a:lnTo>
                  <a:pt x="480" y="606"/>
                </a:lnTo>
                <a:lnTo>
                  <a:pt x="474" y="606"/>
                </a:lnTo>
                <a:lnTo>
                  <a:pt x="474" y="612"/>
                </a:lnTo>
                <a:lnTo>
                  <a:pt x="468" y="612"/>
                </a:lnTo>
                <a:lnTo>
                  <a:pt x="474" y="612"/>
                </a:lnTo>
                <a:lnTo>
                  <a:pt x="468" y="612"/>
                </a:lnTo>
                <a:lnTo>
                  <a:pt x="468" y="618"/>
                </a:lnTo>
                <a:lnTo>
                  <a:pt x="468" y="624"/>
                </a:lnTo>
                <a:lnTo>
                  <a:pt x="468" y="630"/>
                </a:lnTo>
                <a:lnTo>
                  <a:pt x="474" y="636"/>
                </a:lnTo>
                <a:lnTo>
                  <a:pt x="480" y="636"/>
                </a:lnTo>
                <a:lnTo>
                  <a:pt x="480" y="630"/>
                </a:lnTo>
                <a:lnTo>
                  <a:pt x="486" y="630"/>
                </a:lnTo>
                <a:lnTo>
                  <a:pt x="492" y="630"/>
                </a:lnTo>
                <a:lnTo>
                  <a:pt x="498" y="630"/>
                </a:lnTo>
                <a:lnTo>
                  <a:pt x="498" y="636"/>
                </a:lnTo>
                <a:lnTo>
                  <a:pt x="498" y="642"/>
                </a:lnTo>
                <a:lnTo>
                  <a:pt x="498" y="648"/>
                </a:lnTo>
                <a:lnTo>
                  <a:pt x="498" y="654"/>
                </a:lnTo>
                <a:lnTo>
                  <a:pt x="504" y="660"/>
                </a:lnTo>
                <a:lnTo>
                  <a:pt x="504" y="666"/>
                </a:lnTo>
                <a:lnTo>
                  <a:pt x="498" y="672"/>
                </a:lnTo>
                <a:lnTo>
                  <a:pt x="504" y="672"/>
                </a:lnTo>
                <a:lnTo>
                  <a:pt x="504" y="666"/>
                </a:lnTo>
                <a:lnTo>
                  <a:pt x="510" y="666"/>
                </a:lnTo>
                <a:lnTo>
                  <a:pt x="510" y="672"/>
                </a:lnTo>
                <a:lnTo>
                  <a:pt x="510" y="678"/>
                </a:lnTo>
                <a:lnTo>
                  <a:pt x="510" y="684"/>
                </a:lnTo>
                <a:lnTo>
                  <a:pt x="504" y="684"/>
                </a:lnTo>
                <a:lnTo>
                  <a:pt x="504" y="690"/>
                </a:lnTo>
                <a:lnTo>
                  <a:pt x="510" y="690"/>
                </a:lnTo>
                <a:lnTo>
                  <a:pt x="510" y="696"/>
                </a:lnTo>
                <a:lnTo>
                  <a:pt x="516" y="702"/>
                </a:lnTo>
                <a:lnTo>
                  <a:pt x="522" y="702"/>
                </a:lnTo>
                <a:lnTo>
                  <a:pt x="528" y="702"/>
                </a:lnTo>
                <a:lnTo>
                  <a:pt x="528" y="708"/>
                </a:lnTo>
                <a:lnTo>
                  <a:pt x="528" y="714"/>
                </a:lnTo>
                <a:lnTo>
                  <a:pt x="528" y="720"/>
                </a:lnTo>
                <a:lnTo>
                  <a:pt x="528" y="726"/>
                </a:lnTo>
                <a:lnTo>
                  <a:pt x="522" y="732"/>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39" name="Freeform 30">
            <a:extLst>
              <a:ext uri="{FF2B5EF4-FFF2-40B4-BE49-F238E27FC236}">
                <a16:creationId xmlns:a16="http://schemas.microsoft.com/office/drawing/2014/main" id="{17191939-86B2-3C46-88D0-838A0CECE8AD}"/>
              </a:ext>
            </a:extLst>
          </p:cNvPr>
          <p:cNvSpPr>
            <a:spLocks noEditPoints="1"/>
          </p:cNvSpPr>
          <p:nvPr>
            <p:custDataLst>
              <p:tags r:id="rId27"/>
            </p:custDataLst>
          </p:nvPr>
        </p:nvSpPr>
        <p:spPr bwMode="gray">
          <a:xfrm>
            <a:off x="5882663" y="3662095"/>
            <a:ext cx="428497" cy="279407"/>
          </a:xfrm>
          <a:custGeom>
            <a:avLst/>
            <a:gdLst>
              <a:gd name="T0" fmla="*/ 48452 w 372"/>
              <a:gd name="T1" fmla="*/ 14519 h 324"/>
              <a:gd name="T2" fmla="*/ 55235 w 372"/>
              <a:gd name="T3" fmla="*/ 31941 h 324"/>
              <a:gd name="T4" fmla="*/ 60081 w 372"/>
              <a:gd name="T5" fmla="*/ 44524 h 324"/>
              <a:gd name="T6" fmla="*/ 63957 w 372"/>
              <a:gd name="T7" fmla="*/ 57107 h 324"/>
              <a:gd name="T8" fmla="*/ 67834 w 372"/>
              <a:gd name="T9" fmla="*/ 57107 h 324"/>
              <a:gd name="T10" fmla="*/ 71710 w 372"/>
              <a:gd name="T11" fmla="*/ 57107 h 324"/>
              <a:gd name="T12" fmla="*/ 74616 w 372"/>
              <a:gd name="T13" fmla="*/ 63883 h 324"/>
              <a:gd name="T14" fmla="*/ 80431 w 372"/>
              <a:gd name="T15" fmla="*/ 61947 h 324"/>
              <a:gd name="T16" fmla="*/ 95935 w 372"/>
              <a:gd name="T17" fmla="*/ 70658 h 324"/>
              <a:gd name="T18" fmla="*/ 104657 w 372"/>
              <a:gd name="T19" fmla="*/ 83241 h 324"/>
              <a:gd name="T20" fmla="*/ 112409 w 372"/>
              <a:gd name="T21" fmla="*/ 89049 h 324"/>
              <a:gd name="T22" fmla="*/ 117254 w 372"/>
              <a:gd name="T23" fmla="*/ 97760 h 324"/>
              <a:gd name="T24" fmla="*/ 123069 w 372"/>
              <a:gd name="T25" fmla="*/ 104535 h 324"/>
              <a:gd name="T26" fmla="*/ 131790 w 372"/>
              <a:gd name="T27" fmla="*/ 108407 h 324"/>
              <a:gd name="T28" fmla="*/ 119193 w 372"/>
              <a:gd name="T29" fmla="*/ 112279 h 324"/>
              <a:gd name="T30" fmla="*/ 105626 w 372"/>
              <a:gd name="T31" fmla="*/ 99696 h 324"/>
              <a:gd name="T32" fmla="*/ 93998 w 372"/>
              <a:gd name="T33" fmla="*/ 89049 h 324"/>
              <a:gd name="T34" fmla="*/ 80431 w 372"/>
              <a:gd name="T35" fmla="*/ 78402 h 324"/>
              <a:gd name="T36" fmla="*/ 67834 w 372"/>
              <a:gd name="T37" fmla="*/ 74530 h 324"/>
              <a:gd name="T38" fmla="*/ 55235 w 372"/>
              <a:gd name="T39" fmla="*/ 74530 h 324"/>
              <a:gd name="T40" fmla="*/ 42638 w 372"/>
              <a:gd name="T41" fmla="*/ 74530 h 324"/>
              <a:gd name="T42" fmla="*/ 30040 w 372"/>
              <a:gd name="T43" fmla="*/ 65818 h 324"/>
              <a:gd name="T44" fmla="*/ 21319 w 372"/>
              <a:gd name="T45" fmla="*/ 80338 h 324"/>
              <a:gd name="T46" fmla="*/ 14536 w 372"/>
              <a:gd name="T47" fmla="*/ 74530 h 324"/>
              <a:gd name="T48" fmla="*/ 1938 w 372"/>
              <a:gd name="T49" fmla="*/ 70658 h 324"/>
              <a:gd name="T50" fmla="*/ 3876 w 372"/>
              <a:gd name="T51" fmla="*/ 55171 h 324"/>
              <a:gd name="T52" fmla="*/ 8721 w 372"/>
              <a:gd name="T53" fmla="*/ 36781 h 324"/>
              <a:gd name="T54" fmla="*/ 10660 w 372"/>
              <a:gd name="T55" fmla="*/ 26134 h 324"/>
              <a:gd name="T56" fmla="*/ 21319 w 372"/>
              <a:gd name="T57" fmla="*/ 19358 h 324"/>
              <a:gd name="T58" fmla="*/ 33916 w 372"/>
              <a:gd name="T59" fmla="*/ 10647 h 324"/>
              <a:gd name="T60" fmla="*/ 70740 w 372"/>
              <a:gd name="T61" fmla="*/ 46460 h 324"/>
              <a:gd name="T62" fmla="*/ 71710 w 372"/>
              <a:gd name="T63" fmla="*/ 44524 h 324"/>
              <a:gd name="T64" fmla="*/ 78493 w 372"/>
              <a:gd name="T65" fmla="*/ 48396 h 324"/>
              <a:gd name="T66" fmla="*/ 70740 w 372"/>
              <a:gd name="T67" fmla="*/ 48396 h 324"/>
              <a:gd name="T68" fmla="*/ 76555 w 372"/>
              <a:gd name="T69" fmla="*/ 60011 h 324"/>
              <a:gd name="T70" fmla="*/ 74616 w 372"/>
              <a:gd name="T71" fmla="*/ 48396 h 324"/>
              <a:gd name="T72" fmla="*/ 60081 w 372"/>
              <a:gd name="T73" fmla="*/ 37749 h 324"/>
              <a:gd name="T74" fmla="*/ 71710 w 372"/>
              <a:gd name="T75" fmla="*/ 40653 h 324"/>
              <a:gd name="T76" fmla="*/ 63957 w 372"/>
              <a:gd name="T77" fmla="*/ 42588 h 324"/>
              <a:gd name="T78" fmla="*/ 71710 w 372"/>
              <a:gd name="T79" fmla="*/ 46460 h 324"/>
              <a:gd name="T80" fmla="*/ 127914 w 372"/>
              <a:gd name="T81" fmla="*/ 105503 h 324"/>
              <a:gd name="T82" fmla="*/ 87214 w 372"/>
              <a:gd name="T83" fmla="*/ 51300 h 324"/>
              <a:gd name="T84" fmla="*/ 76555 w 372"/>
              <a:gd name="T85" fmla="*/ 51300 h 324"/>
              <a:gd name="T86" fmla="*/ 91090 w 372"/>
              <a:gd name="T87" fmla="*/ 51300 h 324"/>
              <a:gd name="T88" fmla="*/ 83338 w 372"/>
              <a:gd name="T89" fmla="*/ 42588 h 324"/>
              <a:gd name="T90" fmla="*/ 125007 w 372"/>
              <a:gd name="T91" fmla="*/ 104535 h 324"/>
              <a:gd name="T92" fmla="*/ 65895 w 372"/>
              <a:gd name="T93" fmla="*/ 36781 h 324"/>
              <a:gd name="T94" fmla="*/ 76555 w 372"/>
              <a:gd name="T95" fmla="*/ 44524 h 324"/>
              <a:gd name="T96" fmla="*/ 74616 w 372"/>
              <a:gd name="T97" fmla="*/ 57107 h 324"/>
              <a:gd name="T98" fmla="*/ 127914 w 372"/>
              <a:gd name="T99" fmla="*/ 104535 h 324"/>
              <a:gd name="T100" fmla="*/ 115317 w 372"/>
              <a:gd name="T101" fmla="*/ 89049 h 324"/>
              <a:gd name="T102" fmla="*/ 85276 w 372"/>
              <a:gd name="T103" fmla="*/ 46460 h 324"/>
              <a:gd name="T104" fmla="*/ 58143 w 372"/>
              <a:gd name="T105" fmla="*/ 30005 h 324"/>
              <a:gd name="T106" fmla="*/ 115317 w 372"/>
              <a:gd name="T107" fmla="*/ 89049 h 324"/>
              <a:gd name="T108" fmla="*/ 127914 w 372"/>
              <a:gd name="T109" fmla="*/ 105503 h 324"/>
              <a:gd name="T110" fmla="*/ 80431 w 372"/>
              <a:gd name="T111" fmla="*/ 48396 h 324"/>
              <a:gd name="T112" fmla="*/ 127914 w 372"/>
              <a:gd name="T113" fmla="*/ 101632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324">
                <a:moveTo>
                  <a:pt x="120" y="0"/>
                </a:moveTo>
                <a:lnTo>
                  <a:pt x="120" y="6"/>
                </a:lnTo>
                <a:lnTo>
                  <a:pt x="126" y="6"/>
                </a:lnTo>
                <a:lnTo>
                  <a:pt x="126" y="12"/>
                </a:lnTo>
                <a:lnTo>
                  <a:pt x="126" y="18"/>
                </a:lnTo>
                <a:lnTo>
                  <a:pt x="132" y="18"/>
                </a:lnTo>
                <a:lnTo>
                  <a:pt x="132" y="24"/>
                </a:lnTo>
                <a:lnTo>
                  <a:pt x="138" y="30"/>
                </a:lnTo>
                <a:lnTo>
                  <a:pt x="138" y="36"/>
                </a:lnTo>
                <a:lnTo>
                  <a:pt x="138" y="42"/>
                </a:lnTo>
                <a:lnTo>
                  <a:pt x="144" y="42"/>
                </a:lnTo>
                <a:lnTo>
                  <a:pt x="144" y="48"/>
                </a:lnTo>
                <a:lnTo>
                  <a:pt x="144" y="54"/>
                </a:lnTo>
                <a:lnTo>
                  <a:pt x="144" y="60"/>
                </a:lnTo>
                <a:lnTo>
                  <a:pt x="144" y="66"/>
                </a:lnTo>
                <a:lnTo>
                  <a:pt x="150" y="66"/>
                </a:lnTo>
                <a:lnTo>
                  <a:pt x="150" y="72"/>
                </a:lnTo>
                <a:lnTo>
                  <a:pt x="150" y="78"/>
                </a:lnTo>
                <a:lnTo>
                  <a:pt x="150" y="84"/>
                </a:lnTo>
                <a:lnTo>
                  <a:pt x="156" y="90"/>
                </a:lnTo>
                <a:lnTo>
                  <a:pt x="150" y="90"/>
                </a:lnTo>
                <a:lnTo>
                  <a:pt x="156" y="90"/>
                </a:lnTo>
                <a:lnTo>
                  <a:pt x="156" y="96"/>
                </a:lnTo>
                <a:lnTo>
                  <a:pt x="156" y="102"/>
                </a:lnTo>
                <a:lnTo>
                  <a:pt x="156" y="108"/>
                </a:lnTo>
                <a:lnTo>
                  <a:pt x="156" y="114"/>
                </a:lnTo>
                <a:lnTo>
                  <a:pt x="156" y="120"/>
                </a:lnTo>
                <a:lnTo>
                  <a:pt x="162" y="120"/>
                </a:lnTo>
                <a:lnTo>
                  <a:pt x="162" y="126"/>
                </a:lnTo>
                <a:lnTo>
                  <a:pt x="168" y="126"/>
                </a:lnTo>
                <a:lnTo>
                  <a:pt x="168" y="132"/>
                </a:lnTo>
                <a:lnTo>
                  <a:pt x="168" y="138"/>
                </a:lnTo>
                <a:lnTo>
                  <a:pt x="168" y="144"/>
                </a:lnTo>
                <a:lnTo>
                  <a:pt x="174" y="144"/>
                </a:lnTo>
                <a:lnTo>
                  <a:pt x="180" y="144"/>
                </a:lnTo>
                <a:lnTo>
                  <a:pt x="180" y="150"/>
                </a:lnTo>
                <a:lnTo>
                  <a:pt x="180" y="156"/>
                </a:lnTo>
                <a:lnTo>
                  <a:pt x="180" y="162"/>
                </a:lnTo>
                <a:lnTo>
                  <a:pt x="186" y="162"/>
                </a:lnTo>
                <a:lnTo>
                  <a:pt x="180" y="162"/>
                </a:lnTo>
                <a:lnTo>
                  <a:pt x="180" y="168"/>
                </a:lnTo>
                <a:lnTo>
                  <a:pt x="186" y="168"/>
                </a:lnTo>
                <a:lnTo>
                  <a:pt x="186" y="174"/>
                </a:lnTo>
                <a:lnTo>
                  <a:pt x="186" y="168"/>
                </a:lnTo>
                <a:lnTo>
                  <a:pt x="186" y="174"/>
                </a:lnTo>
                <a:lnTo>
                  <a:pt x="186" y="168"/>
                </a:lnTo>
                <a:lnTo>
                  <a:pt x="186" y="174"/>
                </a:lnTo>
                <a:lnTo>
                  <a:pt x="186" y="168"/>
                </a:lnTo>
                <a:lnTo>
                  <a:pt x="192" y="168"/>
                </a:lnTo>
                <a:lnTo>
                  <a:pt x="192" y="162"/>
                </a:lnTo>
                <a:lnTo>
                  <a:pt x="186" y="162"/>
                </a:lnTo>
                <a:lnTo>
                  <a:pt x="186" y="156"/>
                </a:lnTo>
                <a:lnTo>
                  <a:pt x="186" y="150"/>
                </a:lnTo>
                <a:lnTo>
                  <a:pt x="192" y="150"/>
                </a:lnTo>
                <a:lnTo>
                  <a:pt x="192" y="144"/>
                </a:lnTo>
                <a:lnTo>
                  <a:pt x="192" y="150"/>
                </a:lnTo>
                <a:lnTo>
                  <a:pt x="198" y="150"/>
                </a:lnTo>
                <a:lnTo>
                  <a:pt x="198" y="156"/>
                </a:lnTo>
                <a:lnTo>
                  <a:pt x="204" y="156"/>
                </a:lnTo>
                <a:lnTo>
                  <a:pt x="204" y="162"/>
                </a:lnTo>
                <a:lnTo>
                  <a:pt x="198" y="162"/>
                </a:lnTo>
                <a:lnTo>
                  <a:pt x="204" y="162"/>
                </a:lnTo>
                <a:lnTo>
                  <a:pt x="204" y="168"/>
                </a:lnTo>
                <a:lnTo>
                  <a:pt x="204" y="174"/>
                </a:lnTo>
                <a:lnTo>
                  <a:pt x="204" y="168"/>
                </a:lnTo>
                <a:lnTo>
                  <a:pt x="204" y="174"/>
                </a:lnTo>
                <a:lnTo>
                  <a:pt x="210" y="174"/>
                </a:lnTo>
                <a:lnTo>
                  <a:pt x="204" y="174"/>
                </a:lnTo>
                <a:lnTo>
                  <a:pt x="210" y="174"/>
                </a:lnTo>
                <a:lnTo>
                  <a:pt x="210" y="180"/>
                </a:lnTo>
                <a:lnTo>
                  <a:pt x="216" y="180"/>
                </a:lnTo>
                <a:lnTo>
                  <a:pt x="222" y="180"/>
                </a:lnTo>
                <a:lnTo>
                  <a:pt x="216" y="180"/>
                </a:lnTo>
                <a:lnTo>
                  <a:pt x="222" y="180"/>
                </a:lnTo>
                <a:lnTo>
                  <a:pt x="222" y="174"/>
                </a:lnTo>
                <a:lnTo>
                  <a:pt x="222" y="180"/>
                </a:lnTo>
                <a:lnTo>
                  <a:pt x="222" y="174"/>
                </a:lnTo>
                <a:lnTo>
                  <a:pt x="228" y="174"/>
                </a:lnTo>
                <a:lnTo>
                  <a:pt x="228" y="180"/>
                </a:lnTo>
                <a:lnTo>
                  <a:pt x="228" y="174"/>
                </a:lnTo>
                <a:lnTo>
                  <a:pt x="228" y="180"/>
                </a:lnTo>
                <a:lnTo>
                  <a:pt x="234" y="180"/>
                </a:lnTo>
                <a:lnTo>
                  <a:pt x="240" y="180"/>
                </a:lnTo>
                <a:lnTo>
                  <a:pt x="240" y="186"/>
                </a:lnTo>
                <a:lnTo>
                  <a:pt x="240" y="192"/>
                </a:lnTo>
                <a:lnTo>
                  <a:pt x="246" y="192"/>
                </a:lnTo>
                <a:lnTo>
                  <a:pt x="252" y="192"/>
                </a:lnTo>
                <a:lnTo>
                  <a:pt x="258" y="192"/>
                </a:lnTo>
                <a:lnTo>
                  <a:pt x="264" y="198"/>
                </a:lnTo>
                <a:lnTo>
                  <a:pt x="270" y="198"/>
                </a:lnTo>
                <a:lnTo>
                  <a:pt x="270" y="204"/>
                </a:lnTo>
                <a:lnTo>
                  <a:pt x="276" y="210"/>
                </a:lnTo>
                <a:lnTo>
                  <a:pt x="276" y="216"/>
                </a:lnTo>
                <a:lnTo>
                  <a:pt x="282" y="216"/>
                </a:lnTo>
                <a:lnTo>
                  <a:pt x="282" y="222"/>
                </a:lnTo>
                <a:lnTo>
                  <a:pt x="288" y="222"/>
                </a:lnTo>
                <a:lnTo>
                  <a:pt x="288" y="228"/>
                </a:lnTo>
                <a:lnTo>
                  <a:pt x="288" y="234"/>
                </a:lnTo>
                <a:lnTo>
                  <a:pt x="288" y="228"/>
                </a:lnTo>
                <a:lnTo>
                  <a:pt x="294" y="234"/>
                </a:lnTo>
                <a:lnTo>
                  <a:pt x="294" y="240"/>
                </a:lnTo>
                <a:lnTo>
                  <a:pt x="294" y="234"/>
                </a:lnTo>
                <a:lnTo>
                  <a:pt x="300" y="240"/>
                </a:lnTo>
                <a:lnTo>
                  <a:pt x="300" y="234"/>
                </a:lnTo>
                <a:lnTo>
                  <a:pt x="300" y="240"/>
                </a:lnTo>
                <a:lnTo>
                  <a:pt x="306" y="240"/>
                </a:lnTo>
                <a:lnTo>
                  <a:pt x="312" y="240"/>
                </a:lnTo>
                <a:lnTo>
                  <a:pt x="312" y="246"/>
                </a:lnTo>
                <a:lnTo>
                  <a:pt x="312" y="252"/>
                </a:lnTo>
                <a:lnTo>
                  <a:pt x="318" y="252"/>
                </a:lnTo>
                <a:lnTo>
                  <a:pt x="318" y="258"/>
                </a:lnTo>
                <a:lnTo>
                  <a:pt x="324" y="258"/>
                </a:lnTo>
                <a:lnTo>
                  <a:pt x="324" y="252"/>
                </a:lnTo>
                <a:lnTo>
                  <a:pt x="318" y="252"/>
                </a:lnTo>
                <a:lnTo>
                  <a:pt x="324" y="252"/>
                </a:lnTo>
                <a:lnTo>
                  <a:pt x="324" y="258"/>
                </a:lnTo>
                <a:lnTo>
                  <a:pt x="330" y="258"/>
                </a:lnTo>
                <a:lnTo>
                  <a:pt x="330" y="264"/>
                </a:lnTo>
                <a:lnTo>
                  <a:pt x="330" y="270"/>
                </a:lnTo>
                <a:lnTo>
                  <a:pt x="330" y="276"/>
                </a:lnTo>
                <a:lnTo>
                  <a:pt x="336" y="276"/>
                </a:lnTo>
                <a:lnTo>
                  <a:pt x="336" y="282"/>
                </a:lnTo>
                <a:lnTo>
                  <a:pt x="336" y="276"/>
                </a:lnTo>
                <a:lnTo>
                  <a:pt x="342" y="276"/>
                </a:lnTo>
                <a:lnTo>
                  <a:pt x="342" y="282"/>
                </a:lnTo>
                <a:lnTo>
                  <a:pt x="348" y="282"/>
                </a:lnTo>
                <a:lnTo>
                  <a:pt x="348" y="288"/>
                </a:lnTo>
                <a:lnTo>
                  <a:pt x="354" y="288"/>
                </a:lnTo>
                <a:lnTo>
                  <a:pt x="354" y="294"/>
                </a:lnTo>
                <a:lnTo>
                  <a:pt x="348" y="294"/>
                </a:lnTo>
                <a:lnTo>
                  <a:pt x="354" y="294"/>
                </a:lnTo>
                <a:lnTo>
                  <a:pt x="354" y="300"/>
                </a:lnTo>
                <a:lnTo>
                  <a:pt x="360" y="300"/>
                </a:lnTo>
                <a:lnTo>
                  <a:pt x="354" y="300"/>
                </a:lnTo>
                <a:lnTo>
                  <a:pt x="360" y="300"/>
                </a:lnTo>
                <a:lnTo>
                  <a:pt x="366" y="300"/>
                </a:lnTo>
                <a:lnTo>
                  <a:pt x="366" y="294"/>
                </a:lnTo>
                <a:lnTo>
                  <a:pt x="366" y="300"/>
                </a:lnTo>
                <a:lnTo>
                  <a:pt x="372" y="300"/>
                </a:lnTo>
                <a:lnTo>
                  <a:pt x="372" y="306"/>
                </a:lnTo>
                <a:lnTo>
                  <a:pt x="366" y="306"/>
                </a:lnTo>
                <a:lnTo>
                  <a:pt x="366" y="312"/>
                </a:lnTo>
                <a:lnTo>
                  <a:pt x="360" y="312"/>
                </a:lnTo>
                <a:lnTo>
                  <a:pt x="360" y="318"/>
                </a:lnTo>
                <a:lnTo>
                  <a:pt x="354" y="318"/>
                </a:lnTo>
                <a:lnTo>
                  <a:pt x="354" y="324"/>
                </a:lnTo>
                <a:lnTo>
                  <a:pt x="348" y="324"/>
                </a:lnTo>
                <a:lnTo>
                  <a:pt x="342" y="324"/>
                </a:lnTo>
                <a:lnTo>
                  <a:pt x="342" y="318"/>
                </a:lnTo>
                <a:lnTo>
                  <a:pt x="336" y="318"/>
                </a:lnTo>
                <a:lnTo>
                  <a:pt x="330" y="318"/>
                </a:lnTo>
                <a:lnTo>
                  <a:pt x="330" y="312"/>
                </a:lnTo>
                <a:lnTo>
                  <a:pt x="324" y="312"/>
                </a:lnTo>
                <a:lnTo>
                  <a:pt x="324" y="306"/>
                </a:lnTo>
                <a:lnTo>
                  <a:pt x="318" y="306"/>
                </a:lnTo>
                <a:lnTo>
                  <a:pt x="318" y="300"/>
                </a:lnTo>
                <a:lnTo>
                  <a:pt x="312" y="300"/>
                </a:lnTo>
                <a:lnTo>
                  <a:pt x="306" y="294"/>
                </a:lnTo>
                <a:lnTo>
                  <a:pt x="306" y="288"/>
                </a:lnTo>
                <a:lnTo>
                  <a:pt x="300" y="282"/>
                </a:lnTo>
                <a:lnTo>
                  <a:pt x="300" y="276"/>
                </a:lnTo>
                <a:lnTo>
                  <a:pt x="294" y="276"/>
                </a:lnTo>
                <a:lnTo>
                  <a:pt x="294" y="270"/>
                </a:lnTo>
                <a:lnTo>
                  <a:pt x="288" y="270"/>
                </a:lnTo>
                <a:lnTo>
                  <a:pt x="282" y="264"/>
                </a:lnTo>
                <a:lnTo>
                  <a:pt x="276" y="264"/>
                </a:lnTo>
                <a:lnTo>
                  <a:pt x="276" y="258"/>
                </a:lnTo>
                <a:lnTo>
                  <a:pt x="270" y="258"/>
                </a:lnTo>
                <a:lnTo>
                  <a:pt x="270" y="252"/>
                </a:lnTo>
                <a:lnTo>
                  <a:pt x="264" y="252"/>
                </a:lnTo>
                <a:lnTo>
                  <a:pt x="264" y="246"/>
                </a:lnTo>
                <a:lnTo>
                  <a:pt x="258" y="240"/>
                </a:lnTo>
                <a:lnTo>
                  <a:pt x="258" y="234"/>
                </a:lnTo>
                <a:lnTo>
                  <a:pt x="252" y="234"/>
                </a:lnTo>
                <a:lnTo>
                  <a:pt x="252" y="228"/>
                </a:lnTo>
                <a:lnTo>
                  <a:pt x="246" y="228"/>
                </a:lnTo>
                <a:lnTo>
                  <a:pt x="246" y="222"/>
                </a:lnTo>
                <a:lnTo>
                  <a:pt x="240" y="222"/>
                </a:lnTo>
                <a:lnTo>
                  <a:pt x="234" y="222"/>
                </a:lnTo>
                <a:lnTo>
                  <a:pt x="228" y="222"/>
                </a:lnTo>
                <a:lnTo>
                  <a:pt x="228" y="216"/>
                </a:lnTo>
                <a:lnTo>
                  <a:pt x="222" y="216"/>
                </a:lnTo>
                <a:lnTo>
                  <a:pt x="222" y="210"/>
                </a:lnTo>
                <a:lnTo>
                  <a:pt x="216" y="210"/>
                </a:lnTo>
                <a:lnTo>
                  <a:pt x="210" y="210"/>
                </a:lnTo>
                <a:lnTo>
                  <a:pt x="210" y="204"/>
                </a:lnTo>
                <a:lnTo>
                  <a:pt x="204" y="204"/>
                </a:lnTo>
                <a:lnTo>
                  <a:pt x="198" y="204"/>
                </a:lnTo>
                <a:lnTo>
                  <a:pt x="198" y="210"/>
                </a:lnTo>
                <a:lnTo>
                  <a:pt x="192" y="210"/>
                </a:lnTo>
                <a:lnTo>
                  <a:pt x="192" y="204"/>
                </a:lnTo>
                <a:lnTo>
                  <a:pt x="186" y="204"/>
                </a:lnTo>
                <a:lnTo>
                  <a:pt x="180" y="204"/>
                </a:lnTo>
                <a:lnTo>
                  <a:pt x="174" y="204"/>
                </a:lnTo>
                <a:lnTo>
                  <a:pt x="174" y="198"/>
                </a:lnTo>
                <a:lnTo>
                  <a:pt x="174" y="204"/>
                </a:lnTo>
                <a:lnTo>
                  <a:pt x="168" y="204"/>
                </a:lnTo>
                <a:lnTo>
                  <a:pt x="162" y="204"/>
                </a:lnTo>
                <a:lnTo>
                  <a:pt x="156" y="204"/>
                </a:lnTo>
                <a:lnTo>
                  <a:pt x="156" y="210"/>
                </a:lnTo>
                <a:lnTo>
                  <a:pt x="156" y="204"/>
                </a:lnTo>
                <a:lnTo>
                  <a:pt x="156" y="198"/>
                </a:lnTo>
                <a:lnTo>
                  <a:pt x="150" y="198"/>
                </a:lnTo>
                <a:lnTo>
                  <a:pt x="144" y="198"/>
                </a:lnTo>
                <a:lnTo>
                  <a:pt x="144" y="204"/>
                </a:lnTo>
                <a:lnTo>
                  <a:pt x="138" y="204"/>
                </a:lnTo>
                <a:lnTo>
                  <a:pt x="132" y="204"/>
                </a:lnTo>
                <a:lnTo>
                  <a:pt x="126" y="204"/>
                </a:lnTo>
                <a:lnTo>
                  <a:pt x="126" y="210"/>
                </a:lnTo>
                <a:lnTo>
                  <a:pt x="120" y="210"/>
                </a:lnTo>
                <a:lnTo>
                  <a:pt x="114" y="210"/>
                </a:lnTo>
                <a:lnTo>
                  <a:pt x="114" y="204"/>
                </a:lnTo>
                <a:lnTo>
                  <a:pt x="108" y="204"/>
                </a:lnTo>
                <a:lnTo>
                  <a:pt x="108" y="198"/>
                </a:lnTo>
                <a:lnTo>
                  <a:pt x="102" y="198"/>
                </a:lnTo>
                <a:lnTo>
                  <a:pt x="102" y="192"/>
                </a:lnTo>
                <a:lnTo>
                  <a:pt x="96" y="192"/>
                </a:lnTo>
                <a:lnTo>
                  <a:pt x="90" y="192"/>
                </a:lnTo>
                <a:lnTo>
                  <a:pt x="90" y="186"/>
                </a:lnTo>
                <a:lnTo>
                  <a:pt x="84" y="186"/>
                </a:lnTo>
                <a:lnTo>
                  <a:pt x="84" y="180"/>
                </a:lnTo>
                <a:lnTo>
                  <a:pt x="78" y="186"/>
                </a:lnTo>
                <a:lnTo>
                  <a:pt x="78" y="192"/>
                </a:lnTo>
                <a:lnTo>
                  <a:pt x="78" y="198"/>
                </a:lnTo>
                <a:lnTo>
                  <a:pt x="72" y="204"/>
                </a:lnTo>
                <a:lnTo>
                  <a:pt x="72" y="210"/>
                </a:lnTo>
                <a:lnTo>
                  <a:pt x="66" y="216"/>
                </a:lnTo>
                <a:lnTo>
                  <a:pt x="66" y="222"/>
                </a:lnTo>
                <a:lnTo>
                  <a:pt x="66" y="228"/>
                </a:lnTo>
                <a:lnTo>
                  <a:pt x="60" y="228"/>
                </a:lnTo>
                <a:lnTo>
                  <a:pt x="60" y="222"/>
                </a:lnTo>
                <a:lnTo>
                  <a:pt x="60" y="216"/>
                </a:lnTo>
                <a:lnTo>
                  <a:pt x="54" y="216"/>
                </a:lnTo>
                <a:lnTo>
                  <a:pt x="54" y="210"/>
                </a:lnTo>
                <a:lnTo>
                  <a:pt x="48" y="210"/>
                </a:lnTo>
                <a:lnTo>
                  <a:pt x="48" y="204"/>
                </a:lnTo>
                <a:lnTo>
                  <a:pt x="48" y="210"/>
                </a:lnTo>
                <a:lnTo>
                  <a:pt x="48" y="204"/>
                </a:lnTo>
                <a:lnTo>
                  <a:pt x="42" y="204"/>
                </a:lnTo>
                <a:lnTo>
                  <a:pt x="42" y="210"/>
                </a:lnTo>
                <a:lnTo>
                  <a:pt x="36" y="210"/>
                </a:lnTo>
                <a:lnTo>
                  <a:pt x="36" y="216"/>
                </a:lnTo>
                <a:lnTo>
                  <a:pt x="30" y="216"/>
                </a:lnTo>
                <a:lnTo>
                  <a:pt x="24" y="216"/>
                </a:lnTo>
                <a:lnTo>
                  <a:pt x="18" y="216"/>
                </a:lnTo>
                <a:lnTo>
                  <a:pt x="12" y="216"/>
                </a:lnTo>
                <a:lnTo>
                  <a:pt x="6" y="216"/>
                </a:lnTo>
                <a:lnTo>
                  <a:pt x="6" y="210"/>
                </a:lnTo>
                <a:lnTo>
                  <a:pt x="6" y="204"/>
                </a:lnTo>
                <a:lnTo>
                  <a:pt x="6" y="198"/>
                </a:lnTo>
                <a:lnTo>
                  <a:pt x="6" y="192"/>
                </a:lnTo>
                <a:lnTo>
                  <a:pt x="6" y="186"/>
                </a:lnTo>
                <a:lnTo>
                  <a:pt x="0" y="186"/>
                </a:lnTo>
                <a:lnTo>
                  <a:pt x="0" y="180"/>
                </a:lnTo>
                <a:lnTo>
                  <a:pt x="0" y="174"/>
                </a:lnTo>
                <a:lnTo>
                  <a:pt x="0" y="168"/>
                </a:lnTo>
                <a:lnTo>
                  <a:pt x="0" y="162"/>
                </a:lnTo>
                <a:lnTo>
                  <a:pt x="6" y="162"/>
                </a:lnTo>
                <a:lnTo>
                  <a:pt x="6" y="156"/>
                </a:lnTo>
                <a:lnTo>
                  <a:pt x="12" y="156"/>
                </a:lnTo>
                <a:lnTo>
                  <a:pt x="12" y="150"/>
                </a:lnTo>
                <a:lnTo>
                  <a:pt x="12" y="144"/>
                </a:lnTo>
                <a:lnTo>
                  <a:pt x="12" y="138"/>
                </a:lnTo>
                <a:lnTo>
                  <a:pt x="18" y="132"/>
                </a:lnTo>
                <a:lnTo>
                  <a:pt x="18" y="126"/>
                </a:lnTo>
                <a:lnTo>
                  <a:pt x="18" y="120"/>
                </a:lnTo>
                <a:lnTo>
                  <a:pt x="24" y="120"/>
                </a:lnTo>
                <a:lnTo>
                  <a:pt x="24" y="114"/>
                </a:lnTo>
                <a:lnTo>
                  <a:pt x="24" y="108"/>
                </a:lnTo>
                <a:lnTo>
                  <a:pt x="24" y="102"/>
                </a:lnTo>
                <a:lnTo>
                  <a:pt x="30" y="102"/>
                </a:lnTo>
                <a:lnTo>
                  <a:pt x="30" y="96"/>
                </a:lnTo>
                <a:lnTo>
                  <a:pt x="30" y="90"/>
                </a:lnTo>
                <a:lnTo>
                  <a:pt x="24" y="90"/>
                </a:lnTo>
                <a:lnTo>
                  <a:pt x="24" y="84"/>
                </a:lnTo>
                <a:lnTo>
                  <a:pt x="24" y="78"/>
                </a:lnTo>
                <a:lnTo>
                  <a:pt x="30" y="78"/>
                </a:lnTo>
                <a:lnTo>
                  <a:pt x="30" y="72"/>
                </a:lnTo>
                <a:lnTo>
                  <a:pt x="36" y="72"/>
                </a:lnTo>
                <a:lnTo>
                  <a:pt x="30" y="72"/>
                </a:lnTo>
                <a:lnTo>
                  <a:pt x="30" y="66"/>
                </a:lnTo>
                <a:lnTo>
                  <a:pt x="30" y="60"/>
                </a:lnTo>
                <a:lnTo>
                  <a:pt x="36" y="60"/>
                </a:lnTo>
                <a:lnTo>
                  <a:pt x="36" y="54"/>
                </a:lnTo>
                <a:lnTo>
                  <a:pt x="30" y="54"/>
                </a:lnTo>
                <a:lnTo>
                  <a:pt x="36" y="54"/>
                </a:lnTo>
                <a:lnTo>
                  <a:pt x="42" y="54"/>
                </a:lnTo>
                <a:lnTo>
                  <a:pt x="48" y="54"/>
                </a:lnTo>
                <a:lnTo>
                  <a:pt x="54" y="54"/>
                </a:lnTo>
                <a:lnTo>
                  <a:pt x="60" y="54"/>
                </a:lnTo>
                <a:lnTo>
                  <a:pt x="60" y="48"/>
                </a:lnTo>
                <a:lnTo>
                  <a:pt x="60" y="42"/>
                </a:lnTo>
                <a:lnTo>
                  <a:pt x="66" y="36"/>
                </a:lnTo>
                <a:lnTo>
                  <a:pt x="72" y="36"/>
                </a:lnTo>
                <a:lnTo>
                  <a:pt x="78" y="36"/>
                </a:lnTo>
                <a:lnTo>
                  <a:pt x="78" y="30"/>
                </a:lnTo>
                <a:lnTo>
                  <a:pt x="84" y="30"/>
                </a:lnTo>
                <a:lnTo>
                  <a:pt x="90" y="24"/>
                </a:lnTo>
                <a:lnTo>
                  <a:pt x="90" y="30"/>
                </a:lnTo>
                <a:lnTo>
                  <a:pt x="96" y="30"/>
                </a:lnTo>
                <a:lnTo>
                  <a:pt x="96" y="24"/>
                </a:lnTo>
                <a:lnTo>
                  <a:pt x="96" y="30"/>
                </a:lnTo>
                <a:lnTo>
                  <a:pt x="102" y="24"/>
                </a:lnTo>
                <a:lnTo>
                  <a:pt x="108" y="24"/>
                </a:lnTo>
                <a:lnTo>
                  <a:pt x="108" y="18"/>
                </a:lnTo>
                <a:lnTo>
                  <a:pt x="108" y="12"/>
                </a:lnTo>
                <a:lnTo>
                  <a:pt x="114" y="6"/>
                </a:lnTo>
                <a:lnTo>
                  <a:pt x="120" y="0"/>
                </a:lnTo>
                <a:close/>
                <a:moveTo>
                  <a:pt x="192" y="132"/>
                </a:moveTo>
                <a:lnTo>
                  <a:pt x="198" y="132"/>
                </a:lnTo>
                <a:lnTo>
                  <a:pt x="198" y="138"/>
                </a:lnTo>
                <a:lnTo>
                  <a:pt x="204" y="138"/>
                </a:lnTo>
                <a:lnTo>
                  <a:pt x="204" y="132"/>
                </a:lnTo>
                <a:lnTo>
                  <a:pt x="198" y="132"/>
                </a:lnTo>
                <a:lnTo>
                  <a:pt x="192" y="132"/>
                </a:lnTo>
                <a:lnTo>
                  <a:pt x="198" y="132"/>
                </a:lnTo>
                <a:lnTo>
                  <a:pt x="198" y="126"/>
                </a:lnTo>
                <a:lnTo>
                  <a:pt x="204" y="126"/>
                </a:lnTo>
                <a:lnTo>
                  <a:pt x="198" y="126"/>
                </a:lnTo>
                <a:lnTo>
                  <a:pt x="204" y="126"/>
                </a:lnTo>
                <a:lnTo>
                  <a:pt x="204" y="132"/>
                </a:lnTo>
                <a:lnTo>
                  <a:pt x="210" y="138"/>
                </a:lnTo>
                <a:lnTo>
                  <a:pt x="216" y="138"/>
                </a:lnTo>
                <a:lnTo>
                  <a:pt x="210" y="138"/>
                </a:lnTo>
                <a:lnTo>
                  <a:pt x="210" y="132"/>
                </a:lnTo>
                <a:lnTo>
                  <a:pt x="216" y="132"/>
                </a:lnTo>
                <a:lnTo>
                  <a:pt x="216" y="138"/>
                </a:lnTo>
                <a:lnTo>
                  <a:pt x="222" y="138"/>
                </a:lnTo>
                <a:lnTo>
                  <a:pt x="216" y="138"/>
                </a:lnTo>
                <a:lnTo>
                  <a:pt x="222" y="138"/>
                </a:lnTo>
                <a:lnTo>
                  <a:pt x="222" y="144"/>
                </a:lnTo>
                <a:lnTo>
                  <a:pt x="216" y="144"/>
                </a:lnTo>
                <a:lnTo>
                  <a:pt x="210" y="144"/>
                </a:lnTo>
                <a:lnTo>
                  <a:pt x="210" y="138"/>
                </a:lnTo>
                <a:lnTo>
                  <a:pt x="210" y="144"/>
                </a:lnTo>
                <a:lnTo>
                  <a:pt x="204" y="138"/>
                </a:lnTo>
                <a:lnTo>
                  <a:pt x="204" y="144"/>
                </a:lnTo>
                <a:lnTo>
                  <a:pt x="198" y="138"/>
                </a:lnTo>
                <a:lnTo>
                  <a:pt x="198" y="132"/>
                </a:lnTo>
                <a:lnTo>
                  <a:pt x="198" y="138"/>
                </a:lnTo>
                <a:lnTo>
                  <a:pt x="192" y="138"/>
                </a:lnTo>
                <a:lnTo>
                  <a:pt x="192" y="132"/>
                </a:lnTo>
                <a:close/>
                <a:moveTo>
                  <a:pt x="198" y="108"/>
                </a:moveTo>
                <a:lnTo>
                  <a:pt x="204" y="108"/>
                </a:lnTo>
                <a:lnTo>
                  <a:pt x="204" y="120"/>
                </a:lnTo>
                <a:lnTo>
                  <a:pt x="198" y="120"/>
                </a:lnTo>
                <a:lnTo>
                  <a:pt x="198" y="108"/>
                </a:lnTo>
                <a:close/>
                <a:moveTo>
                  <a:pt x="210" y="162"/>
                </a:moveTo>
                <a:lnTo>
                  <a:pt x="216" y="162"/>
                </a:lnTo>
                <a:lnTo>
                  <a:pt x="216" y="168"/>
                </a:lnTo>
                <a:lnTo>
                  <a:pt x="210" y="168"/>
                </a:lnTo>
                <a:lnTo>
                  <a:pt x="210" y="162"/>
                </a:lnTo>
                <a:close/>
                <a:moveTo>
                  <a:pt x="204" y="108"/>
                </a:moveTo>
                <a:lnTo>
                  <a:pt x="210" y="108"/>
                </a:lnTo>
                <a:lnTo>
                  <a:pt x="210" y="114"/>
                </a:lnTo>
                <a:lnTo>
                  <a:pt x="204" y="114"/>
                </a:lnTo>
                <a:lnTo>
                  <a:pt x="204" y="108"/>
                </a:lnTo>
                <a:close/>
                <a:moveTo>
                  <a:pt x="210" y="132"/>
                </a:moveTo>
                <a:lnTo>
                  <a:pt x="210" y="138"/>
                </a:lnTo>
                <a:lnTo>
                  <a:pt x="211" y="138"/>
                </a:lnTo>
                <a:lnTo>
                  <a:pt x="210" y="132"/>
                </a:lnTo>
                <a:close/>
                <a:moveTo>
                  <a:pt x="360" y="294"/>
                </a:moveTo>
                <a:lnTo>
                  <a:pt x="366" y="294"/>
                </a:lnTo>
                <a:lnTo>
                  <a:pt x="360" y="294"/>
                </a:lnTo>
                <a:close/>
                <a:moveTo>
                  <a:pt x="204" y="84"/>
                </a:moveTo>
                <a:lnTo>
                  <a:pt x="210" y="84"/>
                </a:lnTo>
                <a:lnTo>
                  <a:pt x="210" y="90"/>
                </a:lnTo>
                <a:lnTo>
                  <a:pt x="204" y="90"/>
                </a:lnTo>
                <a:lnTo>
                  <a:pt x="204" y="84"/>
                </a:lnTo>
                <a:close/>
                <a:moveTo>
                  <a:pt x="168" y="108"/>
                </a:moveTo>
                <a:lnTo>
                  <a:pt x="168" y="114"/>
                </a:lnTo>
                <a:lnTo>
                  <a:pt x="169" y="114"/>
                </a:lnTo>
                <a:lnTo>
                  <a:pt x="168" y="108"/>
                </a:lnTo>
                <a:close/>
                <a:moveTo>
                  <a:pt x="192" y="96"/>
                </a:moveTo>
                <a:lnTo>
                  <a:pt x="192" y="102"/>
                </a:lnTo>
                <a:lnTo>
                  <a:pt x="193" y="102"/>
                </a:lnTo>
                <a:lnTo>
                  <a:pt x="192" y="96"/>
                </a:lnTo>
                <a:close/>
                <a:moveTo>
                  <a:pt x="204" y="114"/>
                </a:moveTo>
                <a:lnTo>
                  <a:pt x="210" y="114"/>
                </a:lnTo>
                <a:lnTo>
                  <a:pt x="204" y="114"/>
                </a:lnTo>
                <a:close/>
                <a:moveTo>
                  <a:pt x="210" y="162"/>
                </a:moveTo>
                <a:lnTo>
                  <a:pt x="216" y="162"/>
                </a:lnTo>
                <a:lnTo>
                  <a:pt x="210" y="162"/>
                </a:lnTo>
                <a:close/>
                <a:moveTo>
                  <a:pt x="240" y="144"/>
                </a:moveTo>
                <a:lnTo>
                  <a:pt x="246" y="144"/>
                </a:lnTo>
                <a:lnTo>
                  <a:pt x="240" y="144"/>
                </a:lnTo>
                <a:close/>
                <a:moveTo>
                  <a:pt x="180" y="120"/>
                </a:moveTo>
                <a:lnTo>
                  <a:pt x="180" y="126"/>
                </a:lnTo>
                <a:lnTo>
                  <a:pt x="181" y="126"/>
                </a:lnTo>
                <a:lnTo>
                  <a:pt x="180" y="120"/>
                </a:lnTo>
                <a:close/>
                <a:moveTo>
                  <a:pt x="354" y="288"/>
                </a:moveTo>
                <a:lnTo>
                  <a:pt x="360" y="288"/>
                </a:lnTo>
                <a:lnTo>
                  <a:pt x="354" y="288"/>
                </a:lnTo>
                <a:close/>
                <a:moveTo>
                  <a:pt x="198" y="120"/>
                </a:moveTo>
                <a:lnTo>
                  <a:pt x="204" y="120"/>
                </a:lnTo>
                <a:lnTo>
                  <a:pt x="198" y="120"/>
                </a:lnTo>
                <a:close/>
                <a:moveTo>
                  <a:pt x="204" y="126"/>
                </a:moveTo>
                <a:lnTo>
                  <a:pt x="210" y="126"/>
                </a:lnTo>
                <a:lnTo>
                  <a:pt x="210" y="132"/>
                </a:lnTo>
                <a:lnTo>
                  <a:pt x="204" y="132"/>
                </a:lnTo>
                <a:lnTo>
                  <a:pt x="204" y="126"/>
                </a:lnTo>
                <a:close/>
                <a:moveTo>
                  <a:pt x="354" y="288"/>
                </a:moveTo>
                <a:lnTo>
                  <a:pt x="360" y="288"/>
                </a:lnTo>
                <a:lnTo>
                  <a:pt x="360" y="294"/>
                </a:lnTo>
                <a:lnTo>
                  <a:pt x="354" y="294"/>
                </a:lnTo>
                <a:lnTo>
                  <a:pt x="354" y="288"/>
                </a:lnTo>
                <a:close/>
                <a:moveTo>
                  <a:pt x="360" y="294"/>
                </a:moveTo>
                <a:lnTo>
                  <a:pt x="366" y="294"/>
                </a:lnTo>
                <a:lnTo>
                  <a:pt x="366" y="300"/>
                </a:lnTo>
                <a:lnTo>
                  <a:pt x="360" y="300"/>
                </a:lnTo>
                <a:lnTo>
                  <a:pt x="360" y="294"/>
                </a:lnTo>
                <a:close/>
                <a:moveTo>
                  <a:pt x="228" y="144"/>
                </a:moveTo>
                <a:lnTo>
                  <a:pt x="234" y="144"/>
                </a:lnTo>
                <a:lnTo>
                  <a:pt x="228" y="144"/>
                </a:lnTo>
                <a:close/>
                <a:moveTo>
                  <a:pt x="186" y="144"/>
                </a:moveTo>
                <a:lnTo>
                  <a:pt x="186" y="150"/>
                </a:lnTo>
                <a:lnTo>
                  <a:pt x="187" y="150"/>
                </a:lnTo>
                <a:lnTo>
                  <a:pt x="186" y="144"/>
                </a:lnTo>
                <a:close/>
                <a:moveTo>
                  <a:pt x="240" y="144"/>
                </a:moveTo>
                <a:lnTo>
                  <a:pt x="246" y="144"/>
                </a:lnTo>
                <a:lnTo>
                  <a:pt x="240" y="144"/>
                </a:lnTo>
                <a:close/>
                <a:moveTo>
                  <a:pt x="240" y="144"/>
                </a:moveTo>
                <a:lnTo>
                  <a:pt x="240" y="150"/>
                </a:lnTo>
                <a:lnTo>
                  <a:pt x="241" y="150"/>
                </a:lnTo>
                <a:lnTo>
                  <a:pt x="240" y="144"/>
                </a:lnTo>
                <a:close/>
                <a:moveTo>
                  <a:pt x="228" y="168"/>
                </a:moveTo>
                <a:lnTo>
                  <a:pt x="228" y="174"/>
                </a:lnTo>
                <a:lnTo>
                  <a:pt x="229" y="174"/>
                </a:lnTo>
                <a:lnTo>
                  <a:pt x="228" y="168"/>
                </a:lnTo>
                <a:close/>
                <a:moveTo>
                  <a:pt x="216" y="144"/>
                </a:moveTo>
                <a:lnTo>
                  <a:pt x="222" y="144"/>
                </a:lnTo>
                <a:lnTo>
                  <a:pt x="222" y="150"/>
                </a:lnTo>
                <a:lnTo>
                  <a:pt x="216" y="150"/>
                </a:lnTo>
                <a:lnTo>
                  <a:pt x="216" y="144"/>
                </a:lnTo>
                <a:close/>
                <a:moveTo>
                  <a:pt x="240" y="180"/>
                </a:moveTo>
                <a:lnTo>
                  <a:pt x="240" y="186"/>
                </a:lnTo>
                <a:lnTo>
                  <a:pt x="241" y="186"/>
                </a:lnTo>
                <a:lnTo>
                  <a:pt x="240" y="180"/>
                </a:lnTo>
                <a:close/>
                <a:moveTo>
                  <a:pt x="252" y="144"/>
                </a:moveTo>
                <a:lnTo>
                  <a:pt x="258" y="144"/>
                </a:lnTo>
                <a:lnTo>
                  <a:pt x="252" y="144"/>
                </a:lnTo>
                <a:close/>
                <a:moveTo>
                  <a:pt x="216" y="114"/>
                </a:moveTo>
                <a:lnTo>
                  <a:pt x="216" y="120"/>
                </a:lnTo>
                <a:lnTo>
                  <a:pt x="217" y="120"/>
                </a:lnTo>
                <a:lnTo>
                  <a:pt x="216" y="114"/>
                </a:lnTo>
                <a:close/>
                <a:moveTo>
                  <a:pt x="198" y="102"/>
                </a:moveTo>
                <a:lnTo>
                  <a:pt x="198" y="108"/>
                </a:lnTo>
                <a:lnTo>
                  <a:pt x="199" y="108"/>
                </a:lnTo>
                <a:lnTo>
                  <a:pt x="198" y="102"/>
                </a:lnTo>
                <a:close/>
                <a:moveTo>
                  <a:pt x="234" y="120"/>
                </a:moveTo>
                <a:lnTo>
                  <a:pt x="234" y="126"/>
                </a:lnTo>
                <a:lnTo>
                  <a:pt x="235" y="126"/>
                </a:lnTo>
                <a:lnTo>
                  <a:pt x="234" y="120"/>
                </a:lnTo>
                <a:close/>
                <a:moveTo>
                  <a:pt x="360" y="300"/>
                </a:moveTo>
                <a:lnTo>
                  <a:pt x="366" y="300"/>
                </a:lnTo>
                <a:lnTo>
                  <a:pt x="360" y="300"/>
                </a:lnTo>
                <a:close/>
                <a:moveTo>
                  <a:pt x="354" y="294"/>
                </a:moveTo>
                <a:lnTo>
                  <a:pt x="354" y="300"/>
                </a:lnTo>
                <a:lnTo>
                  <a:pt x="355" y="300"/>
                </a:lnTo>
                <a:lnTo>
                  <a:pt x="354" y="294"/>
                </a:lnTo>
                <a:close/>
                <a:moveTo>
                  <a:pt x="204" y="120"/>
                </a:moveTo>
                <a:lnTo>
                  <a:pt x="210" y="120"/>
                </a:lnTo>
                <a:lnTo>
                  <a:pt x="204" y="120"/>
                </a:lnTo>
                <a:close/>
                <a:moveTo>
                  <a:pt x="228" y="126"/>
                </a:moveTo>
                <a:lnTo>
                  <a:pt x="234" y="126"/>
                </a:lnTo>
                <a:lnTo>
                  <a:pt x="228" y="126"/>
                </a:lnTo>
                <a:close/>
                <a:moveTo>
                  <a:pt x="186" y="96"/>
                </a:moveTo>
                <a:lnTo>
                  <a:pt x="192" y="96"/>
                </a:lnTo>
                <a:lnTo>
                  <a:pt x="192" y="102"/>
                </a:lnTo>
                <a:lnTo>
                  <a:pt x="186" y="102"/>
                </a:lnTo>
                <a:lnTo>
                  <a:pt x="186" y="96"/>
                </a:lnTo>
                <a:close/>
                <a:moveTo>
                  <a:pt x="240" y="138"/>
                </a:moveTo>
                <a:lnTo>
                  <a:pt x="246" y="138"/>
                </a:lnTo>
                <a:lnTo>
                  <a:pt x="240" y="138"/>
                </a:lnTo>
                <a:close/>
                <a:moveTo>
                  <a:pt x="216" y="120"/>
                </a:moveTo>
                <a:lnTo>
                  <a:pt x="222" y="120"/>
                </a:lnTo>
                <a:lnTo>
                  <a:pt x="222" y="126"/>
                </a:lnTo>
                <a:lnTo>
                  <a:pt x="216" y="126"/>
                </a:lnTo>
                <a:lnTo>
                  <a:pt x="216" y="120"/>
                </a:lnTo>
                <a:close/>
                <a:moveTo>
                  <a:pt x="216" y="126"/>
                </a:moveTo>
                <a:lnTo>
                  <a:pt x="222" y="126"/>
                </a:lnTo>
                <a:lnTo>
                  <a:pt x="216" y="126"/>
                </a:lnTo>
                <a:close/>
                <a:moveTo>
                  <a:pt x="174" y="120"/>
                </a:moveTo>
                <a:lnTo>
                  <a:pt x="180" y="120"/>
                </a:lnTo>
                <a:lnTo>
                  <a:pt x="174" y="120"/>
                </a:lnTo>
                <a:close/>
                <a:moveTo>
                  <a:pt x="306" y="240"/>
                </a:moveTo>
                <a:lnTo>
                  <a:pt x="312" y="240"/>
                </a:lnTo>
                <a:lnTo>
                  <a:pt x="306" y="240"/>
                </a:lnTo>
                <a:close/>
                <a:moveTo>
                  <a:pt x="210" y="156"/>
                </a:moveTo>
                <a:lnTo>
                  <a:pt x="210" y="162"/>
                </a:lnTo>
                <a:lnTo>
                  <a:pt x="211" y="162"/>
                </a:lnTo>
                <a:lnTo>
                  <a:pt x="210" y="156"/>
                </a:lnTo>
                <a:close/>
                <a:moveTo>
                  <a:pt x="234" y="150"/>
                </a:moveTo>
                <a:lnTo>
                  <a:pt x="234" y="156"/>
                </a:lnTo>
                <a:lnTo>
                  <a:pt x="235" y="156"/>
                </a:lnTo>
                <a:lnTo>
                  <a:pt x="234" y="150"/>
                </a:lnTo>
                <a:close/>
                <a:moveTo>
                  <a:pt x="240" y="186"/>
                </a:moveTo>
                <a:lnTo>
                  <a:pt x="246" y="186"/>
                </a:lnTo>
                <a:lnTo>
                  <a:pt x="240" y="186"/>
                </a:lnTo>
                <a:close/>
                <a:moveTo>
                  <a:pt x="360" y="294"/>
                </a:moveTo>
                <a:lnTo>
                  <a:pt x="360" y="300"/>
                </a:lnTo>
                <a:lnTo>
                  <a:pt x="361" y="300"/>
                </a:lnTo>
                <a:lnTo>
                  <a:pt x="360" y="294"/>
                </a:lnTo>
                <a:close/>
                <a:moveTo>
                  <a:pt x="240" y="186"/>
                </a:moveTo>
                <a:lnTo>
                  <a:pt x="246" y="186"/>
                </a:lnTo>
                <a:lnTo>
                  <a:pt x="246" y="192"/>
                </a:lnTo>
                <a:lnTo>
                  <a:pt x="240" y="192"/>
                </a:lnTo>
                <a:lnTo>
                  <a:pt x="240" y="186"/>
                </a:lnTo>
                <a:close/>
                <a:moveTo>
                  <a:pt x="318" y="252"/>
                </a:moveTo>
                <a:lnTo>
                  <a:pt x="324" y="252"/>
                </a:lnTo>
                <a:lnTo>
                  <a:pt x="318" y="252"/>
                </a:lnTo>
                <a:close/>
                <a:moveTo>
                  <a:pt x="192" y="120"/>
                </a:moveTo>
                <a:lnTo>
                  <a:pt x="198" y="120"/>
                </a:lnTo>
                <a:lnTo>
                  <a:pt x="198" y="126"/>
                </a:lnTo>
                <a:lnTo>
                  <a:pt x="192" y="126"/>
                </a:lnTo>
                <a:lnTo>
                  <a:pt x="192" y="120"/>
                </a:lnTo>
                <a:close/>
                <a:moveTo>
                  <a:pt x="246" y="192"/>
                </a:moveTo>
                <a:lnTo>
                  <a:pt x="252" y="192"/>
                </a:lnTo>
                <a:lnTo>
                  <a:pt x="246" y="192"/>
                </a:lnTo>
                <a:close/>
                <a:moveTo>
                  <a:pt x="240" y="132"/>
                </a:moveTo>
                <a:lnTo>
                  <a:pt x="240" y="138"/>
                </a:lnTo>
                <a:lnTo>
                  <a:pt x="241" y="138"/>
                </a:lnTo>
                <a:lnTo>
                  <a:pt x="240" y="132"/>
                </a:lnTo>
                <a:close/>
                <a:moveTo>
                  <a:pt x="210" y="162"/>
                </a:moveTo>
                <a:lnTo>
                  <a:pt x="210" y="168"/>
                </a:lnTo>
                <a:lnTo>
                  <a:pt x="211" y="168"/>
                </a:lnTo>
                <a:lnTo>
                  <a:pt x="210" y="162"/>
                </a:lnTo>
                <a:close/>
                <a:moveTo>
                  <a:pt x="162" y="78"/>
                </a:moveTo>
                <a:lnTo>
                  <a:pt x="162" y="84"/>
                </a:lnTo>
                <a:lnTo>
                  <a:pt x="163" y="84"/>
                </a:lnTo>
                <a:lnTo>
                  <a:pt x="162" y="78"/>
                </a:lnTo>
                <a:close/>
                <a:moveTo>
                  <a:pt x="186" y="144"/>
                </a:moveTo>
                <a:lnTo>
                  <a:pt x="192" y="144"/>
                </a:lnTo>
                <a:lnTo>
                  <a:pt x="192" y="150"/>
                </a:lnTo>
                <a:lnTo>
                  <a:pt x="186" y="150"/>
                </a:lnTo>
                <a:lnTo>
                  <a:pt x="186" y="144"/>
                </a:lnTo>
                <a:close/>
                <a:moveTo>
                  <a:pt x="324" y="252"/>
                </a:moveTo>
                <a:lnTo>
                  <a:pt x="324" y="258"/>
                </a:lnTo>
                <a:lnTo>
                  <a:pt x="325" y="258"/>
                </a:lnTo>
                <a:lnTo>
                  <a:pt x="324" y="252"/>
                </a:lnTo>
                <a:close/>
                <a:moveTo>
                  <a:pt x="210" y="120"/>
                </a:moveTo>
                <a:lnTo>
                  <a:pt x="216" y="120"/>
                </a:lnTo>
                <a:lnTo>
                  <a:pt x="210" y="120"/>
                </a:lnTo>
                <a:close/>
                <a:moveTo>
                  <a:pt x="360" y="288"/>
                </a:moveTo>
                <a:lnTo>
                  <a:pt x="360" y="294"/>
                </a:lnTo>
                <a:lnTo>
                  <a:pt x="361" y="294"/>
                </a:lnTo>
                <a:lnTo>
                  <a:pt x="360" y="288"/>
                </a:lnTo>
                <a:close/>
                <a:moveTo>
                  <a:pt x="360" y="294"/>
                </a:moveTo>
                <a:lnTo>
                  <a:pt x="360" y="300"/>
                </a:lnTo>
                <a:lnTo>
                  <a:pt x="361" y="300"/>
                </a:lnTo>
                <a:lnTo>
                  <a:pt x="360" y="294"/>
                </a:lnTo>
                <a:close/>
                <a:moveTo>
                  <a:pt x="198" y="108"/>
                </a:moveTo>
                <a:lnTo>
                  <a:pt x="204" y="108"/>
                </a:lnTo>
                <a:lnTo>
                  <a:pt x="198" y="108"/>
                </a:lnTo>
                <a:close/>
                <a:moveTo>
                  <a:pt x="186" y="96"/>
                </a:moveTo>
                <a:lnTo>
                  <a:pt x="186" y="102"/>
                </a:lnTo>
                <a:lnTo>
                  <a:pt x="187" y="102"/>
                </a:lnTo>
                <a:lnTo>
                  <a:pt x="186" y="96"/>
                </a:lnTo>
                <a:close/>
                <a:moveTo>
                  <a:pt x="222" y="138"/>
                </a:moveTo>
                <a:lnTo>
                  <a:pt x="228" y="138"/>
                </a:lnTo>
                <a:lnTo>
                  <a:pt x="222" y="138"/>
                </a:lnTo>
                <a:close/>
                <a:moveTo>
                  <a:pt x="354" y="294"/>
                </a:moveTo>
                <a:lnTo>
                  <a:pt x="354" y="300"/>
                </a:lnTo>
                <a:lnTo>
                  <a:pt x="355" y="300"/>
                </a:lnTo>
                <a:lnTo>
                  <a:pt x="354" y="294"/>
                </a:lnTo>
                <a:close/>
                <a:moveTo>
                  <a:pt x="342" y="276"/>
                </a:moveTo>
                <a:lnTo>
                  <a:pt x="342" y="282"/>
                </a:lnTo>
                <a:lnTo>
                  <a:pt x="343" y="282"/>
                </a:lnTo>
                <a:lnTo>
                  <a:pt x="342" y="276"/>
                </a:lnTo>
                <a:close/>
                <a:moveTo>
                  <a:pt x="360" y="288"/>
                </a:moveTo>
                <a:lnTo>
                  <a:pt x="360" y="294"/>
                </a:lnTo>
                <a:lnTo>
                  <a:pt x="361" y="294"/>
                </a:lnTo>
                <a:lnTo>
                  <a:pt x="360" y="288"/>
                </a:lnTo>
                <a:close/>
                <a:moveTo>
                  <a:pt x="192" y="132"/>
                </a:moveTo>
                <a:lnTo>
                  <a:pt x="198" y="132"/>
                </a:lnTo>
                <a:lnTo>
                  <a:pt x="192" y="132"/>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0" name="Freeform 31">
            <a:extLst>
              <a:ext uri="{FF2B5EF4-FFF2-40B4-BE49-F238E27FC236}">
                <a16:creationId xmlns:a16="http://schemas.microsoft.com/office/drawing/2014/main" id="{7394E3CD-7C02-A446-B11C-4DB077C6EB85}"/>
              </a:ext>
            </a:extLst>
          </p:cNvPr>
          <p:cNvSpPr>
            <a:spLocks/>
          </p:cNvSpPr>
          <p:nvPr>
            <p:custDataLst>
              <p:tags r:id="rId28"/>
            </p:custDataLst>
          </p:nvPr>
        </p:nvSpPr>
        <p:spPr bwMode="gray">
          <a:xfrm>
            <a:off x="6227220" y="3926039"/>
            <a:ext cx="104548" cy="88350"/>
          </a:xfrm>
          <a:custGeom>
            <a:avLst/>
            <a:gdLst>
              <a:gd name="T0" fmla="*/ 15798 w 90"/>
              <a:gd name="T1" fmla="*/ 3907 h 102"/>
              <a:gd name="T2" fmla="*/ 17773 w 90"/>
              <a:gd name="T3" fmla="*/ 6838 h 102"/>
              <a:gd name="T4" fmla="*/ 19747 w 90"/>
              <a:gd name="T5" fmla="*/ 3907 h 102"/>
              <a:gd name="T6" fmla="*/ 22710 w 90"/>
              <a:gd name="T7" fmla="*/ 1954 h 102"/>
              <a:gd name="T8" fmla="*/ 23697 w 90"/>
              <a:gd name="T9" fmla="*/ 0 h 102"/>
              <a:gd name="T10" fmla="*/ 28634 w 90"/>
              <a:gd name="T11" fmla="*/ 1954 h 102"/>
              <a:gd name="T12" fmla="*/ 30609 w 90"/>
              <a:gd name="T13" fmla="*/ 3907 h 102"/>
              <a:gd name="T14" fmla="*/ 30609 w 90"/>
              <a:gd name="T15" fmla="*/ 8792 h 102"/>
              <a:gd name="T16" fmla="*/ 33571 w 90"/>
              <a:gd name="T17" fmla="*/ 10746 h 102"/>
              <a:gd name="T18" fmla="*/ 33571 w 90"/>
              <a:gd name="T19" fmla="*/ 15630 h 102"/>
              <a:gd name="T20" fmla="*/ 28634 w 90"/>
              <a:gd name="T21" fmla="*/ 15630 h 102"/>
              <a:gd name="T22" fmla="*/ 23697 w 90"/>
              <a:gd name="T23" fmla="*/ 19537 h 102"/>
              <a:gd name="T24" fmla="*/ 19747 w 90"/>
              <a:gd name="T25" fmla="*/ 19537 h 102"/>
              <a:gd name="T26" fmla="*/ 17773 w 90"/>
              <a:gd name="T27" fmla="*/ 21491 h 102"/>
              <a:gd name="T28" fmla="*/ 15798 w 90"/>
              <a:gd name="T29" fmla="*/ 23445 h 102"/>
              <a:gd name="T30" fmla="*/ 17773 w 90"/>
              <a:gd name="T31" fmla="*/ 26376 h 102"/>
              <a:gd name="T32" fmla="*/ 19747 w 90"/>
              <a:gd name="T33" fmla="*/ 23445 h 102"/>
              <a:gd name="T34" fmla="*/ 23697 w 90"/>
              <a:gd name="T35" fmla="*/ 23445 h 102"/>
              <a:gd name="T36" fmla="*/ 26660 w 90"/>
              <a:gd name="T37" fmla="*/ 21491 h 102"/>
              <a:gd name="T38" fmla="*/ 28634 w 90"/>
              <a:gd name="T39" fmla="*/ 23445 h 102"/>
              <a:gd name="T40" fmla="*/ 28634 w 90"/>
              <a:gd name="T41" fmla="*/ 28329 h 102"/>
              <a:gd name="T42" fmla="*/ 26660 w 90"/>
              <a:gd name="T43" fmla="*/ 30283 h 102"/>
              <a:gd name="T44" fmla="*/ 23697 w 90"/>
              <a:gd name="T45" fmla="*/ 32237 h 102"/>
              <a:gd name="T46" fmla="*/ 22710 w 90"/>
              <a:gd name="T47" fmla="*/ 34191 h 102"/>
              <a:gd name="T48" fmla="*/ 17773 w 90"/>
              <a:gd name="T49" fmla="*/ 34191 h 102"/>
              <a:gd name="T50" fmla="*/ 15798 w 90"/>
              <a:gd name="T51" fmla="*/ 34191 h 102"/>
              <a:gd name="T52" fmla="*/ 10861 w 90"/>
              <a:gd name="T53" fmla="*/ 34191 h 102"/>
              <a:gd name="T54" fmla="*/ 8887 w 90"/>
              <a:gd name="T55" fmla="*/ 37121 h 102"/>
              <a:gd name="T56" fmla="*/ 6911 w 90"/>
              <a:gd name="T57" fmla="*/ 34191 h 102"/>
              <a:gd name="T58" fmla="*/ 3949 w 90"/>
              <a:gd name="T59" fmla="*/ 37121 h 102"/>
              <a:gd name="T60" fmla="*/ 0 w 90"/>
              <a:gd name="T61" fmla="*/ 37121 h 102"/>
              <a:gd name="T62" fmla="*/ 0 w 90"/>
              <a:gd name="T63" fmla="*/ 32237 h 102"/>
              <a:gd name="T64" fmla="*/ 0 w 90"/>
              <a:gd name="T65" fmla="*/ 28329 h 102"/>
              <a:gd name="T66" fmla="*/ 0 w 90"/>
              <a:gd name="T67" fmla="*/ 23445 h 102"/>
              <a:gd name="T68" fmla="*/ 0 w 90"/>
              <a:gd name="T69" fmla="*/ 19537 h 102"/>
              <a:gd name="T70" fmla="*/ 1975 w 90"/>
              <a:gd name="T71" fmla="*/ 17584 h 102"/>
              <a:gd name="T72" fmla="*/ 3949 w 90"/>
              <a:gd name="T73" fmla="*/ 15630 h 102"/>
              <a:gd name="T74" fmla="*/ 6911 w 90"/>
              <a:gd name="T75" fmla="*/ 12700 h 102"/>
              <a:gd name="T76" fmla="*/ 8887 w 90"/>
              <a:gd name="T77" fmla="*/ 10746 h 102"/>
              <a:gd name="T78" fmla="*/ 10861 w 90"/>
              <a:gd name="T79" fmla="*/ 8792 h 102"/>
              <a:gd name="T80" fmla="*/ 12836 w 90"/>
              <a:gd name="T81" fmla="*/ 3907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2">
                <a:moveTo>
                  <a:pt x="36" y="12"/>
                </a:moveTo>
                <a:lnTo>
                  <a:pt x="42" y="12"/>
                </a:lnTo>
                <a:lnTo>
                  <a:pt x="42" y="18"/>
                </a:lnTo>
                <a:lnTo>
                  <a:pt x="48" y="18"/>
                </a:lnTo>
                <a:lnTo>
                  <a:pt x="54" y="18"/>
                </a:lnTo>
                <a:lnTo>
                  <a:pt x="54" y="12"/>
                </a:lnTo>
                <a:lnTo>
                  <a:pt x="60" y="12"/>
                </a:lnTo>
                <a:lnTo>
                  <a:pt x="60" y="6"/>
                </a:lnTo>
                <a:lnTo>
                  <a:pt x="66" y="6"/>
                </a:lnTo>
                <a:lnTo>
                  <a:pt x="66" y="0"/>
                </a:lnTo>
                <a:lnTo>
                  <a:pt x="72" y="0"/>
                </a:lnTo>
                <a:lnTo>
                  <a:pt x="78" y="6"/>
                </a:lnTo>
                <a:lnTo>
                  <a:pt x="78" y="12"/>
                </a:lnTo>
                <a:lnTo>
                  <a:pt x="84" y="12"/>
                </a:lnTo>
                <a:lnTo>
                  <a:pt x="84" y="18"/>
                </a:lnTo>
                <a:lnTo>
                  <a:pt x="84" y="24"/>
                </a:lnTo>
                <a:lnTo>
                  <a:pt x="90" y="24"/>
                </a:lnTo>
                <a:lnTo>
                  <a:pt x="90" y="30"/>
                </a:lnTo>
                <a:lnTo>
                  <a:pt x="90" y="36"/>
                </a:lnTo>
                <a:lnTo>
                  <a:pt x="90" y="42"/>
                </a:lnTo>
                <a:lnTo>
                  <a:pt x="84" y="42"/>
                </a:lnTo>
                <a:lnTo>
                  <a:pt x="78" y="42"/>
                </a:lnTo>
                <a:lnTo>
                  <a:pt x="72" y="48"/>
                </a:lnTo>
                <a:lnTo>
                  <a:pt x="66" y="54"/>
                </a:lnTo>
                <a:lnTo>
                  <a:pt x="60" y="54"/>
                </a:lnTo>
                <a:lnTo>
                  <a:pt x="54" y="54"/>
                </a:lnTo>
                <a:lnTo>
                  <a:pt x="54" y="60"/>
                </a:lnTo>
                <a:lnTo>
                  <a:pt x="48" y="60"/>
                </a:lnTo>
                <a:lnTo>
                  <a:pt x="48" y="66"/>
                </a:lnTo>
                <a:lnTo>
                  <a:pt x="42" y="66"/>
                </a:lnTo>
                <a:lnTo>
                  <a:pt x="42" y="72"/>
                </a:lnTo>
                <a:lnTo>
                  <a:pt x="48" y="72"/>
                </a:lnTo>
                <a:lnTo>
                  <a:pt x="48" y="66"/>
                </a:lnTo>
                <a:lnTo>
                  <a:pt x="54" y="66"/>
                </a:lnTo>
                <a:lnTo>
                  <a:pt x="60" y="66"/>
                </a:lnTo>
                <a:lnTo>
                  <a:pt x="66" y="66"/>
                </a:lnTo>
                <a:lnTo>
                  <a:pt x="72" y="66"/>
                </a:lnTo>
                <a:lnTo>
                  <a:pt x="72" y="60"/>
                </a:lnTo>
                <a:lnTo>
                  <a:pt x="72" y="66"/>
                </a:lnTo>
                <a:lnTo>
                  <a:pt x="78" y="66"/>
                </a:lnTo>
                <a:lnTo>
                  <a:pt x="78" y="72"/>
                </a:lnTo>
                <a:lnTo>
                  <a:pt x="78" y="78"/>
                </a:lnTo>
                <a:lnTo>
                  <a:pt x="72" y="78"/>
                </a:lnTo>
                <a:lnTo>
                  <a:pt x="72" y="84"/>
                </a:lnTo>
                <a:lnTo>
                  <a:pt x="72" y="90"/>
                </a:lnTo>
                <a:lnTo>
                  <a:pt x="66" y="90"/>
                </a:lnTo>
                <a:lnTo>
                  <a:pt x="66" y="96"/>
                </a:lnTo>
                <a:lnTo>
                  <a:pt x="60" y="96"/>
                </a:lnTo>
                <a:lnTo>
                  <a:pt x="54" y="96"/>
                </a:lnTo>
                <a:lnTo>
                  <a:pt x="48" y="96"/>
                </a:lnTo>
                <a:lnTo>
                  <a:pt x="48" y="90"/>
                </a:lnTo>
                <a:lnTo>
                  <a:pt x="42" y="96"/>
                </a:lnTo>
                <a:lnTo>
                  <a:pt x="36" y="96"/>
                </a:lnTo>
                <a:lnTo>
                  <a:pt x="30" y="96"/>
                </a:lnTo>
                <a:lnTo>
                  <a:pt x="24" y="96"/>
                </a:lnTo>
                <a:lnTo>
                  <a:pt x="24" y="102"/>
                </a:lnTo>
                <a:lnTo>
                  <a:pt x="24" y="96"/>
                </a:lnTo>
                <a:lnTo>
                  <a:pt x="18" y="96"/>
                </a:lnTo>
                <a:lnTo>
                  <a:pt x="18" y="102"/>
                </a:lnTo>
                <a:lnTo>
                  <a:pt x="12" y="102"/>
                </a:lnTo>
                <a:lnTo>
                  <a:pt x="6" y="102"/>
                </a:lnTo>
                <a:lnTo>
                  <a:pt x="0" y="102"/>
                </a:lnTo>
                <a:lnTo>
                  <a:pt x="0" y="96"/>
                </a:lnTo>
                <a:lnTo>
                  <a:pt x="0" y="90"/>
                </a:lnTo>
                <a:lnTo>
                  <a:pt x="0" y="84"/>
                </a:lnTo>
                <a:lnTo>
                  <a:pt x="0" y="78"/>
                </a:lnTo>
                <a:lnTo>
                  <a:pt x="0" y="72"/>
                </a:lnTo>
                <a:lnTo>
                  <a:pt x="0" y="66"/>
                </a:lnTo>
                <a:lnTo>
                  <a:pt x="0" y="60"/>
                </a:lnTo>
                <a:lnTo>
                  <a:pt x="0" y="54"/>
                </a:lnTo>
                <a:lnTo>
                  <a:pt x="6" y="54"/>
                </a:lnTo>
                <a:lnTo>
                  <a:pt x="6" y="48"/>
                </a:lnTo>
                <a:lnTo>
                  <a:pt x="12" y="48"/>
                </a:lnTo>
                <a:lnTo>
                  <a:pt x="12" y="42"/>
                </a:lnTo>
                <a:lnTo>
                  <a:pt x="18" y="42"/>
                </a:lnTo>
                <a:lnTo>
                  <a:pt x="18" y="36"/>
                </a:lnTo>
                <a:lnTo>
                  <a:pt x="18" y="30"/>
                </a:lnTo>
                <a:lnTo>
                  <a:pt x="24" y="30"/>
                </a:lnTo>
                <a:lnTo>
                  <a:pt x="24" y="24"/>
                </a:lnTo>
                <a:lnTo>
                  <a:pt x="30" y="24"/>
                </a:lnTo>
                <a:lnTo>
                  <a:pt x="30" y="18"/>
                </a:lnTo>
                <a:lnTo>
                  <a:pt x="36" y="12"/>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1" name="Freeform 32">
            <a:extLst>
              <a:ext uri="{FF2B5EF4-FFF2-40B4-BE49-F238E27FC236}">
                <a16:creationId xmlns:a16="http://schemas.microsoft.com/office/drawing/2014/main" id="{1F85627E-8C6C-5F4F-9A86-FB39F478F19D}"/>
              </a:ext>
            </a:extLst>
          </p:cNvPr>
          <p:cNvSpPr>
            <a:spLocks/>
          </p:cNvSpPr>
          <p:nvPr>
            <p:custDataLst>
              <p:tags r:id="rId29"/>
            </p:custDataLst>
          </p:nvPr>
        </p:nvSpPr>
        <p:spPr bwMode="gray">
          <a:xfrm>
            <a:off x="5660310" y="3816711"/>
            <a:ext cx="961540" cy="558812"/>
          </a:xfrm>
          <a:custGeom>
            <a:avLst/>
            <a:gdLst>
              <a:gd name="T0" fmla="*/ 163454 w 834"/>
              <a:gd name="T1" fmla="*/ 218751 h 648"/>
              <a:gd name="T2" fmla="*/ 154698 w 834"/>
              <a:gd name="T3" fmla="*/ 214878 h 648"/>
              <a:gd name="T4" fmla="*/ 142049 w 834"/>
              <a:gd name="T5" fmla="*/ 218751 h 648"/>
              <a:gd name="T6" fmla="*/ 128428 w 834"/>
              <a:gd name="T7" fmla="*/ 229398 h 648"/>
              <a:gd name="T8" fmla="*/ 117726 w 834"/>
              <a:gd name="T9" fmla="*/ 227461 h 648"/>
              <a:gd name="T10" fmla="*/ 103132 w 834"/>
              <a:gd name="T11" fmla="*/ 225525 h 648"/>
              <a:gd name="T12" fmla="*/ 90484 w 834"/>
              <a:gd name="T13" fmla="*/ 218751 h 648"/>
              <a:gd name="T14" fmla="*/ 76862 w 834"/>
              <a:gd name="T15" fmla="*/ 210039 h 648"/>
              <a:gd name="T16" fmla="*/ 62268 w 834"/>
              <a:gd name="T17" fmla="*/ 210039 h 648"/>
              <a:gd name="T18" fmla="*/ 56430 w 834"/>
              <a:gd name="T19" fmla="*/ 197456 h 648"/>
              <a:gd name="T20" fmla="*/ 53512 w 834"/>
              <a:gd name="T21" fmla="*/ 191648 h 648"/>
              <a:gd name="T22" fmla="*/ 42809 w 834"/>
              <a:gd name="T23" fmla="*/ 184873 h 648"/>
              <a:gd name="T24" fmla="*/ 38918 w 834"/>
              <a:gd name="T25" fmla="*/ 174226 h 648"/>
              <a:gd name="T26" fmla="*/ 34053 w 834"/>
              <a:gd name="T27" fmla="*/ 165514 h 648"/>
              <a:gd name="T28" fmla="*/ 30161 w 834"/>
              <a:gd name="T29" fmla="*/ 161643 h 648"/>
              <a:gd name="T30" fmla="*/ 21405 w 834"/>
              <a:gd name="T31" fmla="*/ 150996 h 648"/>
              <a:gd name="T32" fmla="*/ 10702 w 834"/>
              <a:gd name="T33" fmla="*/ 144220 h 648"/>
              <a:gd name="T34" fmla="*/ 0 w 834"/>
              <a:gd name="T35" fmla="*/ 142284 h 648"/>
              <a:gd name="T36" fmla="*/ 3891 w 834"/>
              <a:gd name="T37" fmla="*/ 129702 h 648"/>
              <a:gd name="T38" fmla="*/ 17513 w 834"/>
              <a:gd name="T39" fmla="*/ 129702 h 648"/>
              <a:gd name="T40" fmla="*/ 23351 w 834"/>
              <a:gd name="T41" fmla="*/ 119054 h 648"/>
              <a:gd name="T42" fmla="*/ 23351 w 834"/>
              <a:gd name="T43" fmla="*/ 101632 h 648"/>
              <a:gd name="T44" fmla="*/ 26270 w 834"/>
              <a:gd name="T45" fmla="*/ 90985 h 648"/>
              <a:gd name="T46" fmla="*/ 32107 w 834"/>
              <a:gd name="T47" fmla="*/ 83241 h 648"/>
              <a:gd name="T48" fmla="*/ 38918 w 834"/>
              <a:gd name="T49" fmla="*/ 80338 h 648"/>
              <a:gd name="T50" fmla="*/ 42809 w 834"/>
              <a:gd name="T51" fmla="*/ 65818 h 648"/>
              <a:gd name="T52" fmla="*/ 47674 w 834"/>
              <a:gd name="T53" fmla="*/ 57108 h 648"/>
              <a:gd name="T54" fmla="*/ 53512 w 834"/>
              <a:gd name="T55" fmla="*/ 44524 h 648"/>
              <a:gd name="T56" fmla="*/ 62268 w 834"/>
              <a:gd name="T57" fmla="*/ 40653 h 648"/>
              <a:gd name="T58" fmla="*/ 68105 w 834"/>
              <a:gd name="T59" fmla="*/ 27101 h 648"/>
              <a:gd name="T60" fmla="*/ 71024 w 834"/>
              <a:gd name="T61" fmla="*/ 14519 h 648"/>
              <a:gd name="T62" fmla="*/ 83672 w 834"/>
              <a:gd name="T63" fmla="*/ 10647 h 648"/>
              <a:gd name="T64" fmla="*/ 90484 w 834"/>
              <a:gd name="T65" fmla="*/ 12583 h 648"/>
              <a:gd name="T66" fmla="*/ 97294 w 834"/>
              <a:gd name="T67" fmla="*/ 6776 h 648"/>
              <a:gd name="T68" fmla="*/ 105077 w 834"/>
              <a:gd name="T69" fmla="*/ 3872 h 648"/>
              <a:gd name="T70" fmla="*/ 113834 w 834"/>
              <a:gd name="T71" fmla="*/ 8711 h 648"/>
              <a:gd name="T72" fmla="*/ 124536 w 834"/>
              <a:gd name="T73" fmla="*/ 10647 h 648"/>
              <a:gd name="T74" fmla="*/ 135238 w 834"/>
              <a:gd name="T75" fmla="*/ 8711 h 648"/>
              <a:gd name="T76" fmla="*/ 145941 w 834"/>
              <a:gd name="T77" fmla="*/ 10647 h 648"/>
              <a:gd name="T78" fmla="*/ 156643 w 834"/>
              <a:gd name="T79" fmla="*/ 17423 h 648"/>
              <a:gd name="T80" fmla="*/ 165399 w 834"/>
              <a:gd name="T81" fmla="*/ 27101 h 648"/>
              <a:gd name="T82" fmla="*/ 176102 w 834"/>
              <a:gd name="T83" fmla="*/ 36781 h 648"/>
              <a:gd name="T84" fmla="*/ 186804 w 834"/>
              <a:gd name="T85" fmla="*/ 46460 h 648"/>
              <a:gd name="T86" fmla="*/ 181940 w 834"/>
              <a:gd name="T87" fmla="*/ 57108 h 648"/>
              <a:gd name="T88" fmla="*/ 176102 w 834"/>
              <a:gd name="T89" fmla="*/ 67755 h 648"/>
              <a:gd name="T90" fmla="*/ 180966 w 834"/>
              <a:gd name="T91" fmla="*/ 80338 h 648"/>
              <a:gd name="T92" fmla="*/ 191669 w 834"/>
              <a:gd name="T93" fmla="*/ 78402 h 648"/>
              <a:gd name="T94" fmla="*/ 195561 w 834"/>
              <a:gd name="T95" fmla="*/ 83241 h 648"/>
              <a:gd name="T96" fmla="*/ 197507 w 834"/>
              <a:gd name="T97" fmla="*/ 95825 h 648"/>
              <a:gd name="T98" fmla="*/ 206263 w 834"/>
              <a:gd name="T99" fmla="*/ 108407 h 648"/>
              <a:gd name="T100" fmla="*/ 216965 w 834"/>
              <a:gd name="T101" fmla="*/ 115183 h 648"/>
              <a:gd name="T102" fmla="*/ 231560 w 834"/>
              <a:gd name="T103" fmla="*/ 123894 h 648"/>
              <a:gd name="T104" fmla="*/ 251018 w 834"/>
              <a:gd name="T105" fmla="*/ 129702 h 648"/>
              <a:gd name="T106" fmla="*/ 268531 w 834"/>
              <a:gd name="T107" fmla="*/ 135509 h 648"/>
              <a:gd name="T108" fmla="*/ 286044 w 834"/>
              <a:gd name="T109" fmla="*/ 138413 h 648"/>
              <a:gd name="T110" fmla="*/ 286044 w 834"/>
              <a:gd name="T111" fmla="*/ 152931 h 648"/>
              <a:gd name="T112" fmla="*/ 238370 w 834"/>
              <a:gd name="T113" fmla="*/ 199391 h 648"/>
              <a:gd name="T114" fmla="*/ 208209 w 834"/>
              <a:gd name="T115" fmla="*/ 202295 h 648"/>
              <a:gd name="T116" fmla="*/ 197507 w 834"/>
              <a:gd name="T117" fmla="*/ 210039 h 648"/>
              <a:gd name="T118" fmla="*/ 184859 w 834"/>
              <a:gd name="T119" fmla="*/ 214878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648">
                <a:moveTo>
                  <a:pt x="498" y="618"/>
                </a:moveTo>
                <a:lnTo>
                  <a:pt x="492" y="618"/>
                </a:lnTo>
                <a:lnTo>
                  <a:pt x="486" y="618"/>
                </a:lnTo>
                <a:lnTo>
                  <a:pt x="480" y="618"/>
                </a:lnTo>
                <a:lnTo>
                  <a:pt x="474" y="618"/>
                </a:lnTo>
                <a:lnTo>
                  <a:pt x="468" y="618"/>
                </a:lnTo>
                <a:lnTo>
                  <a:pt x="462" y="618"/>
                </a:lnTo>
                <a:lnTo>
                  <a:pt x="456" y="618"/>
                </a:lnTo>
                <a:lnTo>
                  <a:pt x="450" y="618"/>
                </a:lnTo>
                <a:lnTo>
                  <a:pt x="450" y="612"/>
                </a:lnTo>
                <a:lnTo>
                  <a:pt x="444" y="612"/>
                </a:lnTo>
                <a:lnTo>
                  <a:pt x="444" y="606"/>
                </a:lnTo>
                <a:lnTo>
                  <a:pt x="438" y="606"/>
                </a:lnTo>
                <a:lnTo>
                  <a:pt x="438" y="600"/>
                </a:lnTo>
                <a:lnTo>
                  <a:pt x="432" y="600"/>
                </a:lnTo>
                <a:lnTo>
                  <a:pt x="432" y="606"/>
                </a:lnTo>
                <a:lnTo>
                  <a:pt x="426" y="606"/>
                </a:lnTo>
                <a:lnTo>
                  <a:pt x="420" y="606"/>
                </a:lnTo>
                <a:lnTo>
                  <a:pt x="414" y="606"/>
                </a:lnTo>
                <a:lnTo>
                  <a:pt x="414" y="612"/>
                </a:lnTo>
                <a:lnTo>
                  <a:pt x="408" y="612"/>
                </a:lnTo>
                <a:lnTo>
                  <a:pt x="402" y="612"/>
                </a:lnTo>
                <a:lnTo>
                  <a:pt x="402" y="618"/>
                </a:lnTo>
                <a:lnTo>
                  <a:pt x="396" y="618"/>
                </a:lnTo>
                <a:lnTo>
                  <a:pt x="390" y="618"/>
                </a:lnTo>
                <a:lnTo>
                  <a:pt x="384" y="624"/>
                </a:lnTo>
                <a:lnTo>
                  <a:pt x="378" y="630"/>
                </a:lnTo>
                <a:lnTo>
                  <a:pt x="378" y="636"/>
                </a:lnTo>
                <a:lnTo>
                  <a:pt x="372" y="636"/>
                </a:lnTo>
                <a:lnTo>
                  <a:pt x="372" y="642"/>
                </a:lnTo>
                <a:lnTo>
                  <a:pt x="366" y="648"/>
                </a:lnTo>
                <a:lnTo>
                  <a:pt x="360" y="648"/>
                </a:lnTo>
                <a:lnTo>
                  <a:pt x="354" y="648"/>
                </a:lnTo>
                <a:lnTo>
                  <a:pt x="354" y="642"/>
                </a:lnTo>
                <a:lnTo>
                  <a:pt x="354" y="648"/>
                </a:lnTo>
                <a:lnTo>
                  <a:pt x="348" y="648"/>
                </a:lnTo>
                <a:lnTo>
                  <a:pt x="348" y="642"/>
                </a:lnTo>
                <a:lnTo>
                  <a:pt x="342" y="642"/>
                </a:lnTo>
                <a:lnTo>
                  <a:pt x="336" y="642"/>
                </a:lnTo>
                <a:lnTo>
                  <a:pt x="330" y="642"/>
                </a:lnTo>
                <a:lnTo>
                  <a:pt x="324" y="642"/>
                </a:lnTo>
                <a:lnTo>
                  <a:pt x="318" y="642"/>
                </a:lnTo>
                <a:lnTo>
                  <a:pt x="318" y="636"/>
                </a:lnTo>
                <a:lnTo>
                  <a:pt x="312" y="636"/>
                </a:lnTo>
                <a:lnTo>
                  <a:pt x="306" y="636"/>
                </a:lnTo>
                <a:lnTo>
                  <a:pt x="300" y="636"/>
                </a:lnTo>
                <a:lnTo>
                  <a:pt x="294" y="636"/>
                </a:lnTo>
                <a:lnTo>
                  <a:pt x="288" y="636"/>
                </a:lnTo>
                <a:lnTo>
                  <a:pt x="282" y="636"/>
                </a:lnTo>
                <a:lnTo>
                  <a:pt x="282" y="630"/>
                </a:lnTo>
                <a:lnTo>
                  <a:pt x="276" y="630"/>
                </a:lnTo>
                <a:lnTo>
                  <a:pt x="270" y="630"/>
                </a:lnTo>
                <a:lnTo>
                  <a:pt x="270" y="624"/>
                </a:lnTo>
                <a:lnTo>
                  <a:pt x="264" y="624"/>
                </a:lnTo>
                <a:lnTo>
                  <a:pt x="258" y="618"/>
                </a:lnTo>
                <a:lnTo>
                  <a:pt x="252" y="618"/>
                </a:lnTo>
                <a:lnTo>
                  <a:pt x="252" y="612"/>
                </a:lnTo>
                <a:lnTo>
                  <a:pt x="246" y="606"/>
                </a:lnTo>
                <a:lnTo>
                  <a:pt x="240" y="606"/>
                </a:lnTo>
                <a:lnTo>
                  <a:pt x="234" y="600"/>
                </a:lnTo>
                <a:lnTo>
                  <a:pt x="228" y="600"/>
                </a:lnTo>
                <a:lnTo>
                  <a:pt x="228" y="594"/>
                </a:lnTo>
                <a:lnTo>
                  <a:pt x="222" y="594"/>
                </a:lnTo>
                <a:lnTo>
                  <a:pt x="216" y="594"/>
                </a:lnTo>
                <a:lnTo>
                  <a:pt x="210" y="594"/>
                </a:lnTo>
                <a:lnTo>
                  <a:pt x="204" y="594"/>
                </a:lnTo>
                <a:lnTo>
                  <a:pt x="198" y="594"/>
                </a:lnTo>
                <a:lnTo>
                  <a:pt x="192" y="594"/>
                </a:lnTo>
                <a:lnTo>
                  <a:pt x="186" y="594"/>
                </a:lnTo>
                <a:lnTo>
                  <a:pt x="180" y="588"/>
                </a:lnTo>
                <a:lnTo>
                  <a:pt x="180" y="594"/>
                </a:lnTo>
                <a:lnTo>
                  <a:pt x="174" y="594"/>
                </a:lnTo>
                <a:lnTo>
                  <a:pt x="168" y="594"/>
                </a:lnTo>
                <a:lnTo>
                  <a:pt x="168" y="588"/>
                </a:lnTo>
                <a:lnTo>
                  <a:pt x="168" y="582"/>
                </a:lnTo>
                <a:lnTo>
                  <a:pt x="162" y="576"/>
                </a:lnTo>
                <a:lnTo>
                  <a:pt x="156" y="576"/>
                </a:lnTo>
                <a:lnTo>
                  <a:pt x="156" y="570"/>
                </a:lnTo>
                <a:lnTo>
                  <a:pt x="156" y="564"/>
                </a:lnTo>
                <a:lnTo>
                  <a:pt x="156" y="558"/>
                </a:lnTo>
                <a:lnTo>
                  <a:pt x="156" y="552"/>
                </a:lnTo>
                <a:lnTo>
                  <a:pt x="162" y="552"/>
                </a:lnTo>
                <a:lnTo>
                  <a:pt x="162" y="546"/>
                </a:lnTo>
                <a:lnTo>
                  <a:pt x="156" y="546"/>
                </a:lnTo>
                <a:lnTo>
                  <a:pt x="162" y="546"/>
                </a:lnTo>
                <a:lnTo>
                  <a:pt x="162" y="540"/>
                </a:lnTo>
                <a:lnTo>
                  <a:pt x="156" y="540"/>
                </a:lnTo>
                <a:lnTo>
                  <a:pt x="150" y="540"/>
                </a:lnTo>
                <a:lnTo>
                  <a:pt x="144" y="540"/>
                </a:lnTo>
                <a:lnTo>
                  <a:pt x="138" y="540"/>
                </a:lnTo>
                <a:lnTo>
                  <a:pt x="132" y="540"/>
                </a:lnTo>
                <a:lnTo>
                  <a:pt x="132" y="534"/>
                </a:lnTo>
                <a:lnTo>
                  <a:pt x="126" y="534"/>
                </a:lnTo>
                <a:lnTo>
                  <a:pt x="126" y="528"/>
                </a:lnTo>
                <a:lnTo>
                  <a:pt x="120" y="528"/>
                </a:lnTo>
                <a:lnTo>
                  <a:pt x="120" y="522"/>
                </a:lnTo>
                <a:lnTo>
                  <a:pt x="114" y="516"/>
                </a:lnTo>
                <a:lnTo>
                  <a:pt x="114" y="510"/>
                </a:lnTo>
                <a:lnTo>
                  <a:pt x="114" y="504"/>
                </a:lnTo>
                <a:lnTo>
                  <a:pt x="114" y="498"/>
                </a:lnTo>
                <a:lnTo>
                  <a:pt x="108" y="498"/>
                </a:lnTo>
                <a:lnTo>
                  <a:pt x="114" y="498"/>
                </a:lnTo>
                <a:lnTo>
                  <a:pt x="114" y="492"/>
                </a:lnTo>
                <a:lnTo>
                  <a:pt x="108" y="492"/>
                </a:lnTo>
                <a:lnTo>
                  <a:pt x="108" y="486"/>
                </a:lnTo>
                <a:lnTo>
                  <a:pt x="114" y="486"/>
                </a:lnTo>
                <a:lnTo>
                  <a:pt x="114" y="480"/>
                </a:lnTo>
                <a:lnTo>
                  <a:pt x="114" y="474"/>
                </a:lnTo>
                <a:lnTo>
                  <a:pt x="108" y="474"/>
                </a:lnTo>
                <a:lnTo>
                  <a:pt x="102" y="468"/>
                </a:lnTo>
                <a:lnTo>
                  <a:pt x="102" y="474"/>
                </a:lnTo>
                <a:lnTo>
                  <a:pt x="96" y="468"/>
                </a:lnTo>
                <a:lnTo>
                  <a:pt x="96" y="462"/>
                </a:lnTo>
                <a:lnTo>
                  <a:pt x="90" y="462"/>
                </a:lnTo>
                <a:lnTo>
                  <a:pt x="84" y="462"/>
                </a:lnTo>
                <a:lnTo>
                  <a:pt x="90" y="462"/>
                </a:lnTo>
                <a:lnTo>
                  <a:pt x="84" y="462"/>
                </a:lnTo>
                <a:lnTo>
                  <a:pt x="90" y="462"/>
                </a:lnTo>
                <a:lnTo>
                  <a:pt x="90" y="456"/>
                </a:lnTo>
                <a:lnTo>
                  <a:pt x="84" y="456"/>
                </a:lnTo>
                <a:lnTo>
                  <a:pt x="84" y="450"/>
                </a:lnTo>
                <a:lnTo>
                  <a:pt x="78" y="450"/>
                </a:lnTo>
                <a:lnTo>
                  <a:pt x="72" y="450"/>
                </a:lnTo>
                <a:lnTo>
                  <a:pt x="66" y="444"/>
                </a:lnTo>
                <a:lnTo>
                  <a:pt x="66" y="438"/>
                </a:lnTo>
                <a:lnTo>
                  <a:pt x="60" y="438"/>
                </a:lnTo>
                <a:lnTo>
                  <a:pt x="60" y="432"/>
                </a:lnTo>
                <a:lnTo>
                  <a:pt x="60" y="426"/>
                </a:lnTo>
                <a:lnTo>
                  <a:pt x="54" y="426"/>
                </a:lnTo>
                <a:lnTo>
                  <a:pt x="54" y="420"/>
                </a:lnTo>
                <a:lnTo>
                  <a:pt x="48" y="420"/>
                </a:lnTo>
                <a:lnTo>
                  <a:pt x="48" y="414"/>
                </a:lnTo>
                <a:lnTo>
                  <a:pt x="42" y="414"/>
                </a:lnTo>
                <a:lnTo>
                  <a:pt x="42" y="408"/>
                </a:lnTo>
                <a:lnTo>
                  <a:pt x="36" y="408"/>
                </a:lnTo>
                <a:lnTo>
                  <a:pt x="30" y="408"/>
                </a:lnTo>
                <a:lnTo>
                  <a:pt x="24" y="408"/>
                </a:lnTo>
                <a:lnTo>
                  <a:pt x="18" y="408"/>
                </a:lnTo>
                <a:lnTo>
                  <a:pt x="12" y="408"/>
                </a:lnTo>
                <a:lnTo>
                  <a:pt x="12" y="402"/>
                </a:lnTo>
                <a:lnTo>
                  <a:pt x="6" y="402"/>
                </a:lnTo>
                <a:lnTo>
                  <a:pt x="6" y="408"/>
                </a:lnTo>
                <a:lnTo>
                  <a:pt x="6" y="402"/>
                </a:lnTo>
                <a:lnTo>
                  <a:pt x="0" y="402"/>
                </a:lnTo>
                <a:lnTo>
                  <a:pt x="0" y="396"/>
                </a:lnTo>
                <a:lnTo>
                  <a:pt x="6" y="396"/>
                </a:lnTo>
                <a:lnTo>
                  <a:pt x="6" y="390"/>
                </a:lnTo>
                <a:lnTo>
                  <a:pt x="6" y="384"/>
                </a:lnTo>
                <a:lnTo>
                  <a:pt x="12" y="384"/>
                </a:lnTo>
                <a:lnTo>
                  <a:pt x="12" y="378"/>
                </a:lnTo>
                <a:lnTo>
                  <a:pt x="12" y="372"/>
                </a:lnTo>
                <a:lnTo>
                  <a:pt x="12" y="366"/>
                </a:lnTo>
                <a:lnTo>
                  <a:pt x="18" y="366"/>
                </a:lnTo>
                <a:lnTo>
                  <a:pt x="24" y="366"/>
                </a:lnTo>
                <a:lnTo>
                  <a:pt x="30" y="366"/>
                </a:lnTo>
                <a:lnTo>
                  <a:pt x="36" y="366"/>
                </a:lnTo>
                <a:lnTo>
                  <a:pt x="42" y="366"/>
                </a:lnTo>
                <a:lnTo>
                  <a:pt x="42" y="372"/>
                </a:lnTo>
                <a:lnTo>
                  <a:pt x="48" y="372"/>
                </a:lnTo>
                <a:lnTo>
                  <a:pt x="48" y="366"/>
                </a:lnTo>
                <a:lnTo>
                  <a:pt x="54" y="366"/>
                </a:lnTo>
                <a:lnTo>
                  <a:pt x="60" y="366"/>
                </a:lnTo>
                <a:lnTo>
                  <a:pt x="60" y="360"/>
                </a:lnTo>
                <a:lnTo>
                  <a:pt x="66" y="360"/>
                </a:lnTo>
                <a:lnTo>
                  <a:pt x="66" y="354"/>
                </a:lnTo>
                <a:lnTo>
                  <a:pt x="66" y="348"/>
                </a:lnTo>
                <a:lnTo>
                  <a:pt x="66" y="342"/>
                </a:lnTo>
                <a:lnTo>
                  <a:pt x="66" y="336"/>
                </a:lnTo>
                <a:lnTo>
                  <a:pt x="66" y="330"/>
                </a:lnTo>
                <a:lnTo>
                  <a:pt x="66" y="324"/>
                </a:lnTo>
                <a:lnTo>
                  <a:pt x="66" y="318"/>
                </a:lnTo>
                <a:lnTo>
                  <a:pt x="66" y="312"/>
                </a:lnTo>
                <a:lnTo>
                  <a:pt x="66" y="306"/>
                </a:lnTo>
                <a:lnTo>
                  <a:pt x="66" y="300"/>
                </a:lnTo>
                <a:lnTo>
                  <a:pt x="66" y="294"/>
                </a:lnTo>
                <a:lnTo>
                  <a:pt x="66" y="288"/>
                </a:lnTo>
                <a:lnTo>
                  <a:pt x="72" y="288"/>
                </a:lnTo>
                <a:lnTo>
                  <a:pt x="72" y="282"/>
                </a:lnTo>
                <a:lnTo>
                  <a:pt x="72" y="276"/>
                </a:lnTo>
                <a:lnTo>
                  <a:pt x="78" y="276"/>
                </a:lnTo>
                <a:lnTo>
                  <a:pt x="78" y="270"/>
                </a:lnTo>
                <a:lnTo>
                  <a:pt x="78" y="264"/>
                </a:lnTo>
                <a:lnTo>
                  <a:pt x="72" y="264"/>
                </a:lnTo>
                <a:lnTo>
                  <a:pt x="72" y="258"/>
                </a:lnTo>
                <a:lnTo>
                  <a:pt x="72" y="252"/>
                </a:lnTo>
                <a:lnTo>
                  <a:pt x="78" y="252"/>
                </a:lnTo>
                <a:lnTo>
                  <a:pt x="72" y="252"/>
                </a:lnTo>
                <a:lnTo>
                  <a:pt x="72" y="246"/>
                </a:lnTo>
                <a:lnTo>
                  <a:pt x="78" y="246"/>
                </a:lnTo>
                <a:lnTo>
                  <a:pt x="78" y="240"/>
                </a:lnTo>
                <a:lnTo>
                  <a:pt x="84" y="234"/>
                </a:lnTo>
                <a:lnTo>
                  <a:pt x="90" y="234"/>
                </a:lnTo>
                <a:lnTo>
                  <a:pt x="90" y="228"/>
                </a:lnTo>
                <a:lnTo>
                  <a:pt x="96" y="234"/>
                </a:lnTo>
                <a:lnTo>
                  <a:pt x="102" y="234"/>
                </a:lnTo>
                <a:lnTo>
                  <a:pt x="102" y="240"/>
                </a:lnTo>
                <a:lnTo>
                  <a:pt x="108" y="234"/>
                </a:lnTo>
                <a:lnTo>
                  <a:pt x="108" y="228"/>
                </a:lnTo>
                <a:lnTo>
                  <a:pt x="114" y="228"/>
                </a:lnTo>
                <a:lnTo>
                  <a:pt x="108" y="228"/>
                </a:lnTo>
                <a:lnTo>
                  <a:pt x="114" y="222"/>
                </a:lnTo>
                <a:lnTo>
                  <a:pt x="114" y="216"/>
                </a:lnTo>
                <a:lnTo>
                  <a:pt x="114" y="210"/>
                </a:lnTo>
                <a:lnTo>
                  <a:pt x="108" y="210"/>
                </a:lnTo>
                <a:lnTo>
                  <a:pt x="114" y="204"/>
                </a:lnTo>
                <a:lnTo>
                  <a:pt x="114" y="198"/>
                </a:lnTo>
                <a:lnTo>
                  <a:pt x="120" y="192"/>
                </a:lnTo>
                <a:lnTo>
                  <a:pt x="120" y="186"/>
                </a:lnTo>
                <a:lnTo>
                  <a:pt x="114" y="186"/>
                </a:lnTo>
                <a:lnTo>
                  <a:pt x="114" y="180"/>
                </a:lnTo>
                <a:lnTo>
                  <a:pt x="120" y="180"/>
                </a:lnTo>
                <a:lnTo>
                  <a:pt x="120" y="174"/>
                </a:lnTo>
                <a:lnTo>
                  <a:pt x="126" y="174"/>
                </a:lnTo>
                <a:lnTo>
                  <a:pt x="126" y="168"/>
                </a:lnTo>
                <a:lnTo>
                  <a:pt x="132" y="168"/>
                </a:lnTo>
                <a:lnTo>
                  <a:pt x="132" y="162"/>
                </a:lnTo>
                <a:lnTo>
                  <a:pt x="132" y="156"/>
                </a:lnTo>
                <a:lnTo>
                  <a:pt x="138" y="156"/>
                </a:lnTo>
                <a:lnTo>
                  <a:pt x="138" y="150"/>
                </a:lnTo>
                <a:lnTo>
                  <a:pt x="138" y="144"/>
                </a:lnTo>
                <a:lnTo>
                  <a:pt x="144" y="144"/>
                </a:lnTo>
                <a:lnTo>
                  <a:pt x="144" y="138"/>
                </a:lnTo>
                <a:lnTo>
                  <a:pt x="150" y="132"/>
                </a:lnTo>
                <a:lnTo>
                  <a:pt x="150" y="126"/>
                </a:lnTo>
                <a:lnTo>
                  <a:pt x="156" y="126"/>
                </a:lnTo>
                <a:lnTo>
                  <a:pt x="162" y="126"/>
                </a:lnTo>
                <a:lnTo>
                  <a:pt x="168" y="126"/>
                </a:lnTo>
                <a:lnTo>
                  <a:pt x="174" y="126"/>
                </a:lnTo>
                <a:lnTo>
                  <a:pt x="180" y="126"/>
                </a:lnTo>
                <a:lnTo>
                  <a:pt x="180" y="120"/>
                </a:lnTo>
                <a:lnTo>
                  <a:pt x="180" y="114"/>
                </a:lnTo>
                <a:lnTo>
                  <a:pt x="174" y="114"/>
                </a:lnTo>
                <a:lnTo>
                  <a:pt x="180" y="114"/>
                </a:lnTo>
                <a:lnTo>
                  <a:pt x="180" y="108"/>
                </a:lnTo>
                <a:lnTo>
                  <a:pt x="180" y="102"/>
                </a:lnTo>
                <a:lnTo>
                  <a:pt x="180" y="96"/>
                </a:lnTo>
                <a:lnTo>
                  <a:pt x="186" y="90"/>
                </a:lnTo>
                <a:lnTo>
                  <a:pt x="186" y="84"/>
                </a:lnTo>
                <a:lnTo>
                  <a:pt x="186" y="78"/>
                </a:lnTo>
                <a:lnTo>
                  <a:pt x="192" y="78"/>
                </a:lnTo>
                <a:lnTo>
                  <a:pt x="192" y="72"/>
                </a:lnTo>
                <a:lnTo>
                  <a:pt x="192" y="66"/>
                </a:lnTo>
                <a:lnTo>
                  <a:pt x="198" y="66"/>
                </a:lnTo>
                <a:lnTo>
                  <a:pt x="198" y="60"/>
                </a:lnTo>
                <a:lnTo>
                  <a:pt x="192" y="60"/>
                </a:lnTo>
                <a:lnTo>
                  <a:pt x="192" y="54"/>
                </a:lnTo>
                <a:lnTo>
                  <a:pt x="198" y="48"/>
                </a:lnTo>
                <a:lnTo>
                  <a:pt x="198" y="42"/>
                </a:lnTo>
                <a:lnTo>
                  <a:pt x="198" y="36"/>
                </a:lnTo>
                <a:lnTo>
                  <a:pt x="204" y="36"/>
                </a:lnTo>
                <a:lnTo>
                  <a:pt x="210" y="36"/>
                </a:lnTo>
                <a:lnTo>
                  <a:pt x="216" y="36"/>
                </a:lnTo>
                <a:lnTo>
                  <a:pt x="222" y="36"/>
                </a:lnTo>
                <a:lnTo>
                  <a:pt x="228" y="36"/>
                </a:lnTo>
                <a:lnTo>
                  <a:pt x="228" y="30"/>
                </a:lnTo>
                <a:lnTo>
                  <a:pt x="234" y="30"/>
                </a:lnTo>
                <a:lnTo>
                  <a:pt x="234" y="24"/>
                </a:lnTo>
                <a:lnTo>
                  <a:pt x="240" y="24"/>
                </a:lnTo>
                <a:lnTo>
                  <a:pt x="240" y="30"/>
                </a:lnTo>
                <a:lnTo>
                  <a:pt x="240" y="24"/>
                </a:lnTo>
                <a:lnTo>
                  <a:pt x="240" y="30"/>
                </a:lnTo>
                <a:lnTo>
                  <a:pt x="246" y="30"/>
                </a:lnTo>
                <a:lnTo>
                  <a:pt x="246" y="36"/>
                </a:lnTo>
                <a:lnTo>
                  <a:pt x="252" y="36"/>
                </a:lnTo>
                <a:lnTo>
                  <a:pt x="252" y="42"/>
                </a:lnTo>
                <a:lnTo>
                  <a:pt x="252" y="48"/>
                </a:lnTo>
                <a:lnTo>
                  <a:pt x="258" y="48"/>
                </a:lnTo>
                <a:lnTo>
                  <a:pt x="258" y="42"/>
                </a:lnTo>
                <a:lnTo>
                  <a:pt x="258" y="36"/>
                </a:lnTo>
                <a:lnTo>
                  <a:pt x="264" y="30"/>
                </a:lnTo>
                <a:lnTo>
                  <a:pt x="264" y="24"/>
                </a:lnTo>
                <a:lnTo>
                  <a:pt x="270" y="18"/>
                </a:lnTo>
                <a:lnTo>
                  <a:pt x="270" y="12"/>
                </a:lnTo>
                <a:lnTo>
                  <a:pt x="270" y="6"/>
                </a:lnTo>
                <a:lnTo>
                  <a:pt x="276" y="0"/>
                </a:lnTo>
                <a:lnTo>
                  <a:pt x="276" y="6"/>
                </a:lnTo>
                <a:lnTo>
                  <a:pt x="282" y="6"/>
                </a:lnTo>
                <a:lnTo>
                  <a:pt x="282" y="12"/>
                </a:lnTo>
                <a:lnTo>
                  <a:pt x="288" y="12"/>
                </a:lnTo>
                <a:lnTo>
                  <a:pt x="294" y="12"/>
                </a:lnTo>
                <a:lnTo>
                  <a:pt x="294" y="18"/>
                </a:lnTo>
                <a:lnTo>
                  <a:pt x="300" y="18"/>
                </a:lnTo>
                <a:lnTo>
                  <a:pt x="300" y="24"/>
                </a:lnTo>
                <a:lnTo>
                  <a:pt x="306" y="24"/>
                </a:lnTo>
                <a:lnTo>
                  <a:pt x="306" y="30"/>
                </a:lnTo>
                <a:lnTo>
                  <a:pt x="312" y="30"/>
                </a:lnTo>
                <a:lnTo>
                  <a:pt x="318" y="30"/>
                </a:lnTo>
                <a:lnTo>
                  <a:pt x="318" y="24"/>
                </a:lnTo>
                <a:lnTo>
                  <a:pt x="324" y="24"/>
                </a:lnTo>
                <a:lnTo>
                  <a:pt x="330" y="24"/>
                </a:lnTo>
                <a:lnTo>
                  <a:pt x="336" y="24"/>
                </a:lnTo>
                <a:lnTo>
                  <a:pt x="336" y="18"/>
                </a:lnTo>
                <a:lnTo>
                  <a:pt x="342" y="18"/>
                </a:lnTo>
                <a:lnTo>
                  <a:pt x="348" y="18"/>
                </a:lnTo>
                <a:lnTo>
                  <a:pt x="348" y="24"/>
                </a:lnTo>
                <a:lnTo>
                  <a:pt x="348" y="30"/>
                </a:lnTo>
                <a:lnTo>
                  <a:pt x="348" y="24"/>
                </a:lnTo>
                <a:lnTo>
                  <a:pt x="354" y="24"/>
                </a:lnTo>
                <a:lnTo>
                  <a:pt x="360" y="24"/>
                </a:lnTo>
                <a:lnTo>
                  <a:pt x="366" y="24"/>
                </a:lnTo>
                <a:lnTo>
                  <a:pt x="366" y="18"/>
                </a:lnTo>
                <a:lnTo>
                  <a:pt x="366" y="24"/>
                </a:lnTo>
                <a:lnTo>
                  <a:pt x="372" y="24"/>
                </a:lnTo>
                <a:lnTo>
                  <a:pt x="378" y="24"/>
                </a:lnTo>
                <a:lnTo>
                  <a:pt x="384" y="24"/>
                </a:lnTo>
                <a:lnTo>
                  <a:pt x="384" y="30"/>
                </a:lnTo>
                <a:lnTo>
                  <a:pt x="390" y="30"/>
                </a:lnTo>
                <a:lnTo>
                  <a:pt x="390" y="24"/>
                </a:lnTo>
                <a:lnTo>
                  <a:pt x="396" y="24"/>
                </a:lnTo>
                <a:lnTo>
                  <a:pt x="402" y="24"/>
                </a:lnTo>
                <a:lnTo>
                  <a:pt x="402" y="30"/>
                </a:lnTo>
                <a:lnTo>
                  <a:pt x="408" y="30"/>
                </a:lnTo>
                <a:lnTo>
                  <a:pt x="414" y="30"/>
                </a:lnTo>
                <a:lnTo>
                  <a:pt x="414" y="36"/>
                </a:lnTo>
                <a:lnTo>
                  <a:pt x="420" y="36"/>
                </a:lnTo>
                <a:lnTo>
                  <a:pt x="420" y="42"/>
                </a:lnTo>
                <a:lnTo>
                  <a:pt x="426" y="42"/>
                </a:lnTo>
                <a:lnTo>
                  <a:pt x="432" y="42"/>
                </a:lnTo>
                <a:lnTo>
                  <a:pt x="438" y="42"/>
                </a:lnTo>
                <a:lnTo>
                  <a:pt x="438" y="48"/>
                </a:lnTo>
                <a:lnTo>
                  <a:pt x="444" y="48"/>
                </a:lnTo>
                <a:lnTo>
                  <a:pt x="444" y="54"/>
                </a:lnTo>
                <a:lnTo>
                  <a:pt x="450" y="54"/>
                </a:lnTo>
                <a:lnTo>
                  <a:pt x="450" y="60"/>
                </a:lnTo>
                <a:lnTo>
                  <a:pt x="456" y="66"/>
                </a:lnTo>
                <a:lnTo>
                  <a:pt x="456" y="72"/>
                </a:lnTo>
                <a:lnTo>
                  <a:pt x="462" y="72"/>
                </a:lnTo>
                <a:lnTo>
                  <a:pt x="462" y="78"/>
                </a:lnTo>
                <a:lnTo>
                  <a:pt x="468" y="78"/>
                </a:lnTo>
                <a:lnTo>
                  <a:pt x="468" y="84"/>
                </a:lnTo>
                <a:lnTo>
                  <a:pt x="474" y="84"/>
                </a:lnTo>
                <a:lnTo>
                  <a:pt x="480" y="90"/>
                </a:lnTo>
                <a:lnTo>
                  <a:pt x="486" y="90"/>
                </a:lnTo>
                <a:lnTo>
                  <a:pt x="486" y="96"/>
                </a:lnTo>
                <a:lnTo>
                  <a:pt x="492" y="96"/>
                </a:lnTo>
                <a:lnTo>
                  <a:pt x="492" y="102"/>
                </a:lnTo>
                <a:lnTo>
                  <a:pt x="498" y="108"/>
                </a:lnTo>
                <a:lnTo>
                  <a:pt x="498" y="114"/>
                </a:lnTo>
                <a:lnTo>
                  <a:pt x="504" y="120"/>
                </a:lnTo>
                <a:lnTo>
                  <a:pt x="510" y="120"/>
                </a:lnTo>
                <a:lnTo>
                  <a:pt x="510" y="126"/>
                </a:lnTo>
                <a:lnTo>
                  <a:pt x="516" y="126"/>
                </a:lnTo>
                <a:lnTo>
                  <a:pt x="516" y="132"/>
                </a:lnTo>
                <a:lnTo>
                  <a:pt x="522" y="132"/>
                </a:lnTo>
                <a:lnTo>
                  <a:pt x="522" y="138"/>
                </a:lnTo>
                <a:lnTo>
                  <a:pt x="528" y="138"/>
                </a:lnTo>
                <a:lnTo>
                  <a:pt x="522" y="144"/>
                </a:lnTo>
                <a:lnTo>
                  <a:pt x="522" y="150"/>
                </a:lnTo>
                <a:lnTo>
                  <a:pt x="516" y="150"/>
                </a:lnTo>
                <a:lnTo>
                  <a:pt x="516" y="156"/>
                </a:lnTo>
                <a:lnTo>
                  <a:pt x="510" y="156"/>
                </a:lnTo>
                <a:lnTo>
                  <a:pt x="510" y="162"/>
                </a:lnTo>
                <a:lnTo>
                  <a:pt x="510" y="168"/>
                </a:lnTo>
                <a:lnTo>
                  <a:pt x="504" y="168"/>
                </a:lnTo>
                <a:lnTo>
                  <a:pt x="504" y="174"/>
                </a:lnTo>
                <a:lnTo>
                  <a:pt x="498" y="174"/>
                </a:lnTo>
                <a:lnTo>
                  <a:pt x="498" y="180"/>
                </a:lnTo>
                <a:lnTo>
                  <a:pt x="492" y="180"/>
                </a:lnTo>
                <a:lnTo>
                  <a:pt x="492" y="186"/>
                </a:lnTo>
                <a:lnTo>
                  <a:pt x="492" y="192"/>
                </a:lnTo>
                <a:lnTo>
                  <a:pt x="492" y="198"/>
                </a:lnTo>
                <a:lnTo>
                  <a:pt x="492" y="204"/>
                </a:lnTo>
                <a:lnTo>
                  <a:pt x="492" y="210"/>
                </a:lnTo>
                <a:lnTo>
                  <a:pt x="492" y="216"/>
                </a:lnTo>
                <a:lnTo>
                  <a:pt x="492" y="222"/>
                </a:lnTo>
                <a:lnTo>
                  <a:pt x="492" y="228"/>
                </a:lnTo>
                <a:lnTo>
                  <a:pt x="498" y="228"/>
                </a:lnTo>
                <a:lnTo>
                  <a:pt x="504" y="228"/>
                </a:lnTo>
                <a:lnTo>
                  <a:pt x="510" y="228"/>
                </a:lnTo>
                <a:lnTo>
                  <a:pt x="510" y="222"/>
                </a:lnTo>
                <a:lnTo>
                  <a:pt x="516" y="222"/>
                </a:lnTo>
                <a:lnTo>
                  <a:pt x="516" y="228"/>
                </a:lnTo>
                <a:lnTo>
                  <a:pt x="516" y="222"/>
                </a:lnTo>
                <a:lnTo>
                  <a:pt x="522" y="222"/>
                </a:lnTo>
                <a:lnTo>
                  <a:pt x="528" y="222"/>
                </a:lnTo>
                <a:lnTo>
                  <a:pt x="534" y="222"/>
                </a:lnTo>
                <a:lnTo>
                  <a:pt x="540" y="216"/>
                </a:lnTo>
                <a:lnTo>
                  <a:pt x="540" y="222"/>
                </a:lnTo>
                <a:lnTo>
                  <a:pt x="546" y="222"/>
                </a:lnTo>
                <a:lnTo>
                  <a:pt x="552" y="222"/>
                </a:lnTo>
                <a:lnTo>
                  <a:pt x="558" y="222"/>
                </a:lnTo>
                <a:lnTo>
                  <a:pt x="552" y="228"/>
                </a:lnTo>
                <a:lnTo>
                  <a:pt x="552" y="234"/>
                </a:lnTo>
                <a:lnTo>
                  <a:pt x="546" y="234"/>
                </a:lnTo>
                <a:lnTo>
                  <a:pt x="546" y="240"/>
                </a:lnTo>
                <a:lnTo>
                  <a:pt x="540" y="246"/>
                </a:lnTo>
                <a:lnTo>
                  <a:pt x="540" y="252"/>
                </a:lnTo>
                <a:lnTo>
                  <a:pt x="546" y="252"/>
                </a:lnTo>
                <a:lnTo>
                  <a:pt x="546" y="258"/>
                </a:lnTo>
                <a:lnTo>
                  <a:pt x="546" y="264"/>
                </a:lnTo>
                <a:lnTo>
                  <a:pt x="552" y="264"/>
                </a:lnTo>
                <a:lnTo>
                  <a:pt x="552" y="270"/>
                </a:lnTo>
                <a:lnTo>
                  <a:pt x="558" y="276"/>
                </a:lnTo>
                <a:lnTo>
                  <a:pt x="558" y="282"/>
                </a:lnTo>
                <a:lnTo>
                  <a:pt x="564" y="282"/>
                </a:lnTo>
                <a:lnTo>
                  <a:pt x="564" y="288"/>
                </a:lnTo>
                <a:lnTo>
                  <a:pt x="570" y="288"/>
                </a:lnTo>
                <a:lnTo>
                  <a:pt x="576" y="294"/>
                </a:lnTo>
                <a:lnTo>
                  <a:pt x="576" y="300"/>
                </a:lnTo>
                <a:lnTo>
                  <a:pt x="576" y="306"/>
                </a:lnTo>
                <a:lnTo>
                  <a:pt x="582" y="306"/>
                </a:lnTo>
                <a:lnTo>
                  <a:pt x="582" y="312"/>
                </a:lnTo>
                <a:lnTo>
                  <a:pt x="588" y="312"/>
                </a:lnTo>
                <a:lnTo>
                  <a:pt x="588" y="318"/>
                </a:lnTo>
                <a:lnTo>
                  <a:pt x="594" y="318"/>
                </a:lnTo>
                <a:lnTo>
                  <a:pt x="600" y="318"/>
                </a:lnTo>
                <a:lnTo>
                  <a:pt x="600" y="324"/>
                </a:lnTo>
                <a:lnTo>
                  <a:pt x="606" y="324"/>
                </a:lnTo>
                <a:lnTo>
                  <a:pt x="606" y="330"/>
                </a:lnTo>
                <a:lnTo>
                  <a:pt x="612" y="336"/>
                </a:lnTo>
                <a:lnTo>
                  <a:pt x="618" y="336"/>
                </a:lnTo>
                <a:lnTo>
                  <a:pt x="624" y="342"/>
                </a:lnTo>
                <a:lnTo>
                  <a:pt x="630" y="342"/>
                </a:lnTo>
                <a:lnTo>
                  <a:pt x="636" y="342"/>
                </a:lnTo>
                <a:lnTo>
                  <a:pt x="642" y="348"/>
                </a:lnTo>
                <a:lnTo>
                  <a:pt x="648" y="348"/>
                </a:lnTo>
                <a:lnTo>
                  <a:pt x="654" y="348"/>
                </a:lnTo>
                <a:lnTo>
                  <a:pt x="660" y="354"/>
                </a:lnTo>
                <a:lnTo>
                  <a:pt x="666" y="354"/>
                </a:lnTo>
                <a:lnTo>
                  <a:pt x="672" y="354"/>
                </a:lnTo>
                <a:lnTo>
                  <a:pt x="678" y="360"/>
                </a:lnTo>
                <a:lnTo>
                  <a:pt x="684" y="360"/>
                </a:lnTo>
                <a:lnTo>
                  <a:pt x="696" y="366"/>
                </a:lnTo>
                <a:lnTo>
                  <a:pt x="702" y="366"/>
                </a:lnTo>
                <a:lnTo>
                  <a:pt x="708" y="366"/>
                </a:lnTo>
                <a:lnTo>
                  <a:pt x="714" y="372"/>
                </a:lnTo>
                <a:lnTo>
                  <a:pt x="720" y="372"/>
                </a:lnTo>
                <a:lnTo>
                  <a:pt x="726" y="372"/>
                </a:lnTo>
                <a:lnTo>
                  <a:pt x="732" y="378"/>
                </a:lnTo>
                <a:lnTo>
                  <a:pt x="738" y="378"/>
                </a:lnTo>
                <a:lnTo>
                  <a:pt x="744" y="378"/>
                </a:lnTo>
                <a:lnTo>
                  <a:pt x="750" y="384"/>
                </a:lnTo>
                <a:lnTo>
                  <a:pt x="756" y="384"/>
                </a:lnTo>
                <a:lnTo>
                  <a:pt x="762" y="384"/>
                </a:lnTo>
                <a:lnTo>
                  <a:pt x="768" y="390"/>
                </a:lnTo>
                <a:lnTo>
                  <a:pt x="774" y="390"/>
                </a:lnTo>
                <a:lnTo>
                  <a:pt x="780" y="390"/>
                </a:lnTo>
                <a:lnTo>
                  <a:pt x="786" y="390"/>
                </a:lnTo>
                <a:lnTo>
                  <a:pt x="792" y="390"/>
                </a:lnTo>
                <a:lnTo>
                  <a:pt x="798" y="390"/>
                </a:lnTo>
                <a:lnTo>
                  <a:pt x="804" y="390"/>
                </a:lnTo>
                <a:lnTo>
                  <a:pt x="810" y="390"/>
                </a:lnTo>
                <a:lnTo>
                  <a:pt x="816" y="390"/>
                </a:lnTo>
                <a:lnTo>
                  <a:pt x="822" y="390"/>
                </a:lnTo>
                <a:lnTo>
                  <a:pt x="828" y="390"/>
                </a:lnTo>
                <a:lnTo>
                  <a:pt x="834" y="390"/>
                </a:lnTo>
                <a:lnTo>
                  <a:pt x="810" y="420"/>
                </a:lnTo>
                <a:lnTo>
                  <a:pt x="798" y="432"/>
                </a:lnTo>
                <a:lnTo>
                  <a:pt x="774" y="456"/>
                </a:lnTo>
                <a:lnTo>
                  <a:pt x="768" y="462"/>
                </a:lnTo>
                <a:lnTo>
                  <a:pt x="756" y="474"/>
                </a:lnTo>
                <a:lnTo>
                  <a:pt x="750" y="480"/>
                </a:lnTo>
                <a:lnTo>
                  <a:pt x="702" y="534"/>
                </a:lnTo>
                <a:lnTo>
                  <a:pt x="672" y="558"/>
                </a:lnTo>
                <a:lnTo>
                  <a:pt x="672" y="564"/>
                </a:lnTo>
                <a:lnTo>
                  <a:pt x="666" y="564"/>
                </a:lnTo>
                <a:lnTo>
                  <a:pt x="648" y="564"/>
                </a:lnTo>
                <a:lnTo>
                  <a:pt x="630" y="564"/>
                </a:lnTo>
                <a:lnTo>
                  <a:pt x="618" y="564"/>
                </a:lnTo>
                <a:lnTo>
                  <a:pt x="612" y="564"/>
                </a:lnTo>
                <a:lnTo>
                  <a:pt x="606" y="564"/>
                </a:lnTo>
                <a:lnTo>
                  <a:pt x="594" y="570"/>
                </a:lnTo>
                <a:lnTo>
                  <a:pt x="588" y="570"/>
                </a:lnTo>
                <a:lnTo>
                  <a:pt x="582" y="570"/>
                </a:lnTo>
                <a:lnTo>
                  <a:pt x="576" y="576"/>
                </a:lnTo>
                <a:lnTo>
                  <a:pt x="570" y="576"/>
                </a:lnTo>
                <a:lnTo>
                  <a:pt x="570" y="582"/>
                </a:lnTo>
                <a:lnTo>
                  <a:pt x="564" y="582"/>
                </a:lnTo>
                <a:lnTo>
                  <a:pt x="558" y="582"/>
                </a:lnTo>
                <a:lnTo>
                  <a:pt x="558" y="588"/>
                </a:lnTo>
                <a:lnTo>
                  <a:pt x="558" y="594"/>
                </a:lnTo>
                <a:lnTo>
                  <a:pt x="552" y="594"/>
                </a:lnTo>
                <a:lnTo>
                  <a:pt x="552" y="600"/>
                </a:lnTo>
                <a:lnTo>
                  <a:pt x="546" y="600"/>
                </a:lnTo>
                <a:lnTo>
                  <a:pt x="540" y="600"/>
                </a:lnTo>
                <a:lnTo>
                  <a:pt x="540" y="606"/>
                </a:lnTo>
                <a:lnTo>
                  <a:pt x="534" y="606"/>
                </a:lnTo>
                <a:lnTo>
                  <a:pt x="528" y="606"/>
                </a:lnTo>
                <a:lnTo>
                  <a:pt x="522" y="606"/>
                </a:lnTo>
                <a:lnTo>
                  <a:pt x="516" y="606"/>
                </a:lnTo>
                <a:lnTo>
                  <a:pt x="510" y="606"/>
                </a:lnTo>
                <a:lnTo>
                  <a:pt x="504" y="606"/>
                </a:lnTo>
                <a:lnTo>
                  <a:pt x="504" y="612"/>
                </a:lnTo>
                <a:lnTo>
                  <a:pt x="498" y="612"/>
                </a:lnTo>
                <a:lnTo>
                  <a:pt x="498" y="618"/>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2" name="Freeform 33">
            <a:extLst>
              <a:ext uri="{FF2B5EF4-FFF2-40B4-BE49-F238E27FC236}">
                <a16:creationId xmlns:a16="http://schemas.microsoft.com/office/drawing/2014/main" id="{B47C12FF-FCF9-7D43-AA0F-09EF6FBD8329}"/>
              </a:ext>
            </a:extLst>
          </p:cNvPr>
          <p:cNvSpPr>
            <a:spLocks/>
          </p:cNvSpPr>
          <p:nvPr>
            <p:custDataLst>
              <p:tags r:id="rId30"/>
            </p:custDataLst>
          </p:nvPr>
        </p:nvSpPr>
        <p:spPr bwMode="gray">
          <a:xfrm>
            <a:off x="5440907" y="4340180"/>
            <a:ext cx="350454" cy="274989"/>
          </a:xfrm>
          <a:custGeom>
            <a:avLst/>
            <a:gdLst>
              <a:gd name="T0" fmla="*/ 79935 w 306"/>
              <a:gd name="T1" fmla="*/ 103219 h 318"/>
              <a:gd name="T2" fmla="*/ 71268 w 306"/>
              <a:gd name="T3" fmla="*/ 103219 h 318"/>
              <a:gd name="T4" fmla="*/ 63563 w 306"/>
              <a:gd name="T5" fmla="*/ 103219 h 318"/>
              <a:gd name="T6" fmla="*/ 54896 w 306"/>
              <a:gd name="T7" fmla="*/ 103219 h 318"/>
              <a:gd name="T8" fmla="*/ 46227 w 306"/>
              <a:gd name="T9" fmla="*/ 103219 h 318"/>
              <a:gd name="T10" fmla="*/ 37560 w 306"/>
              <a:gd name="T11" fmla="*/ 103219 h 318"/>
              <a:gd name="T12" fmla="*/ 29855 w 306"/>
              <a:gd name="T13" fmla="*/ 103219 h 318"/>
              <a:gd name="T14" fmla="*/ 23114 w 306"/>
              <a:gd name="T15" fmla="*/ 105167 h 318"/>
              <a:gd name="T16" fmla="*/ 14446 w 306"/>
              <a:gd name="T17" fmla="*/ 105167 h 318"/>
              <a:gd name="T18" fmla="*/ 12520 w 306"/>
              <a:gd name="T19" fmla="*/ 111983 h 318"/>
              <a:gd name="T20" fmla="*/ 8668 w 306"/>
              <a:gd name="T21" fmla="*/ 111983 h 318"/>
              <a:gd name="T22" fmla="*/ 3852 w 306"/>
              <a:gd name="T23" fmla="*/ 111983 h 318"/>
              <a:gd name="T24" fmla="*/ 1926 w 306"/>
              <a:gd name="T25" fmla="*/ 107115 h 318"/>
              <a:gd name="T26" fmla="*/ 1926 w 306"/>
              <a:gd name="T27" fmla="*/ 105167 h 318"/>
              <a:gd name="T28" fmla="*/ 1926 w 306"/>
              <a:gd name="T29" fmla="*/ 97377 h 318"/>
              <a:gd name="T30" fmla="*/ 3852 w 306"/>
              <a:gd name="T31" fmla="*/ 87639 h 318"/>
              <a:gd name="T32" fmla="*/ 3852 w 306"/>
              <a:gd name="T33" fmla="*/ 79849 h 318"/>
              <a:gd name="T34" fmla="*/ 8668 w 306"/>
              <a:gd name="T35" fmla="*/ 74980 h 318"/>
              <a:gd name="T36" fmla="*/ 8668 w 306"/>
              <a:gd name="T37" fmla="*/ 67190 h 318"/>
              <a:gd name="T38" fmla="*/ 14446 w 306"/>
              <a:gd name="T39" fmla="*/ 64269 h 318"/>
              <a:gd name="T40" fmla="*/ 17335 w 306"/>
              <a:gd name="T41" fmla="*/ 60374 h 318"/>
              <a:gd name="T42" fmla="*/ 23114 w 306"/>
              <a:gd name="T43" fmla="*/ 56478 h 318"/>
              <a:gd name="T44" fmla="*/ 26966 w 306"/>
              <a:gd name="T45" fmla="*/ 49662 h 318"/>
              <a:gd name="T46" fmla="*/ 33707 w 306"/>
              <a:gd name="T47" fmla="*/ 42846 h 318"/>
              <a:gd name="T48" fmla="*/ 31782 w 306"/>
              <a:gd name="T49" fmla="*/ 38950 h 318"/>
              <a:gd name="T50" fmla="*/ 26003 w 306"/>
              <a:gd name="T51" fmla="*/ 37003 h 318"/>
              <a:gd name="T52" fmla="*/ 26003 w 306"/>
              <a:gd name="T53" fmla="*/ 32134 h 318"/>
              <a:gd name="T54" fmla="*/ 26966 w 306"/>
              <a:gd name="T55" fmla="*/ 26291 h 318"/>
              <a:gd name="T56" fmla="*/ 26003 w 306"/>
              <a:gd name="T57" fmla="*/ 23371 h 318"/>
              <a:gd name="T58" fmla="*/ 26966 w 306"/>
              <a:gd name="T59" fmla="*/ 17528 h 318"/>
              <a:gd name="T60" fmla="*/ 26003 w 306"/>
              <a:gd name="T61" fmla="*/ 14606 h 318"/>
              <a:gd name="T62" fmla="*/ 29855 w 306"/>
              <a:gd name="T63" fmla="*/ 8764 h 318"/>
              <a:gd name="T64" fmla="*/ 37560 w 306"/>
              <a:gd name="T65" fmla="*/ 8764 h 318"/>
              <a:gd name="T66" fmla="*/ 42375 w 306"/>
              <a:gd name="T67" fmla="*/ 8764 h 318"/>
              <a:gd name="T68" fmla="*/ 46227 w 306"/>
              <a:gd name="T69" fmla="*/ 8764 h 318"/>
              <a:gd name="T70" fmla="*/ 51043 w 306"/>
              <a:gd name="T71" fmla="*/ 12659 h 318"/>
              <a:gd name="T72" fmla="*/ 56821 w 306"/>
              <a:gd name="T73" fmla="*/ 8764 h 318"/>
              <a:gd name="T74" fmla="*/ 65489 w 306"/>
              <a:gd name="T75" fmla="*/ 8764 h 318"/>
              <a:gd name="T76" fmla="*/ 71268 w 306"/>
              <a:gd name="T77" fmla="*/ 8764 h 318"/>
              <a:gd name="T78" fmla="*/ 79935 w 306"/>
              <a:gd name="T79" fmla="*/ 8764 h 318"/>
              <a:gd name="T80" fmla="*/ 86676 w 306"/>
              <a:gd name="T81" fmla="*/ 0 h 318"/>
              <a:gd name="T82" fmla="*/ 90529 w 306"/>
              <a:gd name="T83" fmla="*/ 3895 h 318"/>
              <a:gd name="T84" fmla="*/ 93418 w 306"/>
              <a:gd name="T85" fmla="*/ 6816 h 318"/>
              <a:gd name="T86" fmla="*/ 93418 w 306"/>
              <a:gd name="T87" fmla="*/ 10712 h 318"/>
              <a:gd name="T88" fmla="*/ 97270 w 306"/>
              <a:gd name="T89" fmla="*/ 10712 h 318"/>
              <a:gd name="T90" fmla="*/ 95345 w 306"/>
              <a:gd name="T91" fmla="*/ 17528 h 318"/>
              <a:gd name="T92" fmla="*/ 99197 w 306"/>
              <a:gd name="T93" fmla="*/ 21423 h 318"/>
              <a:gd name="T94" fmla="*/ 101123 w 306"/>
              <a:gd name="T95" fmla="*/ 28240 h 318"/>
              <a:gd name="T96" fmla="*/ 104975 w 306"/>
              <a:gd name="T97" fmla="*/ 32134 h 318"/>
              <a:gd name="T98" fmla="*/ 104975 w 306"/>
              <a:gd name="T99" fmla="*/ 40898 h 318"/>
              <a:gd name="T100" fmla="*/ 107865 w 306"/>
              <a:gd name="T101" fmla="*/ 49662 h 318"/>
              <a:gd name="T102" fmla="*/ 104012 w 306"/>
              <a:gd name="T103" fmla="*/ 53557 h 318"/>
              <a:gd name="T104" fmla="*/ 101123 w 306"/>
              <a:gd name="T105" fmla="*/ 60374 h 318"/>
              <a:gd name="T106" fmla="*/ 97270 w 306"/>
              <a:gd name="T107" fmla="*/ 64269 h 318"/>
              <a:gd name="T108" fmla="*/ 93418 w 306"/>
              <a:gd name="T109" fmla="*/ 69137 h 318"/>
              <a:gd name="T110" fmla="*/ 90529 w 306"/>
              <a:gd name="T111" fmla="*/ 74980 h 318"/>
              <a:gd name="T112" fmla="*/ 88603 w 306"/>
              <a:gd name="T113" fmla="*/ 77902 h 318"/>
              <a:gd name="T114" fmla="*/ 86676 w 306"/>
              <a:gd name="T115" fmla="*/ 83744 h 318"/>
              <a:gd name="T116" fmla="*/ 86676 w 306"/>
              <a:gd name="T117" fmla="*/ 92508 h 318"/>
              <a:gd name="T118" fmla="*/ 86676 w 306"/>
              <a:gd name="T119" fmla="*/ 101272 h 3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 h="318">
                <a:moveTo>
                  <a:pt x="246" y="288"/>
                </a:moveTo>
                <a:lnTo>
                  <a:pt x="240" y="288"/>
                </a:lnTo>
                <a:lnTo>
                  <a:pt x="234" y="288"/>
                </a:lnTo>
                <a:lnTo>
                  <a:pt x="228" y="288"/>
                </a:lnTo>
                <a:lnTo>
                  <a:pt x="222" y="288"/>
                </a:lnTo>
                <a:lnTo>
                  <a:pt x="216" y="288"/>
                </a:lnTo>
                <a:lnTo>
                  <a:pt x="210" y="288"/>
                </a:lnTo>
                <a:lnTo>
                  <a:pt x="204" y="288"/>
                </a:lnTo>
                <a:lnTo>
                  <a:pt x="198" y="288"/>
                </a:lnTo>
                <a:lnTo>
                  <a:pt x="192" y="288"/>
                </a:lnTo>
                <a:lnTo>
                  <a:pt x="186" y="288"/>
                </a:lnTo>
                <a:lnTo>
                  <a:pt x="180" y="288"/>
                </a:lnTo>
                <a:lnTo>
                  <a:pt x="174" y="288"/>
                </a:lnTo>
                <a:lnTo>
                  <a:pt x="168" y="288"/>
                </a:lnTo>
                <a:lnTo>
                  <a:pt x="162" y="288"/>
                </a:lnTo>
                <a:lnTo>
                  <a:pt x="156" y="288"/>
                </a:lnTo>
                <a:lnTo>
                  <a:pt x="150" y="288"/>
                </a:lnTo>
                <a:lnTo>
                  <a:pt x="144" y="288"/>
                </a:lnTo>
                <a:lnTo>
                  <a:pt x="138" y="288"/>
                </a:lnTo>
                <a:lnTo>
                  <a:pt x="132" y="288"/>
                </a:lnTo>
                <a:lnTo>
                  <a:pt x="126" y="288"/>
                </a:lnTo>
                <a:lnTo>
                  <a:pt x="120" y="288"/>
                </a:lnTo>
                <a:lnTo>
                  <a:pt x="114" y="288"/>
                </a:lnTo>
                <a:lnTo>
                  <a:pt x="108" y="288"/>
                </a:lnTo>
                <a:lnTo>
                  <a:pt x="102" y="288"/>
                </a:lnTo>
                <a:lnTo>
                  <a:pt x="96" y="288"/>
                </a:lnTo>
                <a:lnTo>
                  <a:pt x="90" y="288"/>
                </a:lnTo>
                <a:lnTo>
                  <a:pt x="84" y="288"/>
                </a:lnTo>
                <a:lnTo>
                  <a:pt x="78" y="288"/>
                </a:lnTo>
                <a:lnTo>
                  <a:pt x="72" y="288"/>
                </a:lnTo>
                <a:lnTo>
                  <a:pt x="66" y="288"/>
                </a:lnTo>
                <a:lnTo>
                  <a:pt x="66" y="294"/>
                </a:lnTo>
                <a:lnTo>
                  <a:pt x="60" y="294"/>
                </a:lnTo>
                <a:lnTo>
                  <a:pt x="54" y="294"/>
                </a:lnTo>
                <a:lnTo>
                  <a:pt x="48" y="294"/>
                </a:lnTo>
                <a:lnTo>
                  <a:pt x="42" y="294"/>
                </a:lnTo>
                <a:lnTo>
                  <a:pt x="42" y="300"/>
                </a:lnTo>
                <a:lnTo>
                  <a:pt x="42" y="306"/>
                </a:lnTo>
                <a:lnTo>
                  <a:pt x="36" y="306"/>
                </a:lnTo>
                <a:lnTo>
                  <a:pt x="36" y="312"/>
                </a:lnTo>
                <a:lnTo>
                  <a:pt x="36" y="306"/>
                </a:lnTo>
                <a:lnTo>
                  <a:pt x="36" y="312"/>
                </a:lnTo>
                <a:lnTo>
                  <a:pt x="30" y="312"/>
                </a:lnTo>
                <a:lnTo>
                  <a:pt x="24" y="312"/>
                </a:lnTo>
                <a:lnTo>
                  <a:pt x="24" y="318"/>
                </a:lnTo>
                <a:lnTo>
                  <a:pt x="18" y="312"/>
                </a:lnTo>
                <a:lnTo>
                  <a:pt x="18" y="306"/>
                </a:lnTo>
                <a:lnTo>
                  <a:pt x="12" y="312"/>
                </a:lnTo>
                <a:lnTo>
                  <a:pt x="12" y="306"/>
                </a:lnTo>
                <a:lnTo>
                  <a:pt x="6" y="312"/>
                </a:lnTo>
                <a:lnTo>
                  <a:pt x="6" y="306"/>
                </a:lnTo>
                <a:lnTo>
                  <a:pt x="6" y="300"/>
                </a:lnTo>
                <a:lnTo>
                  <a:pt x="0" y="300"/>
                </a:lnTo>
                <a:lnTo>
                  <a:pt x="6" y="300"/>
                </a:lnTo>
                <a:lnTo>
                  <a:pt x="0" y="294"/>
                </a:lnTo>
                <a:lnTo>
                  <a:pt x="6" y="294"/>
                </a:lnTo>
                <a:lnTo>
                  <a:pt x="6" y="288"/>
                </a:lnTo>
                <a:lnTo>
                  <a:pt x="6" y="282"/>
                </a:lnTo>
                <a:lnTo>
                  <a:pt x="6" y="276"/>
                </a:lnTo>
                <a:lnTo>
                  <a:pt x="6" y="270"/>
                </a:lnTo>
                <a:lnTo>
                  <a:pt x="6" y="264"/>
                </a:lnTo>
                <a:lnTo>
                  <a:pt x="6" y="258"/>
                </a:lnTo>
                <a:lnTo>
                  <a:pt x="6" y="252"/>
                </a:lnTo>
                <a:lnTo>
                  <a:pt x="12" y="246"/>
                </a:lnTo>
                <a:lnTo>
                  <a:pt x="12" y="240"/>
                </a:lnTo>
                <a:lnTo>
                  <a:pt x="12" y="234"/>
                </a:lnTo>
                <a:lnTo>
                  <a:pt x="12" y="228"/>
                </a:lnTo>
                <a:lnTo>
                  <a:pt x="12" y="222"/>
                </a:lnTo>
                <a:lnTo>
                  <a:pt x="18" y="222"/>
                </a:lnTo>
                <a:lnTo>
                  <a:pt x="18" y="216"/>
                </a:lnTo>
                <a:lnTo>
                  <a:pt x="18" y="210"/>
                </a:lnTo>
                <a:lnTo>
                  <a:pt x="24" y="210"/>
                </a:lnTo>
                <a:lnTo>
                  <a:pt x="24" y="204"/>
                </a:lnTo>
                <a:lnTo>
                  <a:pt x="24" y="198"/>
                </a:lnTo>
                <a:lnTo>
                  <a:pt x="24" y="192"/>
                </a:lnTo>
                <a:lnTo>
                  <a:pt x="24" y="186"/>
                </a:lnTo>
                <a:lnTo>
                  <a:pt x="30" y="186"/>
                </a:lnTo>
                <a:lnTo>
                  <a:pt x="36" y="186"/>
                </a:lnTo>
                <a:lnTo>
                  <a:pt x="36" y="180"/>
                </a:lnTo>
                <a:lnTo>
                  <a:pt x="42" y="180"/>
                </a:lnTo>
                <a:lnTo>
                  <a:pt x="36" y="180"/>
                </a:lnTo>
                <a:lnTo>
                  <a:pt x="42" y="174"/>
                </a:lnTo>
                <a:lnTo>
                  <a:pt x="42" y="168"/>
                </a:lnTo>
                <a:lnTo>
                  <a:pt x="48" y="168"/>
                </a:lnTo>
                <a:lnTo>
                  <a:pt x="54" y="168"/>
                </a:lnTo>
                <a:lnTo>
                  <a:pt x="54" y="162"/>
                </a:lnTo>
                <a:lnTo>
                  <a:pt x="60" y="156"/>
                </a:lnTo>
                <a:lnTo>
                  <a:pt x="66" y="156"/>
                </a:lnTo>
                <a:lnTo>
                  <a:pt x="66" y="150"/>
                </a:lnTo>
                <a:lnTo>
                  <a:pt x="72" y="144"/>
                </a:lnTo>
                <a:lnTo>
                  <a:pt x="78" y="144"/>
                </a:lnTo>
                <a:lnTo>
                  <a:pt x="78" y="138"/>
                </a:lnTo>
                <a:lnTo>
                  <a:pt x="84" y="138"/>
                </a:lnTo>
                <a:lnTo>
                  <a:pt x="84" y="132"/>
                </a:lnTo>
                <a:lnTo>
                  <a:pt x="90" y="126"/>
                </a:lnTo>
                <a:lnTo>
                  <a:pt x="96" y="120"/>
                </a:lnTo>
                <a:lnTo>
                  <a:pt x="102" y="114"/>
                </a:lnTo>
                <a:lnTo>
                  <a:pt x="96" y="114"/>
                </a:lnTo>
                <a:lnTo>
                  <a:pt x="96" y="108"/>
                </a:lnTo>
                <a:lnTo>
                  <a:pt x="90" y="108"/>
                </a:lnTo>
                <a:lnTo>
                  <a:pt x="84" y="108"/>
                </a:lnTo>
                <a:lnTo>
                  <a:pt x="84" y="102"/>
                </a:lnTo>
                <a:lnTo>
                  <a:pt x="78" y="102"/>
                </a:lnTo>
                <a:lnTo>
                  <a:pt x="72" y="102"/>
                </a:lnTo>
                <a:lnTo>
                  <a:pt x="72" y="96"/>
                </a:lnTo>
                <a:lnTo>
                  <a:pt x="66" y="96"/>
                </a:lnTo>
                <a:lnTo>
                  <a:pt x="66" y="90"/>
                </a:lnTo>
                <a:lnTo>
                  <a:pt x="72" y="90"/>
                </a:lnTo>
                <a:lnTo>
                  <a:pt x="72" y="84"/>
                </a:lnTo>
                <a:lnTo>
                  <a:pt x="72" y="78"/>
                </a:lnTo>
                <a:lnTo>
                  <a:pt x="78" y="78"/>
                </a:lnTo>
                <a:lnTo>
                  <a:pt x="78" y="72"/>
                </a:lnTo>
                <a:lnTo>
                  <a:pt x="72" y="72"/>
                </a:lnTo>
                <a:lnTo>
                  <a:pt x="72" y="66"/>
                </a:lnTo>
                <a:lnTo>
                  <a:pt x="66" y="66"/>
                </a:lnTo>
                <a:lnTo>
                  <a:pt x="72" y="66"/>
                </a:lnTo>
                <a:lnTo>
                  <a:pt x="72" y="60"/>
                </a:lnTo>
                <a:lnTo>
                  <a:pt x="72" y="54"/>
                </a:lnTo>
                <a:lnTo>
                  <a:pt x="72" y="48"/>
                </a:lnTo>
                <a:lnTo>
                  <a:pt x="78" y="48"/>
                </a:lnTo>
                <a:lnTo>
                  <a:pt x="78" y="42"/>
                </a:lnTo>
                <a:lnTo>
                  <a:pt x="78" y="36"/>
                </a:lnTo>
                <a:lnTo>
                  <a:pt x="78" y="42"/>
                </a:lnTo>
                <a:lnTo>
                  <a:pt x="72" y="42"/>
                </a:lnTo>
                <a:lnTo>
                  <a:pt x="78" y="36"/>
                </a:lnTo>
                <a:lnTo>
                  <a:pt x="78" y="30"/>
                </a:lnTo>
                <a:lnTo>
                  <a:pt x="84" y="30"/>
                </a:lnTo>
                <a:lnTo>
                  <a:pt x="84" y="24"/>
                </a:lnTo>
                <a:lnTo>
                  <a:pt x="90" y="24"/>
                </a:lnTo>
                <a:lnTo>
                  <a:pt x="96" y="24"/>
                </a:lnTo>
                <a:lnTo>
                  <a:pt x="102" y="24"/>
                </a:lnTo>
                <a:lnTo>
                  <a:pt x="108" y="24"/>
                </a:lnTo>
                <a:lnTo>
                  <a:pt x="108" y="30"/>
                </a:lnTo>
                <a:lnTo>
                  <a:pt x="114" y="30"/>
                </a:lnTo>
                <a:lnTo>
                  <a:pt x="120" y="30"/>
                </a:lnTo>
                <a:lnTo>
                  <a:pt x="120" y="24"/>
                </a:lnTo>
                <a:lnTo>
                  <a:pt x="126" y="24"/>
                </a:lnTo>
                <a:lnTo>
                  <a:pt x="126" y="18"/>
                </a:lnTo>
                <a:lnTo>
                  <a:pt x="126" y="24"/>
                </a:lnTo>
                <a:lnTo>
                  <a:pt x="132" y="24"/>
                </a:lnTo>
                <a:lnTo>
                  <a:pt x="132" y="30"/>
                </a:lnTo>
                <a:lnTo>
                  <a:pt x="138" y="30"/>
                </a:lnTo>
                <a:lnTo>
                  <a:pt x="138" y="36"/>
                </a:lnTo>
                <a:lnTo>
                  <a:pt x="144" y="36"/>
                </a:lnTo>
                <a:lnTo>
                  <a:pt x="150" y="36"/>
                </a:lnTo>
                <a:lnTo>
                  <a:pt x="150" y="30"/>
                </a:lnTo>
                <a:lnTo>
                  <a:pt x="156" y="30"/>
                </a:lnTo>
                <a:lnTo>
                  <a:pt x="162" y="24"/>
                </a:lnTo>
                <a:lnTo>
                  <a:pt x="168" y="24"/>
                </a:lnTo>
                <a:lnTo>
                  <a:pt x="174" y="24"/>
                </a:lnTo>
                <a:lnTo>
                  <a:pt x="180" y="24"/>
                </a:lnTo>
                <a:lnTo>
                  <a:pt x="186" y="24"/>
                </a:lnTo>
                <a:lnTo>
                  <a:pt x="186" y="18"/>
                </a:lnTo>
                <a:lnTo>
                  <a:pt x="192" y="18"/>
                </a:lnTo>
                <a:lnTo>
                  <a:pt x="198" y="18"/>
                </a:lnTo>
                <a:lnTo>
                  <a:pt x="204" y="24"/>
                </a:lnTo>
                <a:lnTo>
                  <a:pt x="210" y="24"/>
                </a:lnTo>
                <a:lnTo>
                  <a:pt x="216" y="24"/>
                </a:lnTo>
                <a:lnTo>
                  <a:pt x="222" y="24"/>
                </a:lnTo>
                <a:lnTo>
                  <a:pt x="228" y="24"/>
                </a:lnTo>
                <a:lnTo>
                  <a:pt x="228" y="18"/>
                </a:lnTo>
                <a:lnTo>
                  <a:pt x="234" y="12"/>
                </a:lnTo>
                <a:lnTo>
                  <a:pt x="240" y="6"/>
                </a:lnTo>
                <a:lnTo>
                  <a:pt x="246" y="0"/>
                </a:lnTo>
                <a:lnTo>
                  <a:pt x="252" y="0"/>
                </a:lnTo>
                <a:lnTo>
                  <a:pt x="252" y="6"/>
                </a:lnTo>
                <a:lnTo>
                  <a:pt x="252" y="12"/>
                </a:lnTo>
                <a:lnTo>
                  <a:pt x="258" y="12"/>
                </a:lnTo>
                <a:lnTo>
                  <a:pt x="258" y="18"/>
                </a:lnTo>
                <a:lnTo>
                  <a:pt x="252" y="18"/>
                </a:lnTo>
                <a:lnTo>
                  <a:pt x="258" y="18"/>
                </a:lnTo>
                <a:lnTo>
                  <a:pt x="264" y="18"/>
                </a:lnTo>
                <a:lnTo>
                  <a:pt x="258" y="18"/>
                </a:lnTo>
                <a:lnTo>
                  <a:pt x="258" y="24"/>
                </a:lnTo>
                <a:lnTo>
                  <a:pt x="264" y="24"/>
                </a:lnTo>
                <a:lnTo>
                  <a:pt x="264" y="30"/>
                </a:lnTo>
                <a:lnTo>
                  <a:pt x="264" y="24"/>
                </a:lnTo>
                <a:lnTo>
                  <a:pt x="270" y="24"/>
                </a:lnTo>
                <a:lnTo>
                  <a:pt x="270" y="30"/>
                </a:lnTo>
                <a:lnTo>
                  <a:pt x="276" y="30"/>
                </a:lnTo>
                <a:lnTo>
                  <a:pt x="276" y="36"/>
                </a:lnTo>
                <a:lnTo>
                  <a:pt x="270" y="36"/>
                </a:lnTo>
                <a:lnTo>
                  <a:pt x="270" y="42"/>
                </a:lnTo>
                <a:lnTo>
                  <a:pt x="270" y="48"/>
                </a:lnTo>
                <a:lnTo>
                  <a:pt x="276" y="48"/>
                </a:lnTo>
                <a:lnTo>
                  <a:pt x="276" y="54"/>
                </a:lnTo>
                <a:lnTo>
                  <a:pt x="276" y="60"/>
                </a:lnTo>
                <a:lnTo>
                  <a:pt x="282" y="60"/>
                </a:lnTo>
                <a:lnTo>
                  <a:pt x="282" y="66"/>
                </a:lnTo>
                <a:lnTo>
                  <a:pt x="282" y="72"/>
                </a:lnTo>
                <a:lnTo>
                  <a:pt x="288" y="72"/>
                </a:lnTo>
                <a:lnTo>
                  <a:pt x="288" y="78"/>
                </a:lnTo>
                <a:lnTo>
                  <a:pt x="294" y="78"/>
                </a:lnTo>
                <a:lnTo>
                  <a:pt x="294" y="84"/>
                </a:lnTo>
                <a:lnTo>
                  <a:pt x="294" y="90"/>
                </a:lnTo>
                <a:lnTo>
                  <a:pt x="300" y="90"/>
                </a:lnTo>
                <a:lnTo>
                  <a:pt x="300" y="96"/>
                </a:lnTo>
                <a:lnTo>
                  <a:pt x="300" y="102"/>
                </a:lnTo>
                <a:lnTo>
                  <a:pt x="300" y="108"/>
                </a:lnTo>
                <a:lnTo>
                  <a:pt x="300" y="114"/>
                </a:lnTo>
                <a:lnTo>
                  <a:pt x="306" y="120"/>
                </a:lnTo>
                <a:lnTo>
                  <a:pt x="306" y="126"/>
                </a:lnTo>
                <a:lnTo>
                  <a:pt x="306" y="132"/>
                </a:lnTo>
                <a:lnTo>
                  <a:pt x="306" y="138"/>
                </a:lnTo>
                <a:lnTo>
                  <a:pt x="306" y="144"/>
                </a:lnTo>
                <a:lnTo>
                  <a:pt x="300" y="144"/>
                </a:lnTo>
                <a:lnTo>
                  <a:pt x="300" y="150"/>
                </a:lnTo>
                <a:lnTo>
                  <a:pt x="294" y="150"/>
                </a:lnTo>
                <a:lnTo>
                  <a:pt x="294" y="156"/>
                </a:lnTo>
                <a:lnTo>
                  <a:pt x="294" y="162"/>
                </a:lnTo>
                <a:lnTo>
                  <a:pt x="294" y="168"/>
                </a:lnTo>
                <a:lnTo>
                  <a:pt x="288" y="168"/>
                </a:lnTo>
                <a:lnTo>
                  <a:pt x="282" y="168"/>
                </a:lnTo>
                <a:lnTo>
                  <a:pt x="282" y="174"/>
                </a:lnTo>
                <a:lnTo>
                  <a:pt x="276" y="174"/>
                </a:lnTo>
                <a:lnTo>
                  <a:pt x="276" y="180"/>
                </a:lnTo>
                <a:lnTo>
                  <a:pt x="276" y="186"/>
                </a:lnTo>
                <a:lnTo>
                  <a:pt x="270" y="186"/>
                </a:lnTo>
                <a:lnTo>
                  <a:pt x="270" y="192"/>
                </a:lnTo>
                <a:lnTo>
                  <a:pt x="264" y="192"/>
                </a:lnTo>
                <a:lnTo>
                  <a:pt x="264" y="198"/>
                </a:lnTo>
                <a:lnTo>
                  <a:pt x="258" y="198"/>
                </a:lnTo>
                <a:lnTo>
                  <a:pt x="258" y="204"/>
                </a:lnTo>
                <a:lnTo>
                  <a:pt x="258" y="210"/>
                </a:lnTo>
                <a:lnTo>
                  <a:pt x="252" y="210"/>
                </a:lnTo>
                <a:lnTo>
                  <a:pt x="258" y="210"/>
                </a:lnTo>
                <a:lnTo>
                  <a:pt x="252" y="210"/>
                </a:lnTo>
                <a:lnTo>
                  <a:pt x="252" y="216"/>
                </a:lnTo>
                <a:lnTo>
                  <a:pt x="252" y="222"/>
                </a:lnTo>
                <a:lnTo>
                  <a:pt x="246" y="222"/>
                </a:lnTo>
                <a:lnTo>
                  <a:pt x="246" y="228"/>
                </a:lnTo>
                <a:lnTo>
                  <a:pt x="246" y="234"/>
                </a:lnTo>
                <a:lnTo>
                  <a:pt x="246" y="240"/>
                </a:lnTo>
                <a:lnTo>
                  <a:pt x="246" y="246"/>
                </a:lnTo>
                <a:lnTo>
                  <a:pt x="246" y="252"/>
                </a:lnTo>
                <a:lnTo>
                  <a:pt x="246" y="258"/>
                </a:lnTo>
                <a:lnTo>
                  <a:pt x="246" y="264"/>
                </a:lnTo>
                <a:lnTo>
                  <a:pt x="246" y="270"/>
                </a:lnTo>
                <a:lnTo>
                  <a:pt x="246" y="276"/>
                </a:lnTo>
                <a:lnTo>
                  <a:pt x="246" y="282"/>
                </a:lnTo>
                <a:lnTo>
                  <a:pt x="246" y="288"/>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3" name="Freeform 34">
            <a:extLst>
              <a:ext uri="{FF2B5EF4-FFF2-40B4-BE49-F238E27FC236}">
                <a16:creationId xmlns:a16="http://schemas.microsoft.com/office/drawing/2014/main" id="{7D218353-E4A7-DC49-B9B8-B4806197DA46}"/>
              </a:ext>
            </a:extLst>
          </p:cNvPr>
          <p:cNvSpPr>
            <a:spLocks noEditPoints="1"/>
          </p:cNvSpPr>
          <p:nvPr>
            <p:custDataLst>
              <p:tags r:id="rId31"/>
            </p:custDataLst>
          </p:nvPr>
        </p:nvSpPr>
        <p:spPr bwMode="gray">
          <a:xfrm>
            <a:off x="6171267" y="3962491"/>
            <a:ext cx="671458" cy="657101"/>
          </a:xfrm>
          <a:custGeom>
            <a:avLst/>
            <a:gdLst>
              <a:gd name="T0" fmla="*/ 1946 w 582"/>
              <a:gd name="T1" fmla="*/ 255544 h 762"/>
              <a:gd name="T2" fmla="*/ 0 w 582"/>
              <a:gd name="T3" fmla="*/ 238120 h 762"/>
              <a:gd name="T4" fmla="*/ 0 w 582"/>
              <a:gd name="T5" fmla="*/ 218761 h 762"/>
              <a:gd name="T6" fmla="*/ 0 w 582"/>
              <a:gd name="T7" fmla="*/ 199402 h 762"/>
              <a:gd name="T8" fmla="*/ 3893 w 582"/>
              <a:gd name="T9" fmla="*/ 179074 h 762"/>
              <a:gd name="T10" fmla="*/ 17519 w 582"/>
              <a:gd name="T11" fmla="*/ 163587 h 762"/>
              <a:gd name="T12" fmla="*/ 30172 w 582"/>
              <a:gd name="T13" fmla="*/ 154875 h 762"/>
              <a:gd name="T14" fmla="*/ 40879 w 582"/>
              <a:gd name="T15" fmla="*/ 146163 h 762"/>
              <a:gd name="T16" fmla="*/ 60345 w 582"/>
              <a:gd name="T17" fmla="*/ 140355 h 762"/>
              <a:gd name="T18" fmla="*/ 111930 w 582"/>
              <a:gd name="T19" fmla="*/ 108413 h 762"/>
              <a:gd name="T20" fmla="*/ 131395 w 582"/>
              <a:gd name="T21" fmla="*/ 78406 h 762"/>
              <a:gd name="T22" fmla="*/ 111930 w 582"/>
              <a:gd name="T23" fmla="*/ 76469 h 762"/>
              <a:gd name="T24" fmla="*/ 92464 w 582"/>
              <a:gd name="T25" fmla="*/ 70662 h 762"/>
              <a:gd name="T26" fmla="*/ 71051 w 582"/>
              <a:gd name="T27" fmla="*/ 63886 h 762"/>
              <a:gd name="T28" fmla="*/ 56452 w 582"/>
              <a:gd name="T29" fmla="*/ 53238 h 762"/>
              <a:gd name="T30" fmla="*/ 44772 w 582"/>
              <a:gd name="T31" fmla="*/ 42591 h 762"/>
              <a:gd name="T32" fmla="*/ 36985 w 582"/>
              <a:gd name="T33" fmla="*/ 30007 h 762"/>
              <a:gd name="T34" fmla="*/ 42826 w 582"/>
              <a:gd name="T35" fmla="*/ 17424 h 762"/>
              <a:gd name="T36" fmla="*/ 51585 w 582"/>
              <a:gd name="T37" fmla="*/ 12583 h 762"/>
              <a:gd name="T38" fmla="*/ 56452 w 582"/>
              <a:gd name="T39" fmla="*/ 23232 h 762"/>
              <a:gd name="T40" fmla="*/ 71051 w 582"/>
              <a:gd name="T41" fmla="*/ 31943 h 762"/>
              <a:gd name="T42" fmla="*/ 83704 w 582"/>
              <a:gd name="T43" fmla="*/ 30007 h 762"/>
              <a:gd name="T44" fmla="*/ 96357 w 582"/>
              <a:gd name="T45" fmla="*/ 23232 h 762"/>
              <a:gd name="T46" fmla="*/ 113876 w 582"/>
              <a:gd name="T47" fmla="*/ 23232 h 762"/>
              <a:gd name="T48" fmla="*/ 126529 w 582"/>
              <a:gd name="T49" fmla="*/ 17424 h 762"/>
              <a:gd name="T50" fmla="*/ 144049 w 582"/>
              <a:gd name="T51" fmla="*/ 14520 h 762"/>
              <a:gd name="T52" fmla="*/ 158648 w 582"/>
              <a:gd name="T53" fmla="*/ 14520 h 762"/>
              <a:gd name="T54" fmla="*/ 176168 w 582"/>
              <a:gd name="T55" fmla="*/ 10648 h 762"/>
              <a:gd name="T56" fmla="*/ 188821 w 582"/>
              <a:gd name="T57" fmla="*/ 3872 h 762"/>
              <a:gd name="T58" fmla="*/ 199527 w 582"/>
              <a:gd name="T59" fmla="*/ 1936 h 762"/>
              <a:gd name="T60" fmla="*/ 201474 w 582"/>
              <a:gd name="T61" fmla="*/ 10648 h 762"/>
              <a:gd name="T62" fmla="*/ 204394 w 582"/>
              <a:gd name="T63" fmla="*/ 26135 h 762"/>
              <a:gd name="T64" fmla="*/ 204394 w 582"/>
              <a:gd name="T65" fmla="*/ 30007 h 762"/>
              <a:gd name="T66" fmla="*/ 199527 w 582"/>
              <a:gd name="T67" fmla="*/ 31943 h 762"/>
              <a:gd name="T68" fmla="*/ 195633 w 582"/>
              <a:gd name="T69" fmla="*/ 48399 h 762"/>
              <a:gd name="T70" fmla="*/ 191740 w 582"/>
              <a:gd name="T71" fmla="*/ 60014 h 762"/>
              <a:gd name="T72" fmla="*/ 184928 w 582"/>
              <a:gd name="T73" fmla="*/ 71630 h 762"/>
              <a:gd name="T74" fmla="*/ 178114 w 582"/>
              <a:gd name="T75" fmla="*/ 80341 h 762"/>
              <a:gd name="T76" fmla="*/ 172275 w 582"/>
              <a:gd name="T77" fmla="*/ 95829 h 762"/>
              <a:gd name="T78" fmla="*/ 163514 w 582"/>
              <a:gd name="T79" fmla="*/ 106477 h 762"/>
              <a:gd name="T80" fmla="*/ 158648 w 582"/>
              <a:gd name="T81" fmla="*/ 120996 h 762"/>
              <a:gd name="T82" fmla="*/ 147942 w 582"/>
              <a:gd name="T83" fmla="*/ 135516 h 762"/>
              <a:gd name="T84" fmla="*/ 140156 w 582"/>
              <a:gd name="T85" fmla="*/ 151004 h 762"/>
              <a:gd name="T86" fmla="*/ 128476 w 582"/>
              <a:gd name="T87" fmla="*/ 161651 h 762"/>
              <a:gd name="T88" fmla="*/ 113876 w 582"/>
              <a:gd name="T89" fmla="*/ 176170 h 762"/>
              <a:gd name="T90" fmla="*/ 105117 w 582"/>
              <a:gd name="T91" fmla="*/ 186818 h 762"/>
              <a:gd name="T92" fmla="*/ 92464 w 582"/>
              <a:gd name="T93" fmla="*/ 195529 h 762"/>
              <a:gd name="T94" fmla="*/ 79811 w 582"/>
              <a:gd name="T95" fmla="*/ 202305 h 762"/>
              <a:gd name="T96" fmla="*/ 67158 w 582"/>
              <a:gd name="T97" fmla="*/ 210049 h 762"/>
              <a:gd name="T98" fmla="*/ 56452 w 582"/>
              <a:gd name="T99" fmla="*/ 218761 h 762"/>
              <a:gd name="T100" fmla="*/ 44772 w 582"/>
              <a:gd name="T101" fmla="*/ 229408 h 762"/>
              <a:gd name="T102" fmla="*/ 32119 w 582"/>
              <a:gd name="T103" fmla="*/ 241992 h 762"/>
              <a:gd name="T104" fmla="*/ 23359 w 582"/>
              <a:gd name="T105" fmla="*/ 255544 h 762"/>
              <a:gd name="T106" fmla="*/ 19466 w 582"/>
              <a:gd name="T107" fmla="*/ 257480 h 762"/>
              <a:gd name="T108" fmla="*/ 17519 w 582"/>
              <a:gd name="T109" fmla="*/ 261352 h 762"/>
              <a:gd name="T110" fmla="*/ 23359 w 582"/>
              <a:gd name="T111" fmla="*/ 252640 h 762"/>
              <a:gd name="T112" fmla="*/ 26279 w 582"/>
              <a:gd name="T113" fmla="*/ 250704 h 762"/>
              <a:gd name="T114" fmla="*/ 32119 w 582"/>
              <a:gd name="T115" fmla="*/ 246832 h 7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82" h="762">
                <a:moveTo>
                  <a:pt x="36" y="762"/>
                </a:moveTo>
                <a:lnTo>
                  <a:pt x="30" y="756"/>
                </a:lnTo>
                <a:lnTo>
                  <a:pt x="30" y="750"/>
                </a:lnTo>
                <a:lnTo>
                  <a:pt x="24" y="750"/>
                </a:lnTo>
                <a:lnTo>
                  <a:pt x="24" y="744"/>
                </a:lnTo>
                <a:lnTo>
                  <a:pt x="18" y="738"/>
                </a:lnTo>
                <a:lnTo>
                  <a:pt x="12" y="732"/>
                </a:lnTo>
                <a:lnTo>
                  <a:pt x="6" y="726"/>
                </a:lnTo>
                <a:lnTo>
                  <a:pt x="6" y="720"/>
                </a:lnTo>
                <a:lnTo>
                  <a:pt x="0" y="720"/>
                </a:lnTo>
                <a:lnTo>
                  <a:pt x="0" y="714"/>
                </a:lnTo>
                <a:lnTo>
                  <a:pt x="0" y="708"/>
                </a:lnTo>
                <a:lnTo>
                  <a:pt x="0" y="702"/>
                </a:lnTo>
                <a:lnTo>
                  <a:pt x="0" y="696"/>
                </a:lnTo>
                <a:lnTo>
                  <a:pt x="0" y="690"/>
                </a:lnTo>
                <a:lnTo>
                  <a:pt x="0" y="684"/>
                </a:lnTo>
                <a:lnTo>
                  <a:pt x="0" y="678"/>
                </a:lnTo>
                <a:lnTo>
                  <a:pt x="0" y="672"/>
                </a:lnTo>
                <a:lnTo>
                  <a:pt x="0" y="666"/>
                </a:lnTo>
                <a:lnTo>
                  <a:pt x="0" y="660"/>
                </a:lnTo>
                <a:lnTo>
                  <a:pt x="0" y="654"/>
                </a:lnTo>
                <a:lnTo>
                  <a:pt x="0" y="648"/>
                </a:lnTo>
                <a:lnTo>
                  <a:pt x="0" y="642"/>
                </a:lnTo>
                <a:lnTo>
                  <a:pt x="0" y="636"/>
                </a:lnTo>
                <a:lnTo>
                  <a:pt x="0" y="630"/>
                </a:lnTo>
                <a:lnTo>
                  <a:pt x="0" y="624"/>
                </a:lnTo>
                <a:lnTo>
                  <a:pt x="0" y="618"/>
                </a:lnTo>
                <a:lnTo>
                  <a:pt x="0" y="612"/>
                </a:lnTo>
                <a:lnTo>
                  <a:pt x="0" y="606"/>
                </a:lnTo>
                <a:lnTo>
                  <a:pt x="0" y="600"/>
                </a:lnTo>
                <a:lnTo>
                  <a:pt x="0" y="594"/>
                </a:lnTo>
                <a:lnTo>
                  <a:pt x="0" y="588"/>
                </a:lnTo>
                <a:lnTo>
                  <a:pt x="0" y="582"/>
                </a:lnTo>
                <a:lnTo>
                  <a:pt x="0" y="576"/>
                </a:lnTo>
                <a:lnTo>
                  <a:pt x="0" y="570"/>
                </a:lnTo>
                <a:lnTo>
                  <a:pt x="0" y="564"/>
                </a:lnTo>
                <a:lnTo>
                  <a:pt x="0" y="558"/>
                </a:lnTo>
                <a:lnTo>
                  <a:pt x="0" y="552"/>
                </a:lnTo>
                <a:lnTo>
                  <a:pt x="0" y="546"/>
                </a:lnTo>
                <a:lnTo>
                  <a:pt x="0" y="540"/>
                </a:lnTo>
                <a:lnTo>
                  <a:pt x="0" y="528"/>
                </a:lnTo>
                <a:lnTo>
                  <a:pt x="0" y="522"/>
                </a:lnTo>
                <a:lnTo>
                  <a:pt x="0" y="516"/>
                </a:lnTo>
                <a:lnTo>
                  <a:pt x="6" y="510"/>
                </a:lnTo>
                <a:lnTo>
                  <a:pt x="12" y="504"/>
                </a:lnTo>
                <a:lnTo>
                  <a:pt x="18" y="498"/>
                </a:lnTo>
                <a:lnTo>
                  <a:pt x="24" y="498"/>
                </a:lnTo>
                <a:lnTo>
                  <a:pt x="24" y="492"/>
                </a:lnTo>
                <a:lnTo>
                  <a:pt x="30" y="486"/>
                </a:lnTo>
                <a:lnTo>
                  <a:pt x="30" y="480"/>
                </a:lnTo>
                <a:lnTo>
                  <a:pt x="36" y="474"/>
                </a:lnTo>
                <a:lnTo>
                  <a:pt x="42" y="468"/>
                </a:lnTo>
                <a:lnTo>
                  <a:pt x="42" y="462"/>
                </a:lnTo>
                <a:lnTo>
                  <a:pt x="48" y="462"/>
                </a:lnTo>
                <a:lnTo>
                  <a:pt x="48" y="456"/>
                </a:lnTo>
                <a:lnTo>
                  <a:pt x="54" y="450"/>
                </a:lnTo>
                <a:lnTo>
                  <a:pt x="54" y="444"/>
                </a:lnTo>
                <a:lnTo>
                  <a:pt x="60" y="444"/>
                </a:lnTo>
                <a:lnTo>
                  <a:pt x="60" y="438"/>
                </a:lnTo>
                <a:lnTo>
                  <a:pt x="66" y="438"/>
                </a:lnTo>
                <a:lnTo>
                  <a:pt x="72" y="438"/>
                </a:lnTo>
                <a:lnTo>
                  <a:pt x="78" y="438"/>
                </a:lnTo>
                <a:lnTo>
                  <a:pt x="84" y="438"/>
                </a:lnTo>
                <a:lnTo>
                  <a:pt x="90" y="438"/>
                </a:lnTo>
                <a:lnTo>
                  <a:pt x="96" y="438"/>
                </a:lnTo>
                <a:lnTo>
                  <a:pt x="96" y="432"/>
                </a:lnTo>
                <a:lnTo>
                  <a:pt x="102" y="432"/>
                </a:lnTo>
                <a:lnTo>
                  <a:pt x="108" y="432"/>
                </a:lnTo>
                <a:lnTo>
                  <a:pt x="108" y="426"/>
                </a:lnTo>
                <a:lnTo>
                  <a:pt x="114" y="426"/>
                </a:lnTo>
                <a:lnTo>
                  <a:pt x="114" y="420"/>
                </a:lnTo>
                <a:lnTo>
                  <a:pt x="114" y="414"/>
                </a:lnTo>
                <a:lnTo>
                  <a:pt x="120" y="414"/>
                </a:lnTo>
                <a:lnTo>
                  <a:pt x="126" y="414"/>
                </a:lnTo>
                <a:lnTo>
                  <a:pt x="126" y="408"/>
                </a:lnTo>
                <a:lnTo>
                  <a:pt x="132" y="408"/>
                </a:lnTo>
                <a:lnTo>
                  <a:pt x="138" y="402"/>
                </a:lnTo>
                <a:lnTo>
                  <a:pt x="144" y="402"/>
                </a:lnTo>
                <a:lnTo>
                  <a:pt x="150" y="402"/>
                </a:lnTo>
                <a:lnTo>
                  <a:pt x="162" y="396"/>
                </a:lnTo>
                <a:lnTo>
                  <a:pt x="168" y="396"/>
                </a:lnTo>
                <a:lnTo>
                  <a:pt x="174" y="396"/>
                </a:lnTo>
                <a:lnTo>
                  <a:pt x="186" y="396"/>
                </a:lnTo>
                <a:lnTo>
                  <a:pt x="204" y="396"/>
                </a:lnTo>
                <a:lnTo>
                  <a:pt x="222" y="396"/>
                </a:lnTo>
                <a:lnTo>
                  <a:pt x="228" y="396"/>
                </a:lnTo>
                <a:lnTo>
                  <a:pt x="228" y="390"/>
                </a:lnTo>
                <a:lnTo>
                  <a:pt x="258" y="366"/>
                </a:lnTo>
                <a:lnTo>
                  <a:pt x="306" y="312"/>
                </a:lnTo>
                <a:lnTo>
                  <a:pt x="312" y="306"/>
                </a:lnTo>
                <a:lnTo>
                  <a:pt x="324" y="294"/>
                </a:lnTo>
                <a:lnTo>
                  <a:pt x="330" y="288"/>
                </a:lnTo>
                <a:lnTo>
                  <a:pt x="354" y="264"/>
                </a:lnTo>
                <a:lnTo>
                  <a:pt x="366" y="252"/>
                </a:lnTo>
                <a:lnTo>
                  <a:pt x="390" y="222"/>
                </a:lnTo>
                <a:lnTo>
                  <a:pt x="384" y="222"/>
                </a:lnTo>
                <a:lnTo>
                  <a:pt x="378" y="222"/>
                </a:lnTo>
                <a:lnTo>
                  <a:pt x="372" y="222"/>
                </a:lnTo>
                <a:lnTo>
                  <a:pt x="366" y="222"/>
                </a:lnTo>
                <a:lnTo>
                  <a:pt x="360" y="222"/>
                </a:lnTo>
                <a:lnTo>
                  <a:pt x="354" y="222"/>
                </a:lnTo>
                <a:lnTo>
                  <a:pt x="348" y="222"/>
                </a:lnTo>
                <a:lnTo>
                  <a:pt x="342" y="222"/>
                </a:lnTo>
                <a:lnTo>
                  <a:pt x="336" y="222"/>
                </a:lnTo>
                <a:lnTo>
                  <a:pt x="330" y="222"/>
                </a:lnTo>
                <a:lnTo>
                  <a:pt x="324" y="222"/>
                </a:lnTo>
                <a:lnTo>
                  <a:pt x="318" y="216"/>
                </a:lnTo>
                <a:lnTo>
                  <a:pt x="312" y="216"/>
                </a:lnTo>
                <a:lnTo>
                  <a:pt x="306" y="216"/>
                </a:lnTo>
                <a:lnTo>
                  <a:pt x="300" y="210"/>
                </a:lnTo>
                <a:lnTo>
                  <a:pt x="294" y="210"/>
                </a:lnTo>
                <a:lnTo>
                  <a:pt x="288" y="210"/>
                </a:lnTo>
                <a:lnTo>
                  <a:pt x="282" y="204"/>
                </a:lnTo>
                <a:lnTo>
                  <a:pt x="276" y="204"/>
                </a:lnTo>
                <a:lnTo>
                  <a:pt x="270" y="204"/>
                </a:lnTo>
                <a:lnTo>
                  <a:pt x="264" y="198"/>
                </a:lnTo>
                <a:lnTo>
                  <a:pt x="258" y="198"/>
                </a:lnTo>
                <a:lnTo>
                  <a:pt x="252" y="198"/>
                </a:lnTo>
                <a:lnTo>
                  <a:pt x="240" y="192"/>
                </a:lnTo>
                <a:lnTo>
                  <a:pt x="234" y="192"/>
                </a:lnTo>
                <a:lnTo>
                  <a:pt x="228" y="186"/>
                </a:lnTo>
                <a:lnTo>
                  <a:pt x="222" y="186"/>
                </a:lnTo>
                <a:lnTo>
                  <a:pt x="216" y="186"/>
                </a:lnTo>
                <a:lnTo>
                  <a:pt x="210" y="180"/>
                </a:lnTo>
                <a:lnTo>
                  <a:pt x="204" y="180"/>
                </a:lnTo>
                <a:lnTo>
                  <a:pt x="198" y="180"/>
                </a:lnTo>
                <a:lnTo>
                  <a:pt x="192" y="174"/>
                </a:lnTo>
                <a:lnTo>
                  <a:pt x="186" y="174"/>
                </a:lnTo>
                <a:lnTo>
                  <a:pt x="180" y="174"/>
                </a:lnTo>
                <a:lnTo>
                  <a:pt x="174" y="168"/>
                </a:lnTo>
                <a:lnTo>
                  <a:pt x="168" y="168"/>
                </a:lnTo>
                <a:lnTo>
                  <a:pt x="162" y="162"/>
                </a:lnTo>
                <a:lnTo>
                  <a:pt x="162" y="156"/>
                </a:lnTo>
                <a:lnTo>
                  <a:pt x="156" y="156"/>
                </a:lnTo>
                <a:lnTo>
                  <a:pt x="156" y="150"/>
                </a:lnTo>
                <a:lnTo>
                  <a:pt x="150" y="150"/>
                </a:lnTo>
                <a:lnTo>
                  <a:pt x="144" y="150"/>
                </a:lnTo>
                <a:lnTo>
                  <a:pt x="144" y="144"/>
                </a:lnTo>
                <a:lnTo>
                  <a:pt x="138" y="144"/>
                </a:lnTo>
                <a:lnTo>
                  <a:pt x="138" y="138"/>
                </a:lnTo>
                <a:lnTo>
                  <a:pt x="132" y="138"/>
                </a:lnTo>
                <a:lnTo>
                  <a:pt x="132" y="132"/>
                </a:lnTo>
                <a:lnTo>
                  <a:pt x="132" y="126"/>
                </a:lnTo>
                <a:lnTo>
                  <a:pt x="126" y="120"/>
                </a:lnTo>
                <a:lnTo>
                  <a:pt x="120" y="120"/>
                </a:lnTo>
                <a:lnTo>
                  <a:pt x="120" y="114"/>
                </a:lnTo>
                <a:lnTo>
                  <a:pt x="114" y="114"/>
                </a:lnTo>
                <a:lnTo>
                  <a:pt x="114" y="108"/>
                </a:lnTo>
                <a:lnTo>
                  <a:pt x="108" y="102"/>
                </a:lnTo>
                <a:lnTo>
                  <a:pt x="108" y="96"/>
                </a:lnTo>
                <a:lnTo>
                  <a:pt x="102" y="96"/>
                </a:lnTo>
                <a:lnTo>
                  <a:pt x="102" y="90"/>
                </a:lnTo>
                <a:lnTo>
                  <a:pt x="102" y="84"/>
                </a:lnTo>
                <a:lnTo>
                  <a:pt x="96" y="84"/>
                </a:lnTo>
                <a:lnTo>
                  <a:pt x="96" y="78"/>
                </a:lnTo>
                <a:lnTo>
                  <a:pt x="102" y="72"/>
                </a:lnTo>
                <a:lnTo>
                  <a:pt x="102" y="66"/>
                </a:lnTo>
                <a:lnTo>
                  <a:pt x="108" y="66"/>
                </a:lnTo>
                <a:lnTo>
                  <a:pt x="108" y="60"/>
                </a:lnTo>
                <a:lnTo>
                  <a:pt x="114" y="54"/>
                </a:lnTo>
                <a:lnTo>
                  <a:pt x="114" y="48"/>
                </a:lnTo>
                <a:lnTo>
                  <a:pt x="120" y="48"/>
                </a:lnTo>
                <a:lnTo>
                  <a:pt x="120" y="42"/>
                </a:lnTo>
                <a:lnTo>
                  <a:pt x="120" y="36"/>
                </a:lnTo>
                <a:lnTo>
                  <a:pt x="126" y="36"/>
                </a:lnTo>
                <a:lnTo>
                  <a:pt x="126" y="30"/>
                </a:lnTo>
                <a:lnTo>
                  <a:pt x="132" y="30"/>
                </a:lnTo>
                <a:lnTo>
                  <a:pt x="138" y="36"/>
                </a:lnTo>
                <a:lnTo>
                  <a:pt x="144" y="36"/>
                </a:lnTo>
                <a:lnTo>
                  <a:pt x="138" y="36"/>
                </a:lnTo>
                <a:lnTo>
                  <a:pt x="144" y="36"/>
                </a:lnTo>
                <a:lnTo>
                  <a:pt x="144" y="42"/>
                </a:lnTo>
                <a:lnTo>
                  <a:pt x="144" y="48"/>
                </a:lnTo>
                <a:lnTo>
                  <a:pt x="144" y="42"/>
                </a:lnTo>
                <a:lnTo>
                  <a:pt x="144" y="48"/>
                </a:lnTo>
                <a:lnTo>
                  <a:pt x="150" y="48"/>
                </a:lnTo>
                <a:lnTo>
                  <a:pt x="150" y="54"/>
                </a:lnTo>
                <a:lnTo>
                  <a:pt x="150" y="60"/>
                </a:lnTo>
                <a:lnTo>
                  <a:pt x="156" y="60"/>
                </a:lnTo>
                <a:lnTo>
                  <a:pt x="156" y="66"/>
                </a:lnTo>
                <a:lnTo>
                  <a:pt x="162" y="66"/>
                </a:lnTo>
                <a:lnTo>
                  <a:pt x="168" y="72"/>
                </a:lnTo>
                <a:lnTo>
                  <a:pt x="174" y="78"/>
                </a:lnTo>
                <a:lnTo>
                  <a:pt x="180" y="78"/>
                </a:lnTo>
                <a:lnTo>
                  <a:pt x="180" y="84"/>
                </a:lnTo>
                <a:lnTo>
                  <a:pt x="186" y="84"/>
                </a:lnTo>
                <a:lnTo>
                  <a:pt x="186" y="90"/>
                </a:lnTo>
                <a:lnTo>
                  <a:pt x="192" y="90"/>
                </a:lnTo>
                <a:lnTo>
                  <a:pt x="198" y="90"/>
                </a:lnTo>
                <a:lnTo>
                  <a:pt x="204" y="90"/>
                </a:lnTo>
                <a:lnTo>
                  <a:pt x="210" y="90"/>
                </a:lnTo>
                <a:lnTo>
                  <a:pt x="216" y="90"/>
                </a:lnTo>
                <a:lnTo>
                  <a:pt x="222" y="90"/>
                </a:lnTo>
                <a:lnTo>
                  <a:pt x="228" y="90"/>
                </a:lnTo>
                <a:lnTo>
                  <a:pt x="228" y="84"/>
                </a:lnTo>
                <a:lnTo>
                  <a:pt x="222" y="84"/>
                </a:lnTo>
                <a:lnTo>
                  <a:pt x="228" y="84"/>
                </a:lnTo>
                <a:lnTo>
                  <a:pt x="234" y="84"/>
                </a:lnTo>
                <a:lnTo>
                  <a:pt x="240" y="78"/>
                </a:lnTo>
                <a:lnTo>
                  <a:pt x="246" y="72"/>
                </a:lnTo>
                <a:lnTo>
                  <a:pt x="252" y="72"/>
                </a:lnTo>
                <a:lnTo>
                  <a:pt x="258" y="72"/>
                </a:lnTo>
                <a:lnTo>
                  <a:pt x="258" y="66"/>
                </a:lnTo>
                <a:lnTo>
                  <a:pt x="264" y="66"/>
                </a:lnTo>
                <a:lnTo>
                  <a:pt x="270" y="66"/>
                </a:lnTo>
                <a:lnTo>
                  <a:pt x="270" y="60"/>
                </a:lnTo>
                <a:lnTo>
                  <a:pt x="270" y="66"/>
                </a:lnTo>
                <a:lnTo>
                  <a:pt x="276" y="66"/>
                </a:lnTo>
                <a:lnTo>
                  <a:pt x="282" y="66"/>
                </a:lnTo>
                <a:lnTo>
                  <a:pt x="288" y="66"/>
                </a:lnTo>
                <a:lnTo>
                  <a:pt x="294" y="66"/>
                </a:lnTo>
                <a:lnTo>
                  <a:pt x="300" y="72"/>
                </a:lnTo>
                <a:lnTo>
                  <a:pt x="306" y="72"/>
                </a:lnTo>
                <a:lnTo>
                  <a:pt x="312" y="72"/>
                </a:lnTo>
                <a:lnTo>
                  <a:pt x="318" y="72"/>
                </a:lnTo>
                <a:lnTo>
                  <a:pt x="318" y="66"/>
                </a:lnTo>
                <a:lnTo>
                  <a:pt x="324" y="66"/>
                </a:lnTo>
                <a:lnTo>
                  <a:pt x="330" y="66"/>
                </a:lnTo>
                <a:lnTo>
                  <a:pt x="330" y="60"/>
                </a:lnTo>
                <a:lnTo>
                  <a:pt x="336" y="60"/>
                </a:lnTo>
                <a:lnTo>
                  <a:pt x="342" y="60"/>
                </a:lnTo>
                <a:lnTo>
                  <a:pt x="342" y="54"/>
                </a:lnTo>
                <a:lnTo>
                  <a:pt x="348" y="54"/>
                </a:lnTo>
                <a:lnTo>
                  <a:pt x="348" y="48"/>
                </a:lnTo>
                <a:lnTo>
                  <a:pt x="354" y="48"/>
                </a:lnTo>
                <a:lnTo>
                  <a:pt x="360" y="48"/>
                </a:lnTo>
                <a:lnTo>
                  <a:pt x="366" y="48"/>
                </a:lnTo>
                <a:lnTo>
                  <a:pt x="372" y="48"/>
                </a:lnTo>
                <a:lnTo>
                  <a:pt x="378" y="48"/>
                </a:lnTo>
                <a:lnTo>
                  <a:pt x="384" y="48"/>
                </a:lnTo>
                <a:lnTo>
                  <a:pt x="390" y="48"/>
                </a:lnTo>
                <a:lnTo>
                  <a:pt x="396" y="48"/>
                </a:lnTo>
                <a:lnTo>
                  <a:pt x="402" y="48"/>
                </a:lnTo>
                <a:lnTo>
                  <a:pt x="402" y="42"/>
                </a:lnTo>
                <a:lnTo>
                  <a:pt x="408" y="42"/>
                </a:lnTo>
                <a:lnTo>
                  <a:pt x="414" y="42"/>
                </a:lnTo>
                <a:lnTo>
                  <a:pt x="420" y="42"/>
                </a:lnTo>
                <a:lnTo>
                  <a:pt x="420" y="36"/>
                </a:lnTo>
                <a:lnTo>
                  <a:pt x="426" y="36"/>
                </a:lnTo>
                <a:lnTo>
                  <a:pt x="432" y="36"/>
                </a:lnTo>
                <a:lnTo>
                  <a:pt x="438" y="36"/>
                </a:lnTo>
                <a:lnTo>
                  <a:pt x="438" y="42"/>
                </a:lnTo>
                <a:lnTo>
                  <a:pt x="444" y="42"/>
                </a:lnTo>
                <a:lnTo>
                  <a:pt x="450" y="42"/>
                </a:lnTo>
                <a:lnTo>
                  <a:pt x="456" y="42"/>
                </a:lnTo>
                <a:lnTo>
                  <a:pt x="456" y="36"/>
                </a:lnTo>
                <a:lnTo>
                  <a:pt x="462" y="36"/>
                </a:lnTo>
                <a:lnTo>
                  <a:pt x="468" y="36"/>
                </a:lnTo>
                <a:lnTo>
                  <a:pt x="474" y="36"/>
                </a:lnTo>
                <a:lnTo>
                  <a:pt x="480" y="30"/>
                </a:lnTo>
                <a:lnTo>
                  <a:pt x="486" y="30"/>
                </a:lnTo>
                <a:lnTo>
                  <a:pt x="492" y="30"/>
                </a:lnTo>
                <a:lnTo>
                  <a:pt x="498" y="30"/>
                </a:lnTo>
                <a:lnTo>
                  <a:pt x="498" y="24"/>
                </a:lnTo>
                <a:lnTo>
                  <a:pt x="504" y="24"/>
                </a:lnTo>
                <a:lnTo>
                  <a:pt x="510" y="24"/>
                </a:lnTo>
                <a:lnTo>
                  <a:pt x="516" y="24"/>
                </a:lnTo>
                <a:lnTo>
                  <a:pt x="522" y="24"/>
                </a:lnTo>
                <a:lnTo>
                  <a:pt x="522" y="18"/>
                </a:lnTo>
                <a:lnTo>
                  <a:pt x="528" y="18"/>
                </a:lnTo>
                <a:lnTo>
                  <a:pt x="528" y="12"/>
                </a:lnTo>
                <a:lnTo>
                  <a:pt x="534" y="12"/>
                </a:lnTo>
                <a:lnTo>
                  <a:pt x="534" y="6"/>
                </a:lnTo>
                <a:lnTo>
                  <a:pt x="534" y="12"/>
                </a:lnTo>
                <a:lnTo>
                  <a:pt x="534" y="6"/>
                </a:lnTo>
                <a:lnTo>
                  <a:pt x="540" y="0"/>
                </a:lnTo>
                <a:lnTo>
                  <a:pt x="546" y="0"/>
                </a:lnTo>
                <a:lnTo>
                  <a:pt x="552" y="0"/>
                </a:lnTo>
                <a:lnTo>
                  <a:pt x="558" y="0"/>
                </a:lnTo>
                <a:lnTo>
                  <a:pt x="558" y="6"/>
                </a:lnTo>
                <a:lnTo>
                  <a:pt x="564" y="6"/>
                </a:lnTo>
                <a:lnTo>
                  <a:pt x="570" y="6"/>
                </a:lnTo>
                <a:lnTo>
                  <a:pt x="576" y="6"/>
                </a:lnTo>
                <a:lnTo>
                  <a:pt x="576" y="12"/>
                </a:lnTo>
                <a:lnTo>
                  <a:pt x="576" y="18"/>
                </a:lnTo>
                <a:lnTo>
                  <a:pt x="570" y="18"/>
                </a:lnTo>
                <a:lnTo>
                  <a:pt x="570" y="24"/>
                </a:lnTo>
                <a:lnTo>
                  <a:pt x="564" y="24"/>
                </a:lnTo>
                <a:lnTo>
                  <a:pt x="564" y="30"/>
                </a:lnTo>
                <a:lnTo>
                  <a:pt x="564" y="36"/>
                </a:lnTo>
                <a:lnTo>
                  <a:pt x="564" y="42"/>
                </a:lnTo>
                <a:lnTo>
                  <a:pt x="564" y="48"/>
                </a:lnTo>
                <a:lnTo>
                  <a:pt x="570" y="48"/>
                </a:lnTo>
                <a:lnTo>
                  <a:pt x="564" y="54"/>
                </a:lnTo>
                <a:lnTo>
                  <a:pt x="564" y="60"/>
                </a:lnTo>
                <a:lnTo>
                  <a:pt x="564" y="66"/>
                </a:lnTo>
                <a:lnTo>
                  <a:pt x="564" y="72"/>
                </a:lnTo>
                <a:lnTo>
                  <a:pt x="570" y="72"/>
                </a:lnTo>
                <a:lnTo>
                  <a:pt x="570" y="78"/>
                </a:lnTo>
                <a:lnTo>
                  <a:pt x="564" y="78"/>
                </a:lnTo>
                <a:lnTo>
                  <a:pt x="564" y="84"/>
                </a:lnTo>
                <a:lnTo>
                  <a:pt x="558" y="84"/>
                </a:lnTo>
                <a:lnTo>
                  <a:pt x="564" y="90"/>
                </a:lnTo>
                <a:lnTo>
                  <a:pt x="558" y="90"/>
                </a:lnTo>
                <a:lnTo>
                  <a:pt x="564" y="90"/>
                </a:lnTo>
                <a:lnTo>
                  <a:pt x="570" y="90"/>
                </a:lnTo>
                <a:lnTo>
                  <a:pt x="570" y="84"/>
                </a:lnTo>
                <a:lnTo>
                  <a:pt x="570" y="78"/>
                </a:lnTo>
                <a:lnTo>
                  <a:pt x="570" y="84"/>
                </a:lnTo>
                <a:lnTo>
                  <a:pt x="576" y="84"/>
                </a:lnTo>
                <a:lnTo>
                  <a:pt x="582" y="84"/>
                </a:lnTo>
                <a:lnTo>
                  <a:pt x="582" y="90"/>
                </a:lnTo>
                <a:lnTo>
                  <a:pt x="576" y="90"/>
                </a:lnTo>
                <a:lnTo>
                  <a:pt x="570" y="90"/>
                </a:lnTo>
                <a:lnTo>
                  <a:pt x="564" y="90"/>
                </a:lnTo>
                <a:lnTo>
                  <a:pt x="558" y="90"/>
                </a:lnTo>
                <a:lnTo>
                  <a:pt x="552" y="96"/>
                </a:lnTo>
                <a:lnTo>
                  <a:pt x="552" y="102"/>
                </a:lnTo>
                <a:lnTo>
                  <a:pt x="552" y="108"/>
                </a:lnTo>
                <a:lnTo>
                  <a:pt x="552" y="114"/>
                </a:lnTo>
                <a:lnTo>
                  <a:pt x="552" y="120"/>
                </a:lnTo>
                <a:lnTo>
                  <a:pt x="552" y="126"/>
                </a:lnTo>
                <a:lnTo>
                  <a:pt x="552" y="132"/>
                </a:lnTo>
                <a:lnTo>
                  <a:pt x="546" y="132"/>
                </a:lnTo>
                <a:lnTo>
                  <a:pt x="546" y="138"/>
                </a:lnTo>
                <a:lnTo>
                  <a:pt x="552" y="138"/>
                </a:lnTo>
                <a:lnTo>
                  <a:pt x="552" y="144"/>
                </a:lnTo>
                <a:lnTo>
                  <a:pt x="546" y="144"/>
                </a:lnTo>
                <a:lnTo>
                  <a:pt x="546" y="150"/>
                </a:lnTo>
                <a:lnTo>
                  <a:pt x="546" y="156"/>
                </a:lnTo>
                <a:lnTo>
                  <a:pt x="540" y="156"/>
                </a:lnTo>
                <a:lnTo>
                  <a:pt x="540" y="162"/>
                </a:lnTo>
                <a:lnTo>
                  <a:pt x="540" y="168"/>
                </a:lnTo>
                <a:lnTo>
                  <a:pt x="534" y="168"/>
                </a:lnTo>
                <a:lnTo>
                  <a:pt x="534" y="174"/>
                </a:lnTo>
                <a:lnTo>
                  <a:pt x="528" y="174"/>
                </a:lnTo>
                <a:lnTo>
                  <a:pt x="528" y="180"/>
                </a:lnTo>
                <a:lnTo>
                  <a:pt x="528" y="186"/>
                </a:lnTo>
                <a:lnTo>
                  <a:pt x="522" y="186"/>
                </a:lnTo>
                <a:lnTo>
                  <a:pt x="522" y="192"/>
                </a:lnTo>
                <a:lnTo>
                  <a:pt x="522" y="198"/>
                </a:lnTo>
                <a:lnTo>
                  <a:pt x="516" y="198"/>
                </a:lnTo>
                <a:lnTo>
                  <a:pt x="516" y="204"/>
                </a:lnTo>
                <a:lnTo>
                  <a:pt x="510" y="204"/>
                </a:lnTo>
                <a:lnTo>
                  <a:pt x="510" y="210"/>
                </a:lnTo>
                <a:lnTo>
                  <a:pt x="510" y="216"/>
                </a:lnTo>
                <a:lnTo>
                  <a:pt x="504" y="216"/>
                </a:lnTo>
                <a:lnTo>
                  <a:pt x="504" y="222"/>
                </a:lnTo>
                <a:lnTo>
                  <a:pt x="498" y="222"/>
                </a:lnTo>
                <a:lnTo>
                  <a:pt x="498" y="228"/>
                </a:lnTo>
                <a:lnTo>
                  <a:pt x="492" y="228"/>
                </a:lnTo>
                <a:lnTo>
                  <a:pt x="498" y="228"/>
                </a:lnTo>
                <a:lnTo>
                  <a:pt x="492" y="228"/>
                </a:lnTo>
                <a:lnTo>
                  <a:pt x="492" y="234"/>
                </a:lnTo>
                <a:lnTo>
                  <a:pt x="492" y="240"/>
                </a:lnTo>
                <a:lnTo>
                  <a:pt x="492" y="246"/>
                </a:lnTo>
                <a:lnTo>
                  <a:pt x="492" y="252"/>
                </a:lnTo>
                <a:lnTo>
                  <a:pt x="486" y="252"/>
                </a:lnTo>
                <a:lnTo>
                  <a:pt x="486" y="258"/>
                </a:lnTo>
                <a:lnTo>
                  <a:pt x="480" y="264"/>
                </a:lnTo>
                <a:lnTo>
                  <a:pt x="480" y="270"/>
                </a:lnTo>
                <a:lnTo>
                  <a:pt x="474" y="270"/>
                </a:lnTo>
                <a:lnTo>
                  <a:pt x="474" y="276"/>
                </a:lnTo>
                <a:lnTo>
                  <a:pt x="468" y="276"/>
                </a:lnTo>
                <a:lnTo>
                  <a:pt x="468" y="282"/>
                </a:lnTo>
                <a:lnTo>
                  <a:pt x="468" y="288"/>
                </a:lnTo>
                <a:lnTo>
                  <a:pt x="462" y="288"/>
                </a:lnTo>
                <a:lnTo>
                  <a:pt x="462" y="294"/>
                </a:lnTo>
                <a:lnTo>
                  <a:pt x="462" y="300"/>
                </a:lnTo>
                <a:lnTo>
                  <a:pt x="456" y="300"/>
                </a:lnTo>
                <a:lnTo>
                  <a:pt x="456" y="306"/>
                </a:lnTo>
                <a:lnTo>
                  <a:pt x="456" y="312"/>
                </a:lnTo>
                <a:lnTo>
                  <a:pt x="450" y="312"/>
                </a:lnTo>
                <a:lnTo>
                  <a:pt x="450" y="318"/>
                </a:lnTo>
                <a:lnTo>
                  <a:pt x="450" y="324"/>
                </a:lnTo>
                <a:lnTo>
                  <a:pt x="450" y="330"/>
                </a:lnTo>
                <a:lnTo>
                  <a:pt x="450" y="336"/>
                </a:lnTo>
                <a:lnTo>
                  <a:pt x="444" y="336"/>
                </a:lnTo>
                <a:lnTo>
                  <a:pt x="444" y="342"/>
                </a:lnTo>
                <a:lnTo>
                  <a:pt x="438" y="348"/>
                </a:lnTo>
                <a:lnTo>
                  <a:pt x="438" y="354"/>
                </a:lnTo>
                <a:lnTo>
                  <a:pt x="432" y="360"/>
                </a:lnTo>
                <a:lnTo>
                  <a:pt x="432" y="366"/>
                </a:lnTo>
                <a:lnTo>
                  <a:pt x="426" y="366"/>
                </a:lnTo>
                <a:lnTo>
                  <a:pt x="426" y="372"/>
                </a:lnTo>
                <a:lnTo>
                  <a:pt x="420" y="372"/>
                </a:lnTo>
                <a:lnTo>
                  <a:pt x="420" y="378"/>
                </a:lnTo>
                <a:lnTo>
                  <a:pt x="414" y="384"/>
                </a:lnTo>
                <a:lnTo>
                  <a:pt x="408" y="390"/>
                </a:lnTo>
                <a:lnTo>
                  <a:pt x="408" y="396"/>
                </a:lnTo>
                <a:lnTo>
                  <a:pt x="402" y="396"/>
                </a:lnTo>
                <a:lnTo>
                  <a:pt x="402" y="402"/>
                </a:lnTo>
                <a:lnTo>
                  <a:pt x="396" y="408"/>
                </a:lnTo>
                <a:lnTo>
                  <a:pt x="396" y="414"/>
                </a:lnTo>
                <a:lnTo>
                  <a:pt x="396" y="420"/>
                </a:lnTo>
                <a:lnTo>
                  <a:pt x="390" y="420"/>
                </a:lnTo>
                <a:lnTo>
                  <a:pt x="390" y="426"/>
                </a:lnTo>
                <a:lnTo>
                  <a:pt x="384" y="426"/>
                </a:lnTo>
                <a:lnTo>
                  <a:pt x="384" y="432"/>
                </a:lnTo>
                <a:lnTo>
                  <a:pt x="378" y="432"/>
                </a:lnTo>
                <a:lnTo>
                  <a:pt x="378" y="438"/>
                </a:lnTo>
                <a:lnTo>
                  <a:pt x="372" y="438"/>
                </a:lnTo>
                <a:lnTo>
                  <a:pt x="372" y="444"/>
                </a:lnTo>
                <a:lnTo>
                  <a:pt x="366" y="444"/>
                </a:lnTo>
                <a:lnTo>
                  <a:pt x="366" y="450"/>
                </a:lnTo>
                <a:lnTo>
                  <a:pt x="360" y="456"/>
                </a:lnTo>
                <a:lnTo>
                  <a:pt x="354" y="462"/>
                </a:lnTo>
                <a:lnTo>
                  <a:pt x="348" y="468"/>
                </a:lnTo>
                <a:lnTo>
                  <a:pt x="342" y="474"/>
                </a:lnTo>
                <a:lnTo>
                  <a:pt x="336" y="480"/>
                </a:lnTo>
                <a:lnTo>
                  <a:pt x="330" y="486"/>
                </a:lnTo>
                <a:lnTo>
                  <a:pt x="330" y="492"/>
                </a:lnTo>
                <a:lnTo>
                  <a:pt x="324" y="492"/>
                </a:lnTo>
                <a:lnTo>
                  <a:pt x="324" y="498"/>
                </a:lnTo>
                <a:lnTo>
                  <a:pt x="318" y="498"/>
                </a:lnTo>
                <a:lnTo>
                  <a:pt x="318" y="504"/>
                </a:lnTo>
                <a:lnTo>
                  <a:pt x="312" y="504"/>
                </a:lnTo>
                <a:lnTo>
                  <a:pt x="312" y="510"/>
                </a:lnTo>
                <a:lnTo>
                  <a:pt x="306" y="510"/>
                </a:lnTo>
                <a:lnTo>
                  <a:pt x="306" y="516"/>
                </a:lnTo>
                <a:lnTo>
                  <a:pt x="300" y="516"/>
                </a:lnTo>
                <a:lnTo>
                  <a:pt x="300" y="522"/>
                </a:lnTo>
                <a:lnTo>
                  <a:pt x="294" y="522"/>
                </a:lnTo>
                <a:lnTo>
                  <a:pt x="294" y="528"/>
                </a:lnTo>
                <a:lnTo>
                  <a:pt x="288" y="528"/>
                </a:lnTo>
                <a:lnTo>
                  <a:pt x="288" y="534"/>
                </a:lnTo>
                <a:lnTo>
                  <a:pt x="282" y="534"/>
                </a:lnTo>
                <a:lnTo>
                  <a:pt x="282" y="540"/>
                </a:lnTo>
                <a:lnTo>
                  <a:pt x="276" y="540"/>
                </a:lnTo>
                <a:lnTo>
                  <a:pt x="270" y="540"/>
                </a:lnTo>
                <a:lnTo>
                  <a:pt x="270" y="546"/>
                </a:lnTo>
                <a:lnTo>
                  <a:pt x="264" y="546"/>
                </a:lnTo>
                <a:lnTo>
                  <a:pt x="258" y="552"/>
                </a:lnTo>
                <a:lnTo>
                  <a:pt x="252" y="552"/>
                </a:lnTo>
                <a:lnTo>
                  <a:pt x="252" y="558"/>
                </a:lnTo>
                <a:lnTo>
                  <a:pt x="246" y="558"/>
                </a:lnTo>
                <a:lnTo>
                  <a:pt x="240" y="558"/>
                </a:lnTo>
                <a:lnTo>
                  <a:pt x="240" y="564"/>
                </a:lnTo>
                <a:lnTo>
                  <a:pt x="234" y="564"/>
                </a:lnTo>
                <a:lnTo>
                  <a:pt x="228" y="564"/>
                </a:lnTo>
                <a:lnTo>
                  <a:pt x="228" y="570"/>
                </a:lnTo>
                <a:lnTo>
                  <a:pt x="222" y="570"/>
                </a:lnTo>
                <a:lnTo>
                  <a:pt x="216" y="570"/>
                </a:lnTo>
                <a:lnTo>
                  <a:pt x="216" y="576"/>
                </a:lnTo>
                <a:lnTo>
                  <a:pt x="210" y="576"/>
                </a:lnTo>
                <a:lnTo>
                  <a:pt x="210" y="582"/>
                </a:lnTo>
                <a:lnTo>
                  <a:pt x="204" y="582"/>
                </a:lnTo>
                <a:lnTo>
                  <a:pt x="198" y="588"/>
                </a:lnTo>
                <a:lnTo>
                  <a:pt x="192" y="588"/>
                </a:lnTo>
                <a:lnTo>
                  <a:pt x="192" y="594"/>
                </a:lnTo>
                <a:lnTo>
                  <a:pt x="186" y="594"/>
                </a:lnTo>
                <a:lnTo>
                  <a:pt x="186" y="600"/>
                </a:lnTo>
                <a:lnTo>
                  <a:pt x="180" y="600"/>
                </a:lnTo>
                <a:lnTo>
                  <a:pt x="180" y="606"/>
                </a:lnTo>
                <a:lnTo>
                  <a:pt x="174" y="606"/>
                </a:lnTo>
                <a:lnTo>
                  <a:pt x="174" y="612"/>
                </a:lnTo>
                <a:lnTo>
                  <a:pt x="168" y="612"/>
                </a:lnTo>
                <a:lnTo>
                  <a:pt x="168" y="618"/>
                </a:lnTo>
                <a:lnTo>
                  <a:pt x="162" y="618"/>
                </a:lnTo>
                <a:lnTo>
                  <a:pt x="156" y="618"/>
                </a:lnTo>
                <a:lnTo>
                  <a:pt x="156" y="624"/>
                </a:lnTo>
                <a:lnTo>
                  <a:pt x="150" y="624"/>
                </a:lnTo>
                <a:lnTo>
                  <a:pt x="150" y="630"/>
                </a:lnTo>
                <a:lnTo>
                  <a:pt x="144" y="630"/>
                </a:lnTo>
                <a:lnTo>
                  <a:pt x="144" y="636"/>
                </a:lnTo>
                <a:lnTo>
                  <a:pt x="138" y="636"/>
                </a:lnTo>
                <a:lnTo>
                  <a:pt x="138" y="642"/>
                </a:lnTo>
                <a:lnTo>
                  <a:pt x="132" y="648"/>
                </a:lnTo>
                <a:lnTo>
                  <a:pt x="126" y="648"/>
                </a:lnTo>
                <a:lnTo>
                  <a:pt x="126" y="654"/>
                </a:lnTo>
                <a:lnTo>
                  <a:pt x="120" y="654"/>
                </a:lnTo>
                <a:lnTo>
                  <a:pt x="120" y="660"/>
                </a:lnTo>
                <a:lnTo>
                  <a:pt x="114" y="660"/>
                </a:lnTo>
                <a:lnTo>
                  <a:pt x="114" y="666"/>
                </a:lnTo>
                <a:lnTo>
                  <a:pt x="108" y="672"/>
                </a:lnTo>
                <a:lnTo>
                  <a:pt x="102" y="678"/>
                </a:lnTo>
                <a:lnTo>
                  <a:pt x="96" y="684"/>
                </a:lnTo>
                <a:lnTo>
                  <a:pt x="90" y="684"/>
                </a:lnTo>
                <a:lnTo>
                  <a:pt x="90" y="690"/>
                </a:lnTo>
                <a:lnTo>
                  <a:pt x="84" y="696"/>
                </a:lnTo>
                <a:lnTo>
                  <a:pt x="84" y="702"/>
                </a:lnTo>
                <a:lnTo>
                  <a:pt x="78" y="702"/>
                </a:lnTo>
                <a:lnTo>
                  <a:pt x="78" y="708"/>
                </a:lnTo>
                <a:lnTo>
                  <a:pt x="72" y="708"/>
                </a:lnTo>
                <a:lnTo>
                  <a:pt x="72" y="714"/>
                </a:lnTo>
                <a:lnTo>
                  <a:pt x="66" y="714"/>
                </a:lnTo>
                <a:lnTo>
                  <a:pt x="66" y="720"/>
                </a:lnTo>
                <a:lnTo>
                  <a:pt x="60" y="720"/>
                </a:lnTo>
                <a:lnTo>
                  <a:pt x="60" y="714"/>
                </a:lnTo>
                <a:lnTo>
                  <a:pt x="66" y="714"/>
                </a:lnTo>
                <a:lnTo>
                  <a:pt x="60" y="714"/>
                </a:lnTo>
                <a:lnTo>
                  <a:pt x="60" y="720"/>
                </a:lnTo>
                <a:lnTo>
                  <a:pt x="66" y="720"/>
                </a:lnTo>
                <a:lnTo>
                  <a:pt x="60" y="720"/>
                </a:lnTo>
                <a:lnTo>
                  <a:pt x="60" y="726"/>
                </a:lnTo>
                <a:lnTo>
                  <a:pt x="54" y="726"/>
                </a:lnTo>
                <a:lnTo>
                  <a:pt x="60" y="726"/>
                </a:lnTo>
                <a:lnTo>
                  <a:pt x="54" y="726"/>
                </a:lnTo>
                <a:lnTo>
                  <a:pt x="60" y="720"/>
                </a:lnTo>
                <a:lnTo>
                  <a:pt x="54" y="720"/>
                </a:lnTo>
                <a:lnTo>
                  <a:pt x="54" y="726"/>
                </a:lnTo>
                <a:lnTo>
                  <a:pt x="60" y="726"/>
                </a:lnTo>
                <a:lnTo>
                  <a:pt x="54" y="732"/>
                </a:lnTo>
                <a:lnTo>
                  <a:pt x="54" y="738"/>
                </a:lnTo>
                <a:lnTo>
                  <a:pt x="48" y="738"/>
                </a:lnTo>
                <a:lnTo>
                  <a:pt x="48" y="732"/>
                </a:lnTo>
                <a:lnTo>
                  <a:pt x="48" y="738"/>
                </a:lnTo>
                <a:lnTo>
                  <a:pt x="42" y="738"/>
                </a:lnTo>
                <a:lnTo>
                  <a:pt x="48" y="738"/>
                </a:lnTo>
                <a:lnTo>
                  <a:pt x="48" y="744"/>
                </a:lnTo>
                <a:lnTo>
                  <a:pt x="42" y="750"/>
                </a:lnTo>
                <a:lnTo>
                  <a:pt x="42" y="756"/>
                </a:lnTo>
                <a:lnTo>
                  <a:pt x="36" y="762"/>
                </a:lnTo>
                <a:close/>
                <a:moveTo>
                  <a:pt x="66" y="714"/>
                </a:moveTo>
                <a:lnTo>
                  <a:pt x="72" y="714"/>
                </a:lnTo>
                <a:lnTo>
                  <a:pt x="72" y="720"/>
                </a:lnTo>
                <a:lnTo>
                  <a:pt x="66" y="720"/>
                </a:lnTo>
                <a:lnTo>
                  <a:pt x="66" y="714"/>
                </a:lnTo>
                <a:close/>
                <a:moveTo>
                  <a:pt x="54" y="732"/>
                </a:moveTo>
                <a:lnTo>
                  <a:pt x="54" y="738"/>
                </a:lnTo>
                <a:lnTo>
                  <a:pt x="55" y="738"/>
                </a:lnTo>
                <a:lnTo>
                  <a:pt x="54" y="732"/>
                </a:lnTo>
                <a:close/>
                <a:moveTo>
                  <a:pt x="72" y="708"/>
                </a:moveTo>
                <a:lnTo>
                  <a:pt x="78" y="708"/>
                </a:lnTo>
                <a:lnTo>
                  <a:pt x="78" y="714"/>
                </a:lnTo>
                <a:lnTo>
                  <a:pt x="72" y="714"/>
                </a:lnTo>
                <a:lnTo>
                  <a:pt x="72" y="708"/>
                </a:lnTo>
                <a:close/>
                <a:moveTo>
                  <a:pt x="54" y="732"/>
                </a:moveTo>
                <a:lnTo>
                  <a:pt x="60" y="732"/>
                </a:lnTo>
                <a:lnTo>
                  <a:pt x="54" y="732"/>
                </a:lnTo>
                <a:close/>
                <a:moveTo>
                  <a:pt x="90" y="690"/>
                </a:moveTo>
                <a:lnTo>
                  <a:pt x="90" y="696"/>
                </a:lnTo>
                <a:lnTo>
                  <a:pt x="91" y="696"/>
                </a:lnTo>
                <a:lnTo>
                  <a:pt x="90" y="690"/>
                </a:lnTo>
                <a:close/>
                <a:moveTo>
                  <a:pt x="138" y="24"/>
                </a:moveTo>
                <a:lnTo>
                  <a:pt x="138" y="30"/>
                </a:lnTo>
                <a:lnTo>
                  <a:pt x="139" y="30"/>
                </a:lnTo>
                <a:lnTo>
                  <a:pt x="138" y="24"/>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4" name="Freeform 35">
            <a:extLst>
              <a:ext uri="{FF2B5EF4-FFF2-40B4-BE49-F238E27FC236}">
                <a16:creationId xmlns:a16="http://schemas.microsoft.com/office/drawing/2014/main" id="{07A93817-7BDB-EF44-8F1C-CC0FB0F637CE}"/>
              </a:ext>
            </a:extLst>
          </p:cNvPr>
          <p:cNvSpPr>
            <a:spLocks noEditPoints="1"/>
          </p:cNvSpPr>
          <p:nvPr>
            <p:custDataLst>
              <p:tags r:id="rId32"/>
            </p:custDataLst>
          </p:nvPr>
        </p:nvSpPr>
        <p:spPr bwMode="gray">
          <a:xfrm>
            <a:off x="5130210" y="2936534"/>
            <a:ext cx="711216" cy="532307"/>
          </a:xfrm>
          <a:custGeom>
            <a:avLst/>
            <a:gdLst>
              <a:gd name="T0" fmla="*/ 199555 w 618"/>
              <a:gd name="T1" fmla="*/ 44489 h 618"/>
              <a:gd name="T2" fmla="*/ 198586 w 618"/>
              <a:gd name="T3" fmla="*/ 61898 h 618"/>
              <a:gd name="T4" fmla="*/ 193742 w 618"/>
              <a:gd name="T5" fmla="*/ 81241 h 618"/>
              <a:gd name="T6" fmla="*/ 185024 w 618"/>
              <a:gd name="T7" fmla="*/ 87044 h 618"/>
              <a:gd name="T8" fmla="*/ 172431 w 618"/>
              <a:gd name="T9" fmla="*/ 71569 h 618"/>
              <a:gd name="T10" fmla="*/ 163713 w 618"/>
              <a:gd name="T11" fmla="*/ 55127 h 618"/>
              <a:gd name="T12" fmla="*/ 154995 w 618"/>
              <a:gd name="T13" fmla="*/ 37719 h 618"/>
              <a:gd name="T14" fmla="*/ 154995 w 618"/>
              <a:gd name="T15" fmla="*/ 53193 h 618"/>
              <a:gd name="T16" fmla="*/ 163713 w 618"/>
              <a:gd name="T17" fmla="*/ 70602 h 618"/>
              <a:gd name="T18" fmla="*/ 172431 w 618"/>
              <a:gd name="T19" fmla="*/ 83175 h 618"/>
              <a:gd name="T20" fmla="*/ 174368 w 618"/>
              <a:gd name="T21" fmla="*/ 89945 h 618"/>
              <a:gd name="T22" fmla="*/ 183087 w 618"/>
              <a:gd name="T23" fmla="*/ 104453 h 618"/>
              <a:gd name="T24" fmla="*/ 187931 w 618"/>
              <a:gd name="T25" fmla="*/ 118960 h 618"/>
              <a:gd name="T26" fmla="*/ 198586 w 618"/>
              <a:gd name="T27" fmla="*/ 138303 h 618"/>
              <a:gd name="T28" fmla="*/ 204399 w 618"/>
              <a:gd name="T29" fmla="*/ 152810 h 618"/>
              <a:gd name="T30" fmla="*/ 215055 w 618"/>
              <a:gd name="T31" fmla="*/ 168284 h 618"/>
              <a:gd name="T32" fmla="*/ 213117 w 618"/>
              <a:gd name="T33" fmla="*/ 174088 h 618"/>
              <a:gd name="T34" fmla="*/ 215055 w 618"/>
              <a:gd name="T35" fmla="*/ 180858 h 618"/>
              <a:gd name="T36" fmla="*/ 213117 w 618"/>
              <a:gd name="T37" fmla="*/ 191496 h 618"/>
              <a:gd name="T38" fmla="*/ 199555 w 618"/>
              <a:gd name="T39" fmla="*/ 199234 h 618"/>
              <a:gd name="T40" fmla="*/ 185024 w 618"/>
              <a:gd name="T41" fmla="*/ 214708 h 618"/>
              <a:gd name="T42" fmla="*/ 134651 w 618"/>
              <a:gd name="T43" fmla="*/ 212773 h 618"/>
              <a:gd name="T44" fmla="*/ 6781 w 618"/>
              <a:gd name="T45" fmla="*/ 76405 h 618"/>
              <a:gd name="T46" fmla="*/ 3875 w 618"/>
              <a:gd name="T47" fmla="*/ 51259 h 618"/>
              <a:gd name="T48" fmla="*/ 3875 w 618"/>
              <a:gd name="T49" fmla="*/ 27080 h 618"/>
              <a:gd name="T50" fmla="*/ 3875 w 618"/>
              <a:gd name="T51" fmla="*/ 6770 h 618"/>
              <a:gd name="T52" fmla="*/ 21311 w 618"/>
              <a:gd name="T53" fmla="*/ 1934 h 618"/>
              <a:gd name="T54" fmla="*/ 42624 w 618"/>
              <a:gd name="T55" fmla="*/ 3868 h 618"/>
              <a:gd name="T56" fmla="*/ 63935 w 618"/>
              <a:gd name="T57" fmla="*/ 8704 h 618"/>
              <a:gd name="T58" fmla="*/ 81372 w 618"/>
              <a:gd name="T59" fmla="*/ 17409 h 618"/>
              <a:gd name="T60" fmla="*/ 97840 w 618"/>
              <a:gd name="T61" fmla="*/ 12573 h 618"/>
              <a:gd name="T62" fmla="*/ 115277 w 618"/>
              <a:gd name="T63" fmla="*/ 3868 h 618"/>
              <a:gd name="T64" fmla="*/ 119152 w 618"/>
              <a:gd name="T65" fmla="*/ 6770 h 618"/>
              <a:gd name="T66" fmla="*/ 125932 w 618"/>
              <a:gd name="T67" fmla="*/ 3868 h 618"/>
              <a:gd name="T68" fmla="*/ 138526 w 618"/>
              <a:gd name="T69" fmla="*/ 3868 h 618"/>
              <a:gd name="T70" fmla="*/ 149182 w 618"/>
              <a:gd name="T71" fmla="*/ 8704 h 618"/>
              <a:gd name="T72" fmla="*/ 142401 w 618"/>
              <a:gd name="T73" fmla="*/ 6770 h 618"/>
              <a:gd name="T74" fmla="*/ 140464 w 618"/>
              <a:gd name="T75" fmla="*/ 8704 h 618"/>
              <a:gd name="T76" fmla="*/ 147245 w 618"/>
              <a:gd name="T77" fmla="*/ 12573 h 618"/>
              <a:gd name="T78" fmla="*/ 151120 w 618"/>
              <a:gd name="T79" fmla="*/ 8704 h 618"/>
              <a:gd name="T80" fmla="*/ 154995 w 618"/>
              <a:gd name="T81" fmla="*/ 12573 h 618"/>
              <a:gd name="T82" fmla="*/ 159838 w 618"/>
              <a:gd name="T83" fmla="*/ 14508 h 618"/>
              <a:gd name="T84" fmla="*/ 165650 w 618"/>
              <a:gd name="T85" fmla="*/ 10638 h 618"/>
              <a:gd name="T86" fmla="*/ 170494 w 618"/>
              <a:gd name="T87" fmla="*/ 12573 h 618"/>
              <a:gd name="T88" fmla="*/ 185024 w 618"/>
              <a:gd name="T89" fmla="*/ 10638 h 618"/>
              <a:gd name="T90" fmla="*/ 168556 w 618"/>
              <a:gd name="T91" fmla="*/ 10638 h 618"/>
              <a:gd name="T92" fmla="*/ 144338 w 618"/>
              <a:gd name="T93" fmla="*/ 8704 h 618"/>
              <a:gd name="T94" fmla="*/ 174368 w 618"/>
              <a:gd name="T95" fmla="*/ 10638 h 618"/>
              <a:gd name="T96" fmla="*/ 179212 w 618"/>
              <a:gd name="T97" fmla="*/ 89945 h 618"/>
              <a:gd name="T98" fmla="*/ 143370 w 618"/>
              <a:gd name="T99" fmla="*/ 3868 h 618"/>
              <a:gd name="T100" fmla="*/ 176306 w 618"/>
              <a:gd name="T101" fmla="*/ 89945 h 618"/>
              <a:gd name="T102" fmla="*/ 176306 w 618"/>
              <a:gd name="T103" fmla="*/ 89945 h 618"/>
              <a:gd name="T104" fmla="*/ 147245 w 618"/>
              <a:gd name="T105" fmla="*/ 8704 h 618"/>
              <a:gd name="T106" fmla="*/ 144338 w 618"/>
              <a:gd name="T107" fmla="*/ 8704 h 618"/>
              <a:gd name="T108" fmla="*/ 181149 w 618"/>
              <a:gd name="T109" fmla="*/ 89945 h 618"/>
              <a:gd name="T110" fmla="*/ 179212 w 618"/>
              <a:gd name="T111" fmla="*/ 89945 h 618"/>
              <a:gd name="T112" fmla="*/ 179212 w 618"/>
              <a:gd name="T113" fmla="*/ 93814 h 618"/>
              <a:gd name="T114" fmla="*/ 213117 w 618"/>
              <a:gd name="T115" fmla="*/ 174088 h 618"/>
              <a:gd name="T116" fmla="*/ 147245 w 618"/>
              <a:gd name="T117" fmla="*/ 8704 h 6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618">
                <a:moveTo>
                  <a:pt x="534" y="24"/>
                </a:moveTo>
                <a:lnTo>
                  <a:pt x="534" y="30"/>
                </a:lnTo>
                <a:lnTo>
                  <a:pt x="540" y="42"/>
                </a:lnTo>
                <a:lnTo>
                  <a:pt x="540" y="54"/>
                </a:lnTo>
                <a:lnTo>
                  <a:pt x="546" y="66"/>
                </a:lnTo>
                <a:lnTo>
                  <a:pt x="546" y="72"/>
                </a:lnTo>
                <a:lnTo>
                  <a:pt x="552" y="78"/>
                </a:lnTo>
                <a:lnTo>
                  <a:pt x="552" y="84"/>
                </a:lnTo>
                <a:lnTo>
                  <a:pt x="552" y="90"/>
                </a:lnTo>
                <a:lnTo>
                  <a:pt x="558" y="102"/>
                </a:lnTo>
                <a:lnTo>
                  <a:pt x="564" y="108"/>
                </a:lnTo>
                <a:lnTo>
                  <a:pt x="564" y="126"/>
                </a:lnTo>
                <a:lnTo>
                  <a:pt x="570" y="132"/>
                </a:lnTo>
                <a:lnTo>
                  <a:pt x="570" y="138"/>
                </a:lnTo>
                <a:lnTo>
                  <a:pt x="570" y="144"/>
                </a:lnTo>
                <a:lnTo>
                  <a:pt x="564" y="144"/>
                </a:lnTo>
                <a:lnTo>
                  <a:pt x="564" y="150"/>
                </a:lnTo>
                <a:lnTo>
                  <a:pt x="558" y="150"/>
                </a:lnTo>
                <a:lnTo>
                  <a:pt x="558" y="156"/>
                </a:lnTo>
                <a:lnTo>
                  <a:pt x="558" y="162"/>
                </a:lnTo>
                <a:lnTo>
                  <a:pt x="558" y="168"/>
                </a:lnTo>
                <a:lnTo>
                  <a:pt x="558" y="174"/>
                </a:lnTo>
                <a:lnTo>
                  <a:pt x="552" y="174"/>
                </a:lnTo>
                <a:lnTo>
                  <a:pt x="558" y="174"/>
                </a:lnTo>
                <a:lnTo>
                  <a:pt x="558" y="180"/>
                </a:lnTo>
                <a:lnTo>
                  <a:pt x="552" y="180"/>
                </a:lnTo>
                <a:lnTo>
                  <a:pt x="552" y="186"/>
                </a:lnTo>
                <a:lnTo>
                  <a:pt x="552" y="192"/>
                </a:lnTo>
                <a:lnTo>
                  <a:pt x="552" y="198"/>
                </a:lnTo>
                <a:lnTo>
                  <a:pt x="546" y="198"/>
                </a:lnTo>
                <a:lnTo>
                  <a:pt x="546" y="204"/>
                </a:lnTo>
                <a:lnTo>
                  <a:pt x="546" y="210"/>
                </a:lnTo>
                <a:lnTo>
                  <a:pt x="540" y="216"/>
                </a:lnTo>
                <a:lnTo>
                  <a:pt x="540" y="222"/>
                </a:lnTo>
                <a:lnTo>
                  <a:pt x="546" y="222"/>
                </a:lnTo>
                <a:lnTo>
                  <a:pt x="546" y="228"/>
                </a:lnTo>
                <a:lnTo>
                  <a:pt x="546" y="234"/>
                </a:lnTo>
                <a:lnTo>
                  <a:pt x="540" y="234"/>
                </a:lnTo>
                <a:lnTo>
                  <a:pt x="546" y="234"/>
                </a:lnTo>
                <a:lnTo>
                  <a:pt x="540" y="234"/>
                </a:lnTo>
                <a:lnTo>
                  <a:pt x="540" y="240"/>
                </a:lnTo>
                <a:lnTo>
                  <a:pt x="540" y="246"/>
                </a:lnTo>
                <a:lnTo>
                  <a:pt x="534" y="246"/>
                </a:lnTo>
                <a:lnTo>
                  <a:pt x="528" y="246"/>
                </a:lnTo>
                <a:lnTo>
                  <a:pt x="534" y="252"/>
                </a:lnTo>
                <a:lnTo>
                  <a:pt x="528" y="252"/>
                </a:lnTo>
                <a:lnTo>
                  <a:pt x="528" y="246"/>
                </a:lnTo>
                <a:lnTo>
                  <a:pt x="522" y="246"/>
                </a:lnTo>
                <a:lnTo>
                  <a:pt x="516" y="240"/>
                </a:lnTo>
                <a:lnTo>
                  <a:pt x="510" y="240"/>
                </a:lnTo>
                <a:lnTo>
                  <a:pt x="510" y="234"/>
                </a:lnTo>
                <a:lnTo>
                  <a:pt x="504" y="234"/>
                </a:lnTo>
                <a:lnTo>
                  <a:pt x="504" y="228"/>
                </a:lnTo>
                <a:lnTo>
                  <a:pt x="498" y="228"/>
                </a:lnTo>
                <a:lnTo>
                  <a:pt x="498" y="222"/>
                </a:lnTo>
                <a:lnTo>
                  <a:pt x="498" y="216"/>
                </a:lnTo>
                <a:lnTo>
                  <a:pt x="492" y="216"/>
                </a:lnTo>
                <a:lnTo>
                  <a:pt x="492" y="210"/>
                </a:lnTo>
                <a:lnTo>
                  <a:pt x="486" y="210"/>
                </a:lnTo>
                <a:lnTo>
                  <a:pt x="486" y="204"/>
                </a:lnTo>
                <a:lnTo>
                  <a:pt x="480" y="204"/>
                </a:lnTo>
                <a:lnTo>
                  <a:pt x="480" y="198"/>
                </a:lnTo>
                <a:lnTo>
                  <a:pt x="474" y="198"/>
                </a:lnTo>
                <a:lnTo>
                  <a:pt x="474" y="192"/>
                </a:lnTo>
                <a:lnTo>
                  <a:pt x="474" y="186"/>
                </a:lnTo>
                <a:lnTo>
                  <a:pt x="474" y="180"/>
                </a:lnTo>
                <a:lnTo>
                  <a:pt x="474" y="174"/>
                </a:lnTo>
                <a:lnTo>
                  <a:pt x="474" y="168"/>
                </a:lnTo>
                <a:lnTo>
                  <a:pt x="468" y="168"/>
                </a:lnTo>
                <a:lnTo>
                  <a:pt x="468" y="162"/>
                </a:lnTo>
                <a:lnTo>
                  <a:pt x="462" y="162"/>
                </a:lnTo>
                <a:lnTo>
                  <a:pt x="462" y="156"/>
                </a:lnTo>
                <a:lnTo>
                  <a:pt x="456" y="156"/>
                </a:lnTo>
                <a:lnTo>
                  <a:pt x="456" y="150"/>
                </a:lnTo>
                <a:lnTo>
                  <a:pt x="456" y="144"/>
                </a:lnTo>
                <a:lnTo>
                  <a:pt x="450" y="144"/>
                </a:lnTo>
                <a:lnTo>
                  <a:pt x="450" y="138"/>
                </a:lnTo>
                <a:lnTo>
                  <a:pt x="450" y="132"/>
                </a:lnTo>
                <a:lnTo>
                  <a:pt x="444" y="132"/>
                </a:lnTo>
                <a:lnTo>
                  <a:pt x="444" y="126"/>
                </a:lnTo>
                <a:lnTo>
                  <a:pt x="444" y="120"/>
                </a:lnTo>
                <a:lnTo>
                  <a:pt x="444" y="114"/>
                </a:lnTo>
                <a:lnTo>
                  <a:pt x="438" y="114"/>
                </a:lnTo>
                <a:lnTo>
                  <a:pt x="438" y="108"/>
                </a:lnTo>
                <a:lnTo>
                  <a:pt x="432" y="114"/>
                </a:lnTo>
                <a:lnTo>
                  <a:pt x="438" y="114"/>
                </a:lnTo>
                <a:lnTo>
                  <a:pt x="438" y="120"/>
                </a:lnTo>
                <a:lnTo>
                  <a:pt x="432" y="120"/>
                </a:lnTo>
                <a:lnTo>
                  <a:pt x="432" y="126"/>
                </a:lnTo>
                <a:lnTo>
                  <a:pt x="426" y="126"/>
                </a:lnTo>
                <a:lnTo>
                  <a:pt x="426" y="132"/>
                </a:lnTo>
                <a:lnTo>
                  <a:pt x="426" y="138"/>
                </a:lnTo>
                <a:lnTo>
                  <a:pt x="432" y="138"/>
                </a:lnTo>
                <a:lnTo>
                  <a:pt x="432" y="144"/>
                </a:lnTo>
                <a:lnTo>
                  <a:pt x="438" y="144"/>
                </a:lnTo>
                <a:lnTo>
                  <a:pt x="438" y="150"/>
                </a:lnTo>
                <a:lnTo>
                  <a:pt x="444" y="150"/>
                </a:lnTo>
                <a:lnTo>
                  <a:pt x="444" y="156"/>
                </a:lnTo>
                <a:lnTo>
                  <a:pt x="444" y="162"/>
                </a:lnTo>
                <a:lnTo>
                  <a:pt x="444" y="168"/>
                </a:lnTo>
                <a:lnTo>
                  <a:pt x="444" y="174"/>
                </a:lnTo>
                <a:lnTo>
                  <a:pt x="444" y="180"/>
                </a:lnTo>
                <a:lnTo>
                  <a:pt x="450" y="180"/>
                </a:lnTo>
                <a:lnTo>
                  <a:pt x="450" y="186"/>
                </a:lnTo>
                <a:lnTo>
                  <a:pt x="456" y="186"/>
                </a:lnTo>
                <a:lnTo>
                  <a:pt x="456" y="192"/>
                </a:lnTo>
                <a:lnTo>
                  <a:pt x="456" y="198"/>
                </a:lnTo>
                <a:lnTo>
                  <a:pt x="462" y="198"/>
                </a:lnTo>
                <a:lnTo>
                  <a:pt x="462" y="204"/>
                </a:lnTo>
                <a:lnTo>
                  <a:pt x="468" y="204"/>
                </a:lnTo>
                <a:lnTo>
                  <a:pt x="468" y="210"/>
                </a:lnTo>
                <a:lnTo>
                  <a:pt x="468" y="216"/>
                </a:lnTo>
                <a:lnTo>
                  <a:pt x="474" y="216"/>
                </a:lnTo>
                <a:lnTo>
                  <a:pt x="474" y="222"/>
                </a:lnTo>
                <a:lnTo>
                  <a:pt x="480" y="222"/>
                </a:lnTo>
                <a:lnTo>
                  <a:pt x="474" y="222"/>
                </a:lnTo>
                <a:lnTo>
                  <a:pt x="474" y="228"/>
                </a:lnTo>
                <a:lnTo>
                  <a:pt x="480" y="228"/>
                </a:lnTo>
                <a:lnTo>
                  <a:pt x="480" y="234"/>
                </a:lnTo>
                <a:lnTo>
                  <a:pt x="486" y="234"/>
                </a:lnTo>
                <a:lnTo>
                  <a:pt x="492" y="234"/>
                </a:lnTo>
                <a:lnTo>
                  <a:pt x="492" y="240"/>
                </a:lnTo>
                <a:lnTo>
                  <a:pt x="492" y="246"/>
                </a:lnTo>
                <a:lnTo>
                  <a:pt x="498" y="246"/>
                </a:lnTo>
                <a:lnTo>
                  <a:pt x="492" y="246"/>
                </a:lnTo>
                <a:lnTo>
                  <a:pt x="492" y="252"/>
                </a:lnTo>
                <a:lnTo>
                  <a:pt x="498" y="252"/>
                </a:lnTo>
                <a:lnTo>
                  <a:pt x="498" y="258"/>
                </a:lnTo>
                <a:lnTo>
                  <a:pt x="492" y="258"/>
                </a:lnTo>
                <a:lnTo>
                  <a:pt x="498" y="258"/>
                </a:lnTo>
                <a:lnTo>
                  <a:pt x="492" y="258"/>
                </a:lnTo>
                <a:lnTo>
                  <a:pt x="492" y="252"/>
                </a:lnTo>
                <a:lnTo>
                  <a:pt x="492" y="258"/>
                </a:lnTo>
                <a:lnTo>
                  <a:pt x="498" y="264"/>
                </a:lnTo>
                <a:lnTo>
                  <a:pt x="492" y="264"/>
                </a:lnTo>
                <a:lnTo>
                  <a:pt x="498" y="264"/>
                </a:lnTo>
                <a:lnTo>
                  <a:pt x="498" y="270"/>
                </a:lnTo>
                <a:lnTo>
                  <a:pt x="504" y="270"/>
                </a:lnTo>
                <a:lnTo>
                  <a:pt x="504" y="276"/>
                </a:lnTo>
                <a:lnTo>
                  <a:pt x="504" y="282"/>
                </a:lnTo>
                <a:lnTo>
                  <a:pt x="510" y="282"/>
                </a:lnTo>
                <a:lnTo>
                  <a:pt x="510" y="288"/>
                </a:lnTo>
                <a:lnTo>
                  <a:pt x="510" y="294"/>
                </a:lnTo>
                <a:lnTo>
                  <a:pt x="516" y="294"/>
                </a:lnTo>
                <a:lnTo>
                  <a:pt x="510" y="294"/>
                </a:lnTo>
                <a:lnTo>
                  <a:pt x="516" y="294"/>
                </a:lnTo>
                <a:lnTo>
                  <a:pt x="516" y="300"/>
                </a:lnTo>
                <a:lnTo>
                  <a:pt x="516" y="306"/>
                </a:lnTo>
                <a:lnTo>
                  <a:pt x="522" y="306"/>
                </a:lnTo>
                <a:lnTo>
                  <a:pt x="516" y="306"/>
                </a:lnTo>
                <a:lnTo>
                  <a:pt x="516" y="312"/>
                </a:lnTo>
                <a:lnTo>
                  <a:pt x="516" y="318"/>
                </a:lnTo>
                <a:lnTo>
                  <a:pt x="522" y="324"/>
                </a:lnTo>
                <a:lnTo>
                  <a:pt x="522" y="330"/>
                </a:lnTo>
                <a:lnTo>
                  <a:pt x="522" y="336"/>
                </a:lnTo>
                <a:lnTo>
                  <a:pt x="528" y="336"/>
                </a:lnTo>
                <a:lnTo>
                  <a:pt x="528" y="342"/>
                </a:lnTo>
                <a:lnTo>
                  <a:pt x="534" y="348"/>
                </a:lnTo>
                <a:lnTo>
                  <a:pt x="534" y="354"/>
                </a:lnTo>
                <a:lnTo>
                  <a:pt x="540" y="360"/>
                </a:lnTo>
                <a:lnTo>
                  <a:pt x="540" y="366"/>
                </a:lnTo>
                <a:lnTo>
                  <a:pt x="546" y="366"/>
                </a:lnTo>
                <a:lnTo>
                  <a:pt x="546" y="372"/>
                </a:lnTo>
                <a:lnTo>
                  <a:pt x="552" y="378"/>
                </a:lnTo>
                <a:lnTo>
                  <a:pt x="552" y="384"/>
                </a:lnTo>
                <a:lnTo>
                  <a:pt x="558" y="390"/>
                </a:lnTo>
                <a:lnTo>
                  <a:pt x="552" y="390"/>
                </a:lnTo>
                <a:lnTo>
                  <a:pt x="558" y="390"/>
                </a:lnTo>
                <a:lnTo>
                  <a:pt x="558" y="396"/>
                </a:lnTo>
                <a:lnTo>
                  <a:pt x="558" y="402"/>
                </a:lnTo>
                <a:lnTo>
                  <a:pt x="564" y="402"/>
                </a:lnTo>
                <a:lnTo>
                  <a:pt x="564" y="408"/>
                </a:lnTo>
                <a:lnTo>
                  <a:pt x="564" y="414"/>
                </a:lnTo>
                <a:lnTo>
                  <a:pt x="570" y="414"/>
                </a:lnTo>
                <a:lnTo>
                  <a:pt x="570" y="420"/>
                </a:lnTo>
                <a:lnTo>
                  <a:pt x="570" y="426"/>
                </a:lnTo>
                <a:lnTo>
                  <a:pt x="576" y="426"/>
                </a:lnTo>
                <a:lnTo>
                  <a:pt x="570" y="426"/>
                </a:lnTo>
                <a:lnTo>
                  <a:pt x="576" y="426"/>
                </a:lnTo>
                <a:lnTo>
                  <a:pt x="576" y="432"/>
                </a:lnTo>
                <a:lnTo>
                  <a:pt x="576" y="438"/>
                </a:lnTo>
                <a:lnTo>
                  <a:pt x="582" y="438"/>
                </a:lnTo>
                <a:lnTo>
                  <a:pt x="582" y="444"/>
                </a:lnTo>
                <a:lnTo>
                  <a:pt x="582" y="450"/>
                </a:lnTo>
                <a:lnTo>
                  <a:pt x="582" y="456"/>
                </a:lnTo>
                <a:lnTo>
                  <a:pt x="588" y="456"/>
                </a:lnTo>
                <a:lnTo>
                  <a:pt x="588" y="462"/>
                </a:lnTo>
                <a:lnTo>
                  <a:pt x="594" y="462"/>
                </a:lnTo>
                <a:lnTo>
                  <a:pt x="594" y="468"/>
                </a:lnTo>
                <a:lnTo>
                  <a:pt x="600" y="468"/>
                </a:lnTo>
                <a:lnTo>
                  <a:pt x="600" y="474"/>
                </a:lnTo>
                <a:lnTo>
                  <a:pt x="606" y="474"/>
                </a:lnTo>
                <a:lnTo>
                  <a:pt x="600" y="474"/>
                </a:lnTo>
                <a:lnTo>
                  <a:pt x="606" y="474"/>
                </a:lnTo>
                <a:lnTo>
                  <a:pt x="606" y="480"/>
                </a:lnTo>
                <a:lnTo>
                  <a:pt x="612" y="480"/>
                </a:lnTo>
                <a:lnTo>
                  <a:pt x="612" y="486"/>
                </a:lnTo>
                <a:lnTo>
                  <a:pt x="618" y="486"/>
                </a:lnTo>
                <a:lnTo>
                  <a:pt x="618" y="492"/>
                </a:lnTo>
                <a:lnTo>
                  <a:pt x="618" y="486"/>
                </a:lnTo>
                <a:lnTo>
                  <a:pt x="612" y="486"/>
                </a:lnTo>
                <a:lnTo>
                  <a:pt x="606" y="486"/>
                </a:lnTo>
                <a:lnTo>
                  <a:pt x="600" y="486"/>
                </a:lnTo>
                <a:lnTo>
                  <a:pt x="600" y="492"/>
                </a:lnTo>
                <a:lnTo>
                  <a:pt x="600" y="498"/>
                </a:lnTo>
                <a:lnTo>
                  <a:pt x="600" y="492"/>
                </a:lnTo>
                <a:lnTo>
                  <a:pt x="600" y="498"/>
                </a:lnTo>
                <a:lnTo>
                  <a:pt x="606" y="498"/>
                </a:lnTo>
                <a:lnTo>
                  <a:pt x="600" y="498"/>
                </a:lnTo>
                <a:lnTo>
                  <a:pt x="606" y="498"/>
                </a:lnTo>
                <a:lnTo>
                  <a:pt x="606" y="504"/>
                </a:lnTo>
                <a:lnTo>
                  <a:pt x="600" y="504"/>
                </a:lnTo>
                <a:lnTo>
                  <a:pt x="600" y="510"/>
                </a:lnTo>
                <a:lnTo>
                  <a:pt x="606" y="510"/>
                </a:lnTo>
                <a:lnTo>
                  <a:pt x="606" y="504"/>
                </a:lnTo>
                <a:lnTo>
                  <a:pt x="606" y="510"/>
                </a:lnTo>
                <a:lnTo>
                  <a:pt x="600" y="510"/>
                </a:lnTo>
                <a:lnTo>
                  <a:pt x="606" y="510"/>
                </a:lnTo>
                <a:lnTo>
                  <a:pt x="600" y="510"/>
                </a:lnTo>
                <a:lnTo>
                  <a:pt x="600" y="516"/>
                </a:lnTo>
                <a:lnTo>
                  <a:pt x="606" y="516"/>
                </a:lnTo>
                <a:lnTo>
                  <a:pt x="606" y="522"/>
                </a:lnTo>
                <a:lnTo>
                  <a:pt x="606" y="528"/>
                </a:lnTo>
                <a:lnTo>
                  <a:pt x="606" y="534"/>
                </a:lnTo>
                <a:lnTo>
                  <a:pt x="612" y="534"/>
                </a:lnTo>
                <a:lnTo>
                  <a:pt x="606" y="534"/>
                </a:lnTo>
                <a:lnTo>
                  <a:pt x="606" y="540"/>
                </a:lnTo>
                <a:lnTo>
                  <a:pt x="600" y="540"/>
                </a:lnTo>
                <a:lnTo>
                  <a:pt x="600" y="546"/>
                </a:lnTo>
                <a:lnTo>
                  <a:pt x="594" y="546"/>
                </a:lnTo>
                <a:lnTo>
                  <a:pt x="594" y="552"/>
                </a:lnTo>
                <a:lnTo>
                  <a:pt x="588" y="552"/>
                </a:lnTo>
                <a:lnTo>
                  <a:pt x="588" y="558"/>
                </a:lnTo>
                <a:lnTo>
                  <a:pt x="582" y="558"/>
                </a:lnTo>
                <a:lnTo>
                  <a:pt x="582" y="552"/>
                </a:lnTo>
                <a:lnTo>
                  <a:pt x="576" y="552"/>
                </a:lnTo>
                <a:lnTo>
                  <a:pt x="570" y="552"/>
                </a:lnTo>
                <a:lnTo>
                  <a:pt x="570" y="558"/>
                </a:lnTo>
                <a:lnTo>
                  <a:pt x="570" y="564"/>
                </a:lnTo>
                <a:lnTo>
                  <a:pt x="564" y="564"/>
                </a:lnTo>
                <a:lnTo>
                  <a:pt x="564" y="570"/>
                </a:lnTo>
                <a:lnTo>
                  <a:pt x="564" y="576"/>
                </a:lnTo>
                <a:lnTo>
                  <a:pt x="558" y="582"/>
                </a:lnTo>
                <a:lnTo>
                  <a:pt x="558" y="588"/>
                </a:lnTo>
                <a:lnTo>
                  <a:pt x="552" y="588"/>
                </a:lnTo>
                <a:lnTo>
                  <a:pt x="546" y="588"/>
                </a:lnTo>
                <a:lnTo>
                  <a:pt x="540" y="588"/>
                </a:lnTo>
                <a:lnTo>
                  <a:pt x="534" y="588"/>
                </a:lnTo>
                <a:lnTo>
                  <a:pt x="528" y="588"/>
                </a:lnTo>
                <a:lnTo>
                  <a:pt x="528" y="594"/>
                </a:lnTo>
                <a:lnTo>
                  <a:pt x="528" y="600"/>
                </a:lnTo>
                <a:lnTo>
                  <a:pt x="522" y="606"/>
                </a:lnTo>
                <a:lnTo>
                  <a:pt x="522" y="612"/>
                </a:lnTo>
                <a:lnTo>
                  <a:pt x="522" y="618"/>
                </a:lnTo>
                <a:lnTo>
                  <a:pt x="516" y="618"/>
                </a:lnTo>
                <a:lnTo>
                  <a:pt x="510" y="618"/>
                </a:lnTo>
                <a:lnTo>
                  <a:pt x="504" y="618"/>
                </a:lnTo>
                <a:lnTo>
                  <a:pt x="498" y="618"/>
                </a:lnTo>
                <a:lnTo>
                  <a:pt x="492" y="618"/>
                </a:lnTo>
                <a:lnTo>
                  <a:pt x="474" y="600"/>
                </a:lnTo>
                <a:lnTo>
                  <a:pt x="432" y="606"/>
                </a:lnTo>
                <a:lnTo>
                  <a:pt x="378" y="606"/>
                </a:lnTo>
                <a:lnTo>
                  <a:pt x="372" y="600"/>
                </a:lnTo>
                <a:lnTo>
                  <a:pt x="378" y="600"/>
                </a:lnTo>
                <a:lnTo>
                  <a:pt x="378" y="594"/>
                </a:lnTo>
                <a:lnTo>
                  <a:pt x="378" y="588"/>
                </a:lnTo>
                <a:lnTo>
                  <a:pt x="378" y="594"/>
                </a:lnTo>
                <a:lnTo>
                  <a:pt x="372" y="594"/>
                </a:lnTo>
                <a:lnTo>
                  <a:pt x="372" y="600"/>
                </a:lnTo>
                <a:lnTo>
                  <a:pt x="372" y="606"/>
                </a:lnTo>
                <a:lnTo>
                  <a:pt x="18" y="606"/>
                </a:lnTo>
                <a:lnTo>
                  <a:pt x="18" y="258"/>
                </a:lnTo>
                <a:lnTo>
                  <a:pt x="18" y="234"/>
                </a:lnTo>
                <a:lnTo>
                  <a:pt x="18" y="228"/>
                </a:lnTo>
                <a:lnTo>
                  <a:pt x="18" y="222"/>
                </a:lnTo>
                <a:lnTo>
                  <a:pt x="18" y="216"/>
                </a:lnTo>
                <a:lnTo>
                  <a:pt x="18" y="210"/>
                </a:lnTo>
                <a:lnTo>
                  <a:pt x="18" y="204"/>
                </a:lnTo>
                <a:lnTo>
                  <a:pt x="18" y="198"/>
                </a:lnTo>
                <a:lnTo>
                  <a:pt x="18" y="192"/>
                </a:lnTo>
                <a:lnTo>
                  <a:pt x="18" y="186"/>
                </a:lnTo>
                <a:lnTo>
                  <a:pt x="18" y="180"/>
                </a:lnTo>
                <a:lnTo>
                  <a:pt x="18" y="174"/>
                </a:lnTo>
                <a:lnTo>
                  <a:pt x="18" y="168"/>
                </a:lnTo>
                <a:lnTo>
                  <a:pt x="18" y="162"/>
                </a:lnTo>
                <a:lnTo>
                  <a:pt x="18" y="156"/>
                </a:lnTo>
                <a:lnTo>
                  <a:pt x="18" y="150"/>
                </a:lnTo>
                <a:lnTo>
                  <a:pt x="12" y="144"/>
                </a:lnTo>
                <a:lnTo>
                  <a:pt x="12" y="138"/>
                </a:lnTo>
                <a:lnTo>
                  <a:pt x="12" y="132"/>
                </a:lnTo>
                <a:lnTo>
                  <a:pt x="12" y="126"/>
                </a:lnTo>
                <a:lnTo>
                  <a:pt x="6" y="120"/>
                </a:lnTo>
                <a:lnTo>
                  <a:pt x="6" y="114"/>
                </a:lnTo>
                <a:lnTo>
                  <a:pt x="6" y="108"/>
                </a:lnTo>
                <a:lnTo>
                  <a:pt x="6" y="102"/>
                </a:lnTo>
                <a:lnTo>
                  <a:pt x="0" y="96"/>
                </a:lnTo>
                <a:lnTo>
                  <a:pt x="6" y="90"/>
                </a:lnTo>
                <a:lnTo>
                  <a:pt x="6" y="84"/>
                </a:lnTo>
                <a:lnTo>
                  <a:pt x="12" y="84"/>
                </a:lnTo>
                <a:lnTo>
                  <a:pt x="12" y="78"/>
                </a:lnTo>
                <a:lnTo>
                  <a:pt x="12" y="72"/>
                </a:lnTo>
                <a:lnTo>
                  <a:pt x="18" y="72"/>
                </a:lnTo>
                <a:lnTo>
                  <a:pt x="18" y="66"/>
                </a:lnTo>
                <a:lnTo>
                  <a:pt x="18" y="60"/>
                </a:lnTo>
                <a:lnTo>
                  <a:pt x="18" y="54"/>
                </a:lnTo>
                <a:lnTo>
                  <a:pt x="18" y="48"/>
                </a:lnTo>
                <a:lnTo>
                  <a:pt x="18" y="42"/>
                </a:lnTo>
                <a:lnTo>
                  <a:pt x="12" y="42"/>
                </a:lnTo>
                <a:lnTo>
                  <a:pt x="12" y="36"/>
                </a:lnTo>
                <a:lnTo>
                  <a:pt x="12" y="30"/>
                </a:lnTo>
                <a:lnTo>
                  <a:pt x="12" y="24"/>
                </a:lnTo>
                <a:lnTo>
                  <a:pt x="12" y="18"/>
                </a:lnTo>
                <a:lnTo>
                  <a:pt x="12" y="12"/>
                </a:lnTo>
                <a:lnTo>
                  <a:pt x="18" y="12"/>
                </a:lnTo>
                <a:lnTo>
                  <a:pt x="24" y="6"/>
                </a:lnTo>
                <a:lnTo>
                  <a:pt x="24" y="0"/>
                </a:lnTo>
                <a:lnTo>
                  <a:pt x="30" y="6"/>
                </a:lnTo>
                <a:lnTo>
                  <a:pt x="30" y="12"/>
                </a:lnTo>
                <a:lnTo>
                  <a:pt x="36" y="12"/>
                </a:lnTo>
                <a:lnTo>
                  <a:pt x="42" y="12"/>
                </a:lnTo>
                <a:lnTo>
                  <a:pt x="48" y="12"/>
                </a:lnTo>
                <a:lnTo>
                  <a:pt x="48" y="6"/>
                </a:lnTo>
                <a:lnTo>
                  <a:pt x="54" y="6"/>
                </a:lnTo>
                <a:lnTo>
                  <a:pt x="60" y="6"/>
                </a:lnTo>
                <a:lnTo>
                  <a:pt x="66" y="0"/>
                </a:lnTo>
                <a:lnTo>
                  <a:pt x="72" y="0"/>
                </a:lnTo>
                <a:lnTo>
                  <a:pt x="72" y="6"/>
                </a:lnTo>
                <a:lnTo>
                  <a:pt x="78" y="6"/>
                </a:lnTo>
                <a:lnTo>
                  <a:pt x="84" y="6"/>
                </a:lnTo>
                <a:lnTo>
                  <a:pt x="90" y="6"/>
                </a:lnTo>
                <a:lnTo>
                  <a:pt x="96" y="6"/>
                </a:lnTo>
                <a:lnTo>
                  <a:pt x="96" y="12"/>
                </a:lnTo>
                <a:lnTo>
                  <a:pt x="102" y="12"/>
                </a:lnTo>
                <a:lnTo>
                  <a:pt x="108" y="12"/>
                </a:lnTo>
                <a:lnTo>
                  <a:pt x="114" y="12"/>
                </a:lnTo>
                <a:lnTo>
                  <a:pt x="120" y="12"/>
                </a:lnTo>
                <a:lnTo>
                  <a:pt x="126" y="12"/>
                </a:lnTo>
                <a:lnTo>
                  <a:pt x="132" y="18"/>
                </a:lnTo>
                <a:lnTo>
                  <a:pt x="138" y="18"/>
                </a:lnTo>
                <a:lnTo>
                  <a:pt x="144" y="18"/>
                </a:lnTo>
                <a:lnTo>
                  <a:pt x="150" y="18"/>
                </a:lnTo>
                <a:lnTo>
                  <a:pt x="150" y="24"/>
                </a:lnTo>
                <a:lnTo>
                  <a:pt x="150" y="30"/>
                </a:lnTo>
                <a:lnTo>
                  <a:pt x="156" y="30"/>
                </a:lnTo>
                <a:lnTo>
                  <a:pt x="162" y="30"/>
                </a:lnTo>
                <a:lnTo>
                  <a:pt x="168" y="30"/>
                </a:lnTo>
                <a:lnTo>
                  <a:pt x="174" y="30"/>
                </a:lnTo>
                <a:lnTo>
                  <a:pt x="180" y="24"/>
                </a:lnTo>
                <a:lnTo>
                  <a:pt x="180" y="30"/>
                </a:lnTo>
                <a:lnTo>
                  <a:pt x="180" y="36"/>
                </a:lnTo>
                <a:lnTo>
                  <a:pt x="186" y="36"/>
                </a:lnTo>
                <a:lnTo>
                  <a:pt x="192" y="36"/>
                </a:lnTo>
                <a:lnTo>
                  <a:pt x="198" y="36"/>
                </a:lnTo>
                <a:lnTo>
                  <a:pt x="204" y="36"/>
                </a:lnTo>
                <a:lnTo>
                  <a:pt x="210" y="36"/>
                </a:lnTo>
                <a:lnTo>
                  <a:pt x="210" y="42"/>
                </a:lnTo>
                <a:lnTo>
                  <a:pt x="216" y="42"/>
                </a:lnTo>
                <a:lnTo>
                  <a:pt x="222" y="42"/>
                </a:lnTo>
                <a:lnTo>
                  <a:pt x="228" y="42"/>
                </a:lnTo>
                <a:lnTo>
                  <a:pt x="228" y="48"/>
                </a:lnTo>
                <a:lnTo>
                  <a:pt x="234" y="48"/>
                </a:lnTo>
                <a:lnTo>
                  <a:pt x="234" y="54"/>
                </a:lnTo>
                <a:lnTo>
                  <a:pt x="240" y="54"/>
                </a:lnTo>
                <a:lnTo>
                  <a:pt x="246" y="54"/>
                </a:lnTo>
                <a:lnTo>
                  <a:pt x="252" y="54"/>
                </a:lnTo>
                <a:lnTo>
                  <a:pt x="258" y="54"/>
                </a:lnTo>
                <a:lnTo>
                  <a:pt x="258" y="48"/>
                </a:lnTo>
                <a:lnTo>
                  <a:pt x="264" y="48"/>
                </a:lnTo>
                <a:lnTo>
                  <a:pt x="270" y="48"/>
                </a:lnTo>
                <a:lnTo>
                  <a:pt x="270" y="42"/>
                </a:lnTo>
                <a:lnTo>
                  <a:pt x="276" y="42"/>
                </a:lnTo>
                <a:lnTo>
                  <a:pt x="276" y="36"/>
                </a:lnTo>
                <a:lnTo>
                  <a:pt x="282" y="36"/>
                </a:lnTo>
                <a:lnTo>
                  <a:pt x="288" y="36"/>
                </a:lnTo>
                <a:lnTo>
                  <a:pt x="288" y="30"/>
                </a:lnTo>
                <a:lnTo>
                  <a:pt x="294" y="30"/>
                </a:lnTo>
                <a:lnTo>
                  <a:pt x="294" y="24"/>
                </a:lnTo>
                <a:lnTo>
                  <a:pt x="300" y="24"/>
                </a:lnTo>
                <a:lnTo>
                  <a:pt x="306" y="24"/>
                </a:lnTo>
                <a:lnTo>
                  <a:pt x="312" y="24"/>
                </a:lnTo>
                <a:lnTo>
                  <a:pt x="312" y="18"/>
                </a:lnTo>
                <a:lnTo>
                  <a:pt x="318" y="18"/>
                </a:lnTo>
                <a:lnTo>
                  <a:pt x="318" y="12"/>
                </a:lnTo>
                <a:lnTo>
                  <a:pt x="324" y="12"/>
                </a:lnTo>
                <a:lnTo>
                  <a:pt x="330" y="12"/>
                </a:lnTo>
                <a:lnTo>
                  <a:pt x="336" y="12"/>
                </a:lnTo>
                <a:lnTo>
                  <a:pt x="342" y="6"/>
                </a:lnTo>
                <a:lnTo>
                  <a:pt x="348" y="6"/>
                </a:lnTo>
                <a:lnTo>
                  <a:pt x="342" y="6"/>
                </a:lnTo>
                <a:lnTo>
                  <a:pt x="342" y="12"/>
                </a:lnTo>
                <a:lnTo>
                  <a:pt x="336" y="12"/>
                </a:lnTo>
                <a:lnTo>
                  <a:pt x="330" y="12"/>
                </a:lnTo>
                <a:lnTo>
                  <a:pt x="330" y="18"/>
                </a:lnTo>
                <a:lnTo>
                  <a:pt x="324" y="18"/>
                </a:lnTo>
                <a:lnTo>
                  <a:pt x="330" y="18"/>
                </a:lnTo>
                <a:lnTo>
                  <a:pt x="336" y="18"/>
                </a:lnTo>
                <a:lnTo>
                  <a:pt x="342" y="18"/>
                </a:lnTo>
                <a:lnTo>
                  <a:pt x="342" y="12"/>
                </a:lnTo>
                <a:lnTo>
                  <a:pt x="342" y="18"/>
                </a:lnTo>
                <a:lnTo>
                  <a:pt x="342" y="12"/>
                </a:lnTo>
                <a:lnTo>
                  <a:pt x="342" y="18"/>
                </a:lnTo>
                <a:lnTo>
                  <a:pt x="342" y="12"/>
                </a:lnTo>
                <a:lnTo>
                  <a:pt x="342" y="18"/>
                </a:lnTo>
                <a:lnTo>
                  <a:pt x="342" y="12"/>
                </a:lnTo>
                <a:lnTo>
                  <a:pt x="348" y="12"/>
                </a:lnTo>
                <a:lnTo>
                  <a:pt x="348" y="18"/>
                </a:lnTo>
                <a:lnTo>
                  <a:pt x="348" y="12"/>
                </a:lnTo>
                <a:lnTo>
                  <a:pt x="354" y="12"/>
                </a:lnTo>
                <a:lnTo>
                  <a:pt x="360" y="12"/>
                </a:lnTo>
                <a:lnTo>
                  <a:pt x="360" y="6"/>
                </a:lnTo>
                <a:lnTo>
                  <a:pt x="354" y="6"/>
                </a:lnTo>
                <a:lnTo>
                  <a:pt x="348" y="6"/>
                </a:lnTo>
                <a:lnTo>
                  <a:pt x="354" y="6"/>
                </a:lnTo>
                <a:lnTo>
                  <a:pt x="360" y="6"/>
                </a:lnTo>
                <a:lnTo>
                  <a:pt x="366" y="6"/>
                </a:lnTo>
                <a:lnTo>
                  <a:pt x="372" y="6"/>
                </a:lnTo>
                <a:lnTo>
                  <a:pt x="372" y="12"/>
                </a:lnTo>
                <a:lnTo>
                  <a:pt x="378" y="12"/>
                </a:lnTo>
                <a:lnTo>
                  <a:pt x="384" y="12"/>
                </a:lnTo>
                <a:lnTo>
                  <a:pt x="390" y="12"/>
                </a:lnTo>
                <a:lnTo>
                  <a:pt x="396" y="12"/>
                </a:lnTo>
                <a:lnTo>
                  <a:pt x="396" y="6"/>
                </a:lnTo>
                <a:lnTo>
                  <a:pt x="396" y="12"/>
                </a:lnTo>
                <a:lnTo>
                  <a:pt x="396" y="6"/>
                </a:lnTo>
                <a:lnTo>
                  <a:pt x="402" y="12"/>
                </a:lnTo>
                <a:lnTo>
                  <a:pt x="402" y="6"/>
                </a:lnTo>
                <a:lnTo>
                  <a:pt x="402" y="12"/>
                </a:lnTo>
                <a:lnTo>
                  <a:pt x="408" y="12"/>
                </a:lnTo>
                <a:lnTo>
                  <a:pt x="408" y="18"/>
                </a:lnTo>
                <a:lnTo>
                  <a:pt x="414" y="18"/>
                </a:lnTo>
                <a:lnTo>
                  <a:pt x="414" y="24"/>
                </a:lnTo>
                <a:lnTo>
                  <a:pt x="420" y="24"/>
                </a:lnTo>
                <a:lnTo>
                  <a:pt x="414" y="24"/>
                </a:lnTo>
                <a:lnTo>
                  <a:pt x="414" y="18"/>
                </a:lnTo>
                <a:lnTo>
                  <a:pt x="408" y="18"/>
                </a:lnTo>
                <a:lnTo>
                  <a:pt x="408" y="12"/>
                </a:lnTo>
                <a:lnTo>
                  <a:pt x="402" y="12"/>
                </a:lnTo>
                <a:lnTo>
                  <a:pt x="402" y="6"/>
                </a:lnTo>
                <a:lnTo>
                  <a:pt x="402" y="12"/>
                </a:lnTo>
                <a:lnTo>
                  <a:pt x="402" y="18"/>
                </a:lnTo>
                <a:lnTo>
                  <a:pt x="402" y="12"/>
                </a:lnTo>
                <a:lnTo>
                  <a:pt x="396" y="12"/>
                </a:lnTo>
                <a:lnTo>
                  <a:pt x="402" y="12"/>
                </a:lnTo>
                <a:lnTo>
                  <a:pt x="402" y="18"/>
                </a:lnTo>
                <a:lnTo>
                  <a:pt x="396" y="18"/>
                </a:lnTo>
                <a:lnTo>
                  <a:pt x="402" y="18"/>
                </a:lnTo>
                <a:lnTo>
                  <a:pt x="396" y="18"/>
                </a:lnTo>
                <a:lnTo>
                  <a:pt x="402" y="18"/>
                </a:lnTo>
                <a:lnTo>
                  <a:pt x="396" y="18"/>
                </a:lnTo>
                <a:lnTo>
                  <a:pt x="402" y="18"/>
                </a:lnTo>
                <a:lnTo>
                  <a:pt x="396" y="18"/>
                </a:lnTo>
                <a:lnTo>
                  <a:pt x="396" y="24"/>
                </a:lnTo>
                <a:lnTo>
                  <a:pt x="402" y="24"/>
                </a:lnTo>
                <a:lnTo>
                  <a:pt x="396" y="24"/>
                </a:lnTo>
                <a:lnTo>
                  <a:pt x="402" y="24"/>
                </a:lnTo>
                <a:lnTo>
                  <a:pt x="396" y="24"/>
                </a:lnTo>
                <a:lnTo>
                  <a:pt x="402" y="30"/>
                </a:lnTo>
                <a:lnTo>
                  <a:pt x="402" y="24"/>
                </a:lnTo>
                <a:lnTo>
                  <a:pt x="402" y="30"/>
                </a:lnTo>
                <a:lnTo>
                  <a:pt x="408" y="30"/>
                </a:lnTo>
                <a:lnTo>
                  <a:pt x="408" y="24"/>
                </a:lnTo>
                <a:lnTo>
                  <a:pt x="408" y="30"/>
                </a:lnTo>
                <a:lnTo>
                  <a:pt x="408" y="36"/>
                </a:lnTo>
                <a:lnTo>
                  <a:pt x="414" y="36"/>
                </a:lnTo>
                <a:lnTo>
                  <a:pt x="408" y="36"/>
                </a:lnTo>
                <a:lnTo>
                  <a:pt x="414" y="36"/>
                </a:lnTo>
                <a:lnTo>
                  <a:pt x="414" y="42"/>
                </a:lnTo>
                <a:lnTo>
                  <a:pt x="414" y="36"/>
                </a:lnTo>
                <a:lnTo>
                  <a:pt x="420" y="36"/>
                </a:lnTo>
                <a:lnTo>
                  <a:pt x="414" y="36"/>
                </a:lnTo>
                <a:lnTo>
                  <a:pt x="414" y="30"/>
                </a:lnTo>
                <a:lnTo>
                  <a:pt x="420" y="30"/>
                </a:lnTo>
                <a:lnTo>
                  <a:pt x="420" y="36"/>
                </a:lnTo>
                <a:lnTo>
                  <a:pt x="426" y="36"/>
                </a:lnTo>
                <a:lnTo>
                  <a:pt x="420" y="30"/>
                </a:lnTo>
                <a:lnTo>
                  <a:pt x="426" y="30"/>
                </a:lnTo>
                <a:lnTo>
                  <a:pt x="420" y="24"/>
                </a:lnTo>
                <a:lnTo>
                  <a:pt x="426" y="24"/>
                </a:lnTo>
                <a:lnTo>
                  <a:pt x="420" y="24"/>
                </a:lnTo>
                <a:lnTo>
                  <a:pt x="426" y="24"/>
                </a:lnTo>
                <a:lnTo>
                  <a:pt x="420" y="24"/>
                </a:lnTo>
                <a:lnTo>
                  <a:pt x="426" y="24"/>
                </a:lnTo>
                <a:lnTo>
                  <a:pt x="426" y="30"/>
                </a:lnTo>
                <a:lnTo>
                  <a:pt x="426" y="36"/>
                </a:lnTo>
                <a:lnTo>
                  <a:pt x="426" y="30"/>
                </a:lnTo>
                <a:lnTo>
                  <a:pt x="432" y="30"/>
                </a:lnTo>
                <a:lnTo>
                  <a:pt x="426" y="30"/>
                </a:lnTo>
                <a:lnTo>
                  <a:pt x="432" y="30"/>
                </a:lnTo>
                <a:lnTo>
                  <a:pt x="426" y="30"/>
                </a:lnTo>
                <a:lnTo>
                  <a:pt x="432" y="30"/>
                </a:lnTo>
                <a:lnTo>
                  <a:pt x="432" y="36"/>
                </a:lnTo>
                <a:lnTo>
                  <a:pt x="438" y="36"/>
                </a:lnTo>
                <a:lnTo>
                  <a:pt x="438" y="42"/>
                </a:lnTo>
                <a:lnTo>
                  <a:pt x="444" y="42"/>
                </a:lnTo>
                <a:lnTo>
                  <a:pt x="450" y="36"/>
                </a:lnTo>
                <a:lnTo>
                  <a:pt x="456" y="36"/>
                </a:lnTo>
                <a:lnTo>
                  <a:pt x="462" y="36"/>
                </a:lnTo>
                <a:lnTo>
                  <a:pt x="456" y="36"/>
                </a:lnTo>
                <a:lnTo>
                  <a:pt x="450" y="36"/>
                </a:lnTo>
                <a:lnTo>
                  <a:pt x="450" y="42"/>
                </a:lnTo>
                <a:lnTo>
                  <a:pt x="444" y="42"/>
                </a:lnTo>
                <a:lnTo>
                  <a:pt x="450" y="42"/>
                </a:lnTo>
                <a:lnTo>
                  <a:pt x="444" y="42"/>
                </a:lnTo>
                <a:lnTo>
                  <a:pt x="450" y="42"/>
                </a:lnTo>
                <a:lnTo>
                  <a:pt x="456" y="36"/>
                </a:lnTo>
                <a:lnTo>
                  <a:pt x="462" y="36"/>
                </a:lnTo>
                <a:lnTo>
                  <a:pt x="456" y="36"/>
                </a:lnTo>
                <a:lnTo>
                  <a:pt x="462" y="36"/>
                </a:lnTo>
                <a:lnTo>
                  <a:pt x="456" y="36"/>
                </a:lnTo>
                <a:lnTo>
                  <a:pt x="462" y="36"/>
                </a:lnTo>
                <a:lnTo>
                  <a:pt x="462" y="42"/>
                </a:lnTo>
                <a:lnTo>
                  <a:pt x="462" y="36"/>
                </a:lnTo>
                <a:lnTo>
                  <a:pt x="468" y="36"/>
                </a:lnTo>
                <a:lnTo>
                  <a:pt x="462" y="36"/>
                </a:lnTo>
                <a:lnTo>
                  <a:pt x="468" y="36"/>
                </a:lnTo>
                <a:lnTo>
                  <a:pt x="468" y="30"/>
                </a:lnTo>
                <a:lnTo>
                  <a:pt x="468" y="36"/>
                </a:lnTo>
                <a:lnTo>
                  <a:pt x="474" y="36"/>
                </a:lnTo>
                <a:lnTo>
                  <a:pt x="468" y="36"/>
                </a:lnTo>
                <a:lnTo>
                  <a:pt x="474" y="36"/>
                </a:lnTo>
                <a:lnTo>
                  <a:pt x="468" y="42"/>
                </a:lnTo>
                <a:lnTo>
                  <a:pt x="474" y="42"/>
                </a:lnTo>
                <a:lnTo>
                  <a:pt x="474" y="36"/>
                </a:lnTo>
                <a:lnTo>
                  <a:pt x="480" y="36"/>
                </a:lnTo>
                <a:lnTo>
                  <a:pt x="474" y="36"/>
                </a:lnTo>
                <a:lnTo>
                  <a:pt x="480" y="36"/>
                </a:lnTo>
                <a:lnTo>
                  <a:pt x="480" y="42"/>
                </a:lnTo>
                <a:lnTo>
                  <a:pt x="480" y="36"/>
                </a:lnTo>
                <a:lnTo>
                  <a:pt x="486" y="36"/>
                </a:lnTo>
                <a:lnTo>
                  <a:pt x="480" y="36"/>
                </a:lnTo>
                <a:lnTo>
                  <a:pt x="486" y="36"/>
                </a:lnTo>
                <a:lnTo>
                  <a:pt x="492" y="36"/>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close/>
                <a:moveTo>
                  <a:pt x="516" y="264"/>
                </a:moveTo>
                <a:lnTo>
                  <a:pt x="522" y="264"/>
                </a:lnTo>
                <a:lnTo>
                  <a:pt x="522" y="270"/>
                </a:lnTo>
                <a:lnTo>
                  <a:pt x="516" y="270"/>
                </a:lnTo>
                <a:lnTo>
                  <a:pt x="516" y="264"/>
                </a:lnTo>
                <a:close/>
                <a:moveTo>
                  <a:pt x="462" y="36"/>
                </a:moveTo>
                <a:lnTo>
                  <a:pt x="462" y="30"/>
                </a:lnTo>
                <a:lnTo>
                  <a:pt x="468" y="30"/>
                </a:lnTo>
                <a:lnTo>
                  <a:pt x="474" y="30"/>
                </a:lnTo>
                <a:lnTo>
                  <a:pt x="480" y="30"/>
                </a:lnTo>
                <a:lnTo>
                  <a:pt x="474" y="30"/>
                </a:lnTo>
                <a:lnTo>
                  <a:pt x="468" y="30"/>
                </a:lnTo>
                <a:lnTo>
                  <a:pt x="462" y="30"/>
                </a:lnTo>
                <a:lnTo>
                  <a:pt x="462" y="36"/>
                </a:lnTo>
                <a:close/>
                <a:moveTo>
                  <a:pt x="504" y="258"/>
                </a:moveTo>
                <a:lnTo>
                  <a:pt x="510" y="258"/>
                </a:lnTo>
                <a:lnTo>
                  <a:pt x="510" y="264"/>
                </a:lnTo>
                <a:lnTo>
                  <a:pt x="504" y="264"/>
                </a:lnTo>
                <a:lnTo>
                  <a:pt x="504" y="258"/>
                </a:lnTo>
                <a:close/>
                <a:moveTo>
                  <a:pt x="402" y="24"/>
                </a:moveTo>
                <a:lnTo>
                  <a:pt x="408" y="24"/>
                </a:lnTo>
                <a:lnTo>
                  <a:pt x="402" y="24"/>
                </a:lnTo>
                <a:close/>
                <a:moveTo>
                  <a:pt x="516" y="282"/>
                </a:moveTo>
                <a:lnTo>
                  <a:pt x="516" y="288"/>
                </a:lnTo>
                <a:lnTo>
                  <a:pt x="517" y="288"/>
                </a:lnTo>
                <a:lnTo>
                  <a:pt x="516" y="282"/>
                </a:lnTo>
                <a:close/>
                <a:moveTo>
                  <a:pt x="606" y="528"/>
                </a:moveTo>
                <a:lnTo>
                  <a:pt x="618" y="528"/>
                </a:lnTo>
                <a:lnTo>
                  <a:pt x="618" y="534"/>
                </a:lnTo>
                <a:lnTo>
                  <a:pt x="606" y="534"/>
                </a:lnTo>
                <a:lnTo>
                  <a:pt x="606" y="528"/>
                </a:lnTo>
                <a:close/>
                <a:moveTo>
                  <a:pt x="480" y="30"/>
                </a:moveTo>
                <a:lnTo>
                  <a:pt x="492" y="30"/>
                </a:lnTo>
                <a:lnTo>
                  <a:pt x="492" y="36"/>
                </a:lnTo>
                <a:lnTo>
                  <a:pt x="480" y="36"/>
                </a:lnTo>
                <a:lnTo>
                  <a:pt x="480" y="30"/>
                </a:lnTo>
                <a:close/>
                <a:moveTo>
                  <a:pt x="516" y="312"/>
                </a:moveTo>
                <a:lnTo>
                  <a:pt x="522" y="312"/>
                </a:lnTo>
                <a:lnTo>
                  <a:pt x="522" y="318"/>
                </a:lnTo>
                <a:lnTo>
                  <a:pt x="516" y="318"/>
                </a:lnTo>
                <a:lnTo>
                  <a:pt x="516" y="312"/>
                </a:lnTo>
                <a:close/>
                <a:moveTo>
                  <a:pt x="504" y="252"/>
                </a:moveTo>
                <a:lnTo>
                  <a:pt x="504" y="258"/>
                </a:lnTo>
                <a:lnTo>
                  <a:pt x="505" y="258"/>
                </a:lnTo>
                <a:lnTo>
                  <a:pt x="504" y="252"/>
                </a:lnTo>
                <a:close/>
                <a:moveTo>
                  <a:pt x="402" y="12"/>
                </a:moveTo>
                <a:lnTo>
                  <a:pt x="408" y="12"/>
                </a:lnTo>
                <a:lnTo>
                  <a:pt x="408" y="18"/>
                </a:lnTo>
                <a:lnTo>
                  <a:pt x="402" y="18"/>
                </a:lnTo>
                <a:lnTo>
                  <a:pt x="402" y="12"/>
                </a:lnTo>
                <a:close/>
                <a:moveTo>
                  <a:pt x="426" y="24"/>
                </a:moveTo>
                <a:lnTo>
                  <a:pt x="426" y="30"/>
                </a:lnTo>
                <a:lnTo>
                  <a:pt x="427" y="30"/>
                </a:lnTo>
                <a:lnTo>
                  <a:pt x="426" y="24"/>
                </a:lnTo>
                <a:close/>
                <a:moveTo>
                  <a:pt x="402" y="6"/>
                </a:moveTo>
                <a:lnTo>
                  <a:pt x="402" y="12"/>
                </a:lnTo>
                <a:lnTo>
                  <a:pt x="403" y="12"/>
                </a:lnTo>
                <a:lnTo>
                  <a:pt x="402" y="6"/>
                </a:lnTo>
                <a:close/>
                <a:moveTo>
                  <a:pt x="420" y="30"/>
                </a:moveTo>
                <a:lnTo>
                  <a:pt x="426" y="30"/>
                </a:lnTo>
                <a:lnTo>
                  <a:pt x="420" y="30"/>
                </a:lnTo>
                <a:close/>
                <a:moveTo>
                  <a:pt x="594" y="456"/>
                </a:moveTo>
                <a:lnTo>
                  <a:pt x="594" y="462"/>
                </a:lnTo>
                <a:lnTo>
                  <a:pt x="595" y="462"/>
                </a:lnTo>
                <a:lnTo>
                  <a:pt x="594" y="456"/>
                </a:lnTo>
                <a:close/>
                <a:moveTo>
                  <a:pt x="402" y="18"/>
                </a:moveTo>
                <a:lnTo>
                  <a:pt x="408" y="18"/>
                </a:lnTo>
                <a:lnTo>
                  <a:pt x="402" y="18"/>
                </a:lnTo>
                <a:close/>
                <a:moveTo>
                  <a:pt x="498" y="252"/>
                </a:moveTo>
                <a:lnTo>
                  <a:pt x="504" y="252"/>
                </a:lnTo>
                <a:lnTo>
                  <a:pt x="498" y="252"/>
                </a:lnTo>
                <a:close/>
                <a:moveTo>
                  <a:pt x="414" y="24"/>
                </a:moveTo>
                <a:lnTo>
                  <a:pt x="420" y="24"/>
                </a:lnTo>
                <a:lnTo>
                  <a:pt x="420" y="30"/>
                </a:lnTo>
                <a:lnTo>
                  <a:pt x="414" y="30"/>
                </a:lnTo>
                <a:lnTo>
                  <a:pt x="414" y="24"/>
                </a:lnTo>
                <a:close/>
                <a:moveTo>
                  <a:pt x="582" y="444"/>
                </a:moveTo>
                <a:lnTo>
                  <a:pt x="588" y="444"/>
                </a:lnTo>
                <a:lnTo>
                  <a:pt x="582" y="444"/>
                </a:lnTo>
                <a:close/>
                <a:moveTo>
                  <a:pt x="498" y="246"/>
                </a:moveTo>
                <a:lnTo>
                  <a:pt x="498" y="252"/>
                </a:lnTo>
                <a:lnTo>
                  <a:pt x="499" y="252"/>
                </a:lnTo>
                <a:lnTo>
                  <a:pt x="498" y="246"/>
                </a:lnTo>
                <a:close/>
                <a:moveTo>
                  <a:pt x="516" y="282"/>
                </a:moveTo>
                <a:lnTo>
                  <a:pt x="516" y="288"/>
                </a:lnTo>
                <a:lnTo>
                  <a:pt x="517" y="288"/>
                </a:lnTo>
                <a:lnTo>
                  <a:pt x="516" y="282"/>
                </a:lnTo>
                <a:close/>
                <a:moveTo>
                  <a:pt x="414" y="30"/>
                </a:moveTo>
                <a:lnTo>
                  <a:pt x="420" y="30"/>
                </a:lnTo>
                <a:lnTo>
                  <a:pt x="414" y="30"/>
                </a:lnTo>
                <a:close/>
                <a:moveTo>
                  <a:pt x="408" y="18"/>
                </a:moveTo>
                <a:lnTo>
                  <a:pt x="414" y="18"/>
                </a:lnTo>
                <a:lnTo>
                  <a:pt x="414" y="24"/>
                </a:lnTo>
                <a:lnTo>
                  <a:pt x="408" y="24"/>
                </a:lnTo>
                <a:lnTo>
                  <a:pt x="408" y="18"/>
                </a:lnTo>
                <a:close/>
                <a:moveTo>
                  <a:pt x="414" y="24"/>
                </a:moveTo>
                <a:lnTo>
                  <a:pt x="414" y="30"/>
                </a:lnTo>
                <a:lnTo>
                  <a:pt x="415" y="30"/>
                </a:lnTo>
                <a:lnTo>
                  <a:pt x="414" y="24"/>
                </a:lnTo>
                <a:close/>
                <a:moveTo>
                  <a:pt x="498" y="252"/>
                </a:moveTo>
                <a:lnTo>
                  <a:pt x="498" y="258"/>
                </a:lnTo>
                <a:lnTo>
                  <a:pt x="499" y="258"/>
                </a:lnTo>
                <a:lnTo>
                  <a:pt x="498" y="252"/>
                </a:lnTo>
                <a:close/>
                <a:moveTo>
                  <a:pt x="402" y="24"/>
                </a:moveTo>
                <a:lnTo>
                  <a:pt x="408" y="24"/>
                </a:lnTo>
                <a:lnTo>
                  <a:pt x="402" y="24"/>
                </a:lnTo>
                <a:close/>
                <a:moveTo>
                  <a:pt x="594" y="462"/>
                </a:moveTo>
                <a:lnTo>
                  <a:pt x="600" y="462"/>
                </a:lnTo>
                <a:lnTo>
                  <a:pt x="594" y="462"/>
                </a:lnTo>
                <a:close/>
                <a:moveTo>
                  <a:pt x="510" y="258"/>
                </a:moveTo>
                <a:lnTo>
                  <a:pt x="510" y="264"/>
                </a:lnTo>
                <a:lnTo>
                  <a:pt x="511" y="264"/>
                </a:lnTo>
                <a:lnTo>
                  <a:pt x="510" y="258"/>
                </a:lnTo>
                <a:close/>
                <a:moveTo>
                  <a:pt x="510" y="252"/>
                </a:moveTo>
                <a:lnTo>
                  <a:pt x="510" y="258"/>
                </a:lnTo>
                <a:lnTo>
                  <a:pt x="511" y="258"/>
                </a:lnTo>
                <a:lnTo>
                  <a:pt x="510" y="252"/>
                </a:lnTo>
                <a:close/>
                <a:moveTo>
                  <a:pt x="498" y="258"/>
                </a:moveTo>
                <a:lnTo>
                  <a:pt x="504" y="258"/>
                </a:lnTo>
                <a:lnTo>
                  <a:pt x="498" y="258"/>
                </a:lnTo>
                <a:close/>
                <a:moveTo>
                  <a:pt x="594" y="462"/>
                </a:moveTo>
                <a:lnTo>
                  <a:pt x="600" y="462"/>
                </a:lnTo>
                <a:lnTo>
                  <a:pt x="594" y="462"/>
                </a:lnTo>
                <a:close/>
                <a:moveTo>
                  <a:pt x="402" y="18"/>
                </a:moveTo>
                <a:lnTo>
                  <a:pt x="402" y="24"/>
                </a:lnTo>
                <a:lnTo>
                  <a:pt x="403" y="24"/>
                </a:lnTo>
                <a:lnTo>
                  <a:pt x="402" y="18"/>
                </a:lnTo>
                <a:close/>
                <a:moveTo>
                  <a:pt x="504" y="246"/>
                </a:moveTo>
                <a:lnTo>
                  <a:pt x="504" y="252"/>
                </a:lnTo>
                <a:lnTo>
                  <a:pt x="505" y="252"/>
                </a:lnTo>
                <a:lnTo>
                  <a:pt x="504" y="246"/>
                </a:lnTo>
                <a:close/>
                <a:moveTo>
                  <a:pt x="504" y="246"/>
                </a:moveTo>
                <a:lnTo>
                  <a:pt x="504" y="252"/>
                </a:lnTo>
                <a:lnTo>
                  <a:pt x="505" y="252"/>
                </a:lnTo>
                <a:lnTo>
                  <a:pt x="504" y="246"/>
                </a:lnTo>
                <a:close/>
                <a:moveTo>
                  <a:pt x="348" y="6"/>
                </a:moveTo>
                <a:lnTo>
                  <a:pt x="354" y="6"/>
                </a:lnTo>
                <a:lnTo>
                  <a:pt x="348" y="6"/>
                </a:lnTo>
                <a:close/>
                <a:moveTo>
                  <a:pt x="504" y="264"/>
                </a:moveTo>
                <a:lnTo>
                  <a:pt x="510" y="264"/>
                </a:lnTo>
                <a:lnTo>
                  <a:pt x="504" y="264"/>
                </a:lnTo>
                <a:close/>
                <a:moveTo>
                  <a:pt x="414" y="24"/>
                </a:moveTo>
                <a:lnTo>
                  <a:pt x="420" y="24"/>
                </a:lnTo>
                <a:lnTo>
                  <a:pt x="414" y="24"/>
                </a:lnTo>
                <a:close/>
                <a:moveTo>
                  <a:pt x="408" y="18"/>
                </a:moveTo>
                <a:lnTo>
                  <a:pt x="408" y="24"/>
                </a:lnTo>
                <a:lnTo>
                  <a:pt x="409" y="24"/>
                </a:lnTo>
                <a:lnTo>
                  <a:pt x="408" y="18"/>
                </a:lnTo>
                <a:close/>
                <a:moveTo>
                  <a:pt x="576" y="420"/>
                </a:moveTo>
                <a:lnTo>
                  <a:pt x="576" y="426"/>
                </a:lnTo>
                <a:lnTo>
                  <a:pt x="577" y="426"/>
                </a:lnTo>
                <a:lnTo>
                  <a:pt x="576" y="420"/>
                </a:lnTo>
                <a:close/>
                <a:moveTo>
                  <a:pt x="600" y="492"/>
                </a:moveTo>
                <a:lnTo>
                  <a:pt x="606" y="492"/>
                </a:lnTo>
                <a:lnTo>
                  <a:pt x="600" y="492"/>
                </a:lnTo>
                <a:close/>
                <a:moveTo>
                  <a:pt x="408" y="24"/>
                </a:moveTo>
                <a:lnTo>
                  <a:pt x="408" y="30"/>
                </a:lnTo>
                <a:lnTo>
                  <a:pt x="409" y="30"/>
                </a:lnTo>
                <a:lnTo>
                  <a:pt x="408" y="24"/>
                </a:lnTo>
                <a:close/>
                <a:moveTo>
                  <a:pt x="348" y="6"/>
                </a:moveTo>
                <a:lnTo>
                  <a:pt x="348" y="12"/>
                </a:lnTo>
                <a:lnTo>
                  <a:pt x="349" y="12"/>
                </a:lnTo>
                <a:lnTo>
                  <a:pt x="348" y="6"/>
                </a:lnTo>
                <a:close/>
                <a:moveTo>
                  <a:pt x="408" y="24"/>
                </a:moveTo>
                <a:lnTo>
                  <a:pt x="414" y="24"/>
                </a:lnTo>
                <a:lnTo>
                  <a:pt x="408" y="24"/>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5" name="Freeform 36">
            <a:extLst>
              <a:ext uri="{FF2B5EF4-FFF2-40B4-BE49-F238E27FC236}">
                <a16:creationId xmlns:a16="http://schemas.microsoft.com/office/drawing/2014/main" id="{A9B54FB9-B380-3349-BD0D-5C4C8721ADB0}"/>
              </a:ext>
            </a:extLst>
          </p:cNvPr>
          <p:cNvSpPr>
            <a:spLocks/>
          </p:cNvSpPr>
          <p:nvPr>
            <p:custDataLst>
              <p:tags r:id="rId33"/>
            </p:custDataLst>
          </p:nvPr>
        </p:nvSpPr>
        <p:spPr bwMode="gray">
          <a:xfrm>
            <a:off x="4148056" y="2848173"/>
            <a:ext cx="1010132" cy="735512"/>
          </a:xfrm>
          <a:custGeom>
            <a:avLst/>
            <a:gdLst>
              <a:gd name="T0" fmla="*/ 14583 w 876"/>
              <a:gd name="T1" fmla="*/ 62083 h 852"/>
              <a:gd name="T2" fmla="*/ 17500 w 876"/>
              <a:gd name="T3" fmla="*/ 49473 h 852"/>
              <a:gd name="T4" fmla="*/ 17500 w 876"/>
              <a:gd name="T5" fmla="*/ 37832 h 852"/>
              <a:gd name="T6" fmla="*/ 26250 w 876"/>
              <a:gd name="T7" fmla="*/ 30072 h 852"/>
              <a:gd name="T8" fmla="*/ 37916 w 876"/>
              <a:gd name="T9" fmla="*/ 21341 h 852"/>
              <a:gd name="T10" fmla="*/ 42778 w 876"/>
              <a:gd name="T11" fmla="*/ 12611 h 852"/>
              <a:gd name="T12" fmla="*/ 46667 w 876"/>
              <a:gd name="T13" fmla="*/ 1940 h 852"/>
              <a:gd name="T14" fmla="*/ 56389 w 876"/>
              <a:gd name="T15" fmla="*/ 6791 h 852"/>
              <a:gd name="T16" fmla="*/ 68056 w 876"/>
              <a:gd name="T17" fmla="*/ 10671 h 852"/>
              <a:gd name="T18" fmla="*/ 81666 w 876"/>
              <a:gd name="T19" fmla="*/ 8731 h 852"/>
              <a:gd name="T20" fmla="*/ 92361 w 876"/>
              <a:gd name="T21" fmla="*/ 10671 h 852"/>
              <a:gd name="T22" fmla="*/ 105000 w 876"/>
              <a:gd name="T23" fmla="*/ 17461 h 852"/>
              <a:gd name="T24" fmla="*/ 117639 w 876"/>
              <a:gd name="T25" fmla="*/ 21341 h 852"/>
              <a:gd name="T26" fmla="*/ 121528 w 876"/>
              <a:gd name="T27" fmla="*/ 33952 h 852"/>
              <a:gd name="T28" fmla="*/ 131250 w 876"/>
              <a:gd name="T29" fmla="*/ 44623 h 852"/>
              <a:gd name="T30" fmla="*/ 147777 w 876"/>
              <a:gd name="T31" fmla="*/ 46563 h 852"/>
              <a:gd name="T32" fmla="*/ 160416 w 876"/>
              <a:gd name="T33" fmla="*/ 51413 h 852"/>
              <a:gd name="T34" fmla="*/ 174027 w 876"/>
              <a:gd name="T35" fmla="*/ 55294 h 852"/>
              <a:gd name="T36" fmla="*/ 181805 w 876"/>
              <a:gd name="T37" fmla="*/ 64024 h 852"/>
              <a:gd name="T38" fmla="*/ 197360 w 876"/>
              <a:gd name="T39" fmla="*/ 67904 h 852"/>
              <a:gd name="T40" fmla="*/ 206111 w 876"/>
              <a:gd name="T41" fmla="*/ 62083 h 852"/>
              <a:gd name="T42" fmla="*/ 214861 w 876"/>
              <a:gd name="T43" fmla="*/ 53353 h 852"/>
              <a:gd name="T44" fmla="*/ 210000 w 876"/>
              <a:gd name="T45" fmla="*/ 37832 h 852"/>
              <a:gd name="T46" fmla="*/ 211944 w 876"/>
              <a:gd name="T47" fmla="*/ 23281 h 852"/>
              <a:gd name="T48" fmla="*/ 222638 w 876"/>
              <a:gd name="T49" fmla="*/ 14551 h 852"/>
              <a:gd name="T50" fmla="*/ 238194 w 876"/>
              <a:gd name="T51" fmla="*/ 10671 h 852"/>
              <a:gd name="T52" fmla="*/ 250832 w 876"/>
              <a:gd name="T53" fmla="*/ 6791 h 852"/>
              <a:gd name="T54" fmla="*/ 263472 w 876"/>
              <a:gd name="T55" fmla="*/ 10671 h 852"/>
              <a:gd name="T56" fmla="*/ 272221 w 876"/>
              <a:gd name="T57" fmla="*/ 14551 h 852"/>
              <a:gd name="T58" fmla="*/ 274166 w 876"/>
              <a:gd name="T59" fmla="*/ 21341 h 852"/>
              <a:gd name="T60" fmla="*/ 280972 w 876"/>
              <a:gd name="T61" fmla="*/ 23281 h 852"/>
              <a:gd name="T62" fmla="*/ 291666 w 876"/>
              <a:gd name="T63" fmla="*/ 26191 h 852"/>
              <a:gd name="T64" fmla="*/ 306249 w 876"/>
              <a:gd name="T65" fmla="*/ 27161 h 852"/>
              <a:gd name="T66" fmla="*/ 313055 w 876"/>
              <a:gd name="T67" fmla="*/ 33952 h 852"/>
              <a:gd name="T68" fmla="*/ 309166 w 876"/>
              <a:gd name="T69" fmla="*/ 49473 h 852"/>
              <a:gd name="T70" fmla="*/ 309166 w 876"/>
              <a:gd name="T71" fmla="*/ 62083 h 852"/>
              <a:gd name="T72" fmla="*/ 306249 w 876"/>
              <a:gd name="T73" fmla="*/ 76635 h 852"/>
              <a:gd name="T74" fmla="*/ 310138 w 876"/>
              <a:gd name="T75" fmla="*/ 94096 h 852"/>
              <a:gd name="T76" fmla="*/ 310138 w 876"/>
              <a:gd name="T77" fmla="*/ 110586 h 852"/>
              <a:gd name="T78" fmla="*/ 291666 w 876"/>
              <a:gd name="T79" fmla="*/ 292958 h 852"/>
              <a:gd name="T80" fmla="*/ 184722 w 876"/>
              <a:gd name="T81" fmla="*/ 245425 h 852"/>
              <a:gd name="T82" fmla="*/ 171111 w 876"/>
              <a:gd name="T83" fmla="*/ 238634 h 852"/>
              <a:gd name="T84" fmla="*/ 154583 w 876"/>
              <a:gd name="T85" fmla="*/ 229904 h 852"/>
              <a:gd name="T86" fmla="*/ 137083 w 876"/>
              <a:gd name="T87" fmla="*/ 222143 h 852"/>
              <a:gd name="T88" fmla="*/ 121528 w 876"/>
              <a:gd name="T89" fmla="*/ 224083 h 852"/>
              <a:gd name="T90" fmla="*/ 96250 w 876"/>
              <a:gd name="T91" fmla="*/ 236694 h 852"/>
              <a:gd name="T92" fmla="*/ 87499 w 876"/>
              <a:gd name="T93" fmla="*/ 228934 h 852"/>
              <a:gd name="T94" fmla="*/ 74861 w 876"/>
              <a:gd name="T95" fmla="*/ 224083 h 852"/>
              <a:gd name="T96" fmla="*/ 57361 w 876"/>
              <a:gd name="T97" fmla="*/ 220203 h 852"/>
              <a:gd name="T98" fmla="*/ 46667 w 876"/>
              <a:gd name="T99" fmla="*/ 211473 h 852"/>
              <a:gd name="T100" fmla="*/ 36945 w 876"/>
              <a:gd name="T101" fmla="*/ 200802 h 852"/>
              <a:gd name="T102" fmla="*/ 19444 w 876"/>
              <a:gd name="T103" fmla="*/ 195952 h 852"/>
              <a:gd name="T104" fmla="*/ 12639 w 876"/>
              <a:gd name="T105" fmla="*/ 185281 h 852"/>
              <a:gd name="T106" fmla="*/ 8750 w 876"/>
              <a:gd name="T107" fmla="*/ 172671 h 852"/>
              <a:gd name="T108" fmla="*/ 1944 w 876"/>
              <a:gd name="T109" fmla="*/ 158120 h 852"/>
              <a:gd name="T110" fmla="*/ 10694 w 876"/>
              <a:gd name="T111" fmla="*/ 147449 h 852"/>
              <a:gd name="T112" fmla="*/ 8750 w 876"/>
              <a:gd name="T113" fmla="*/ 131928 h 852"/>
              <a:gd name="T114" fmla="*/ 10694 w 876"/>
              <a:gd name="T115" fmla="*/ 121257 h 852"/>
              <a:gd name="T116" fmla="*/ 10694 w 876"/>
              <a:gd name="T117" fmla="*/ 101856 h 852"/>
              <a:gd name="T118" fmla="*/ 8750 w 876"/>
              <a:gd name="T119" fmla="*/ 85365 h 852"/>
              <a:gd name="T120" fmla="*/ 0 w 876"/>
              <a:gd name="T121" fmla="*/ 72754 h 8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852">
                <a:moveTo>
                  <a:pt x="12" y="192"/>
                </a:moveTo>
                <a:lnTo>
                  <a:pt x="18" y="192"/>
                </a:lnTo>
                <a:lnTo>
                  <a:pt x="24" y="186"/>
                </a:lnTo>
                <a:lnTo>
                  <a:pt x="30" y="186"/>
                </a:lnTo>
                <a:lnTo>
                  <a:pt x="30" y="180"/>
                </a:lnTo>
                <a:lnTo>
                  <a:pt x="36" y="180"/>
                </a:lnTo>
                <a:lnTo>
                  <a:pt x="36" y="174"/>
                </a:lnTo>
                <a:lnTo>
                  <a:pt x="42" y="174"/>
                </a:lnTo>
                <a:lnTo>
                  <a:pt x="42" y="168"/>
                </a:lnTo>
                <a:lnTo>
                  <a:pt x="48" y="162"/>
                </a:lnTo>
                <a:lnTo>
                  <a:pt x="48" y="156"/>
                </a:lnTo>
                <a:lnTo>
                  <a:pt x="54" y="156"/>
                </a:lnTo>
                <a:lnTo>
                  <a:pt x="54" y="150"/>
                </a:lnTo>
                <a:lnTo>
                  <a:pt x="54" y="144"/>
                </a:lnTo>
                <a:lnTo>
                  <a:pt x="48" y="144"/>
                </a:lnTo>
                <a:lnTo>
                  <a:pt x="48" y="138"/>
                </a:lnTo>
                <a:lnTo>
                  <a:pt x="54" y="138"/>
                </a:lnTo>
                <a:lnTo>
                  <a:pt x="48" y="138"/>
                </a:lnTo>
                <a:lnTo>
                  <a:pt x="48" y="132"/>
                </a:lnTo>
                <a:lnTo>
                  <a:pt x="48" y="126"/>
                </a:lnTo>
                <a:lnTo>
                  <a:pt x="42" y="120"/>
                </a:lnTo>
                <a:lnTo>
                  <a:pt x="42" y="114"/>
                </a:lnTo>
                <a:lnTo>
                  <a:pt x="42" y="108"/>
                </a:lnTo>
                <a:lnTo>
                  <a:pt x="48" y="108"/>
                </a:lnTo>
                <a:lnTo>
                  <a:pt x="48" y="102"/>
                </a:lnTo>
                <a:lnTo>
                  <a:pt x="54" y="102"/>
                </a:lnTo>
                <a:lnTo>
                  <a:pt x="54" y="96"/>
                </a:lnTo>
                <a:lnTo>
                  <a:pt x="60" y="96"/>
                </a:lnTo>
                <a:lnTo>
                  <a:pt x="66" y="96"/>
                </a:lnTo>
                <a:lnTo>
                  <a:pt x="66" y="90"/>
                </a:lnTo>
                <a:lnTo>
                  <a:pt x="72" y="90"/>
                </a:lnTo>
                <a:lnTo>
                  <a:pt x="72" y="84"/>
                </a:lnTo>
                <a:lnTo>
                  <a:pt x="72" y="78"/>
                </a:lnTo>
                <a:lnTo>
                  <a:pt x="78" y="78"/>
                </a:lnTo>
                <a:lnTo>
                  <a:pt x="84" y="78"/>
                </a:lnTo>
                <a:lnTo>
                  <a:pt x="84" y="72"/>
                </a:lnTo>
                <a:lnTo>
                  <a:pt x="90" y="66"/>
                </a:lnTo>
                <a:lnTo>
                  <a:pt x="96" y="66"/>
                </a:lnTo>
                <a:lnTo>
                  <a:pt x="102" y="60"/>
                </a:lnTo>
                <a:lnTo>
                  <a:pt x="108" y="60"/>
                </a:lnTo>
                <a:lnTo>
                  <a:pt x="114" y="60"/>
                </a:lnTo>
                <a:lnTo>
                  <a:pt x="114" y="54"/>
                </a:lnTo>
                <a:lnTo>
                  <a:pt x="120" y="54"/>
                </a:lnTo>
                <a:lnTo>
                  <a:pt x="120" y="48"/>
                </a:lnTo>
                <a:lnTo>
                  <a:pt x="126" y="48"/>
                </a:lnTo>
                <a:lnTo>
                  <a:pt x="126" y="42"/>
                </a:lnTo>
                <a:lnTo>
                  <a:pt x="120" y="42"/>
                </a:lnTo>
                <a:lnTo>
                  <a:pt x="120" y="36"/>
                </a:lnTo>
                <a:lnTo>
                  <a:pt x="120" y="30"/>
                </a:lnTo>
                <a:lnTo>
                  <a:pt x="120" y="24"/>
                </a:lnTo>
                <a:lnTo>
                  <a:pt x="120" y="18"/>
                </a:lnTo>
                <a:lnTo>
                  <a:pt x="120" y="12"/>
                </a:lnTo>
                <a:lnTo>
                  <a:pt x="120" y="6"/>
                </a:lnTo>
                <a:lnTo>
                  <a:pt x="120" y="0"/>
                </a:lnTo>
                <a:lnTo>
                  <a:pt x="126" y="6"/>
                </a:lnTo>
                <a:lnTo>
                  <a:pt x="132" y="6"/>
                </a:lnTo>
                <a:lnTo>
                  <a:pt x="138" y="6"/>
                </a:lnTo>
                <a:lnTo>
                  <a:pt x="132" y="6"/>
                </a:lnTo>
                <a:lnTo>
                  <a:pt x="138" y="6"/>
                </a:lnTo>
                <a:lnTo>
                  <a:pt x="138" y="12"/>
                </a:lnTo>
                <a:lnTo>
                  <a:pt x="144" y="12"/>
                </a:lnTo>
                <a:lnTo>
                  <a:pt x="150" y="12"/>
                </a:lnTo>
                <a:lnTo>
                  <a:pt x="150" y="18"/>
                </a:lnTo>
                <a:lnTo>
                  <a:pt x="156" y="18"/>
                </a:lnTo>
                <a:lnTo>
                  <a:pt x="156" y="24"/>
                </a:lnTo>
                <a:lnTo>
                  <a:pt x="162" y="24"/>
                </a:lnTo>
                <a:lnTo>
                  <a:pt x="168" y="24"/>
                </a:lnTo>
                <a:lnTo>
                  <a:pt x="174" y="24"/>
                </a:lnTo>
                <a:lnTo>
                  <a:pt x="180" y="24"/>
                </a:lnTo>
                <a:lnTo>
                  <a:pt x="180" y="30"/>
                </a:lnTo>
                <a:lnTo>
                  <a:pt x="186" y="30"/>
                </a:lnTo>
                <a:lnTo>
                  <a:pt x="192" y="30"/>
                </a:lnTo>
                <a:lnTo>
                  <a:pt x="192" y="24"/>
                </a:lnTo>
                <a:lnTo>
                  <a:pt x="198" y="24"/>
                </a:lnTo>
                <a:lnTo>
                  <a:pt x="204" y="24"/>
                </a:lnTo>
                <a:lnTo>
                  <a:pt x="210" y="24"/>
                </a:lnTo>
                <a:lnTo>
                  <a:pt x="210" y="18"/>
                </a:lnTo>
                <a:lnTo>
                  <a:pt x="216" y="18"/>
                </a:lnTo>
                <a:lnTo>
                  <a:pt x="222" y="18"/>
                </a:lnTo>
                <a:lnTo>
                  <a:pt x="228" y="24"/>
                </a:lnTo>
                <a:lnTo>
                  <a:pt x="234" y="24"/>
                </a:lnTo>
                <a:lnTo>
                  <a:pt x="234" y="30"/>
                </a:lnTo>
                <a:lnTo>
                  <a:pt x="240" y="30"/>
                </a:lnTo>
                <a:lnTo>
                  <a:pt x="246" y="30"/>
                </a:lnTo>
                <a:lnTo>
                  <a:pt x="246" y="24"/>
                </a:lnTo>
                <a:lnTo>
                  <a:pt x="246" y="30"/>
                </a:lnTo>
                <a:lnTo>
                  <a:pt x="252" y="30"/>
                </a:lnTo>
                <a:lnTo>
                  <a:pt x="258" y="30"/>
                </a:lnTo>
                <a:lnTo>
                  <a:pt x="264" y="30"/>
                </a:lnTo>
                <a:lnTo>
                  <a:pt x="270" y="30"/>
                </a:lnTo>
                <a:lnTo>
                  <a:pt x="270" y="36"/>
                </a:lnTo>
                <a:lnTo>
                  <a:pt x="276" y="36"/>
                </a:lnTo>
                <a:lnTo>
                  <a:pt x="276" y="42"/>
                </a:lnTo>
                <a:lnTo>
                  <a:pt x="282" y="42"/>
                </a:lnTo>
                <a:lnTo>
                  <a:pt x="288" y="48"/>
                </a:lnTo>
                <a:lnTo>
                  <a:pt x="294" y="48"/>
                </a:lnTo>
                <a:lnTo>
                  <a:pt x="300" y="48"/>
                </a:lnTo>
                <a:lnTo>
                  <a:pt x="306" y="48"/>
                </a:lnTo>
                <a:lnTo>
                  <a:pt x="312" y="48"/>
                </a:lnTo>
                <a:lnTo>
                  <a:pt x="312" y="54"/>
                </a:lnTo>
                <a:lnTo>
                  <a:pt x="318" y="54"/>
                </a:lnTo>
                <a:lnTo>
                  <a:pt x="324" y="54"/>
                </a:lnTo>
                <a:lnTo>
                  <a:pt x="330" y="54"/>
                </a:lnTo>
                <a:lnTo>
                  <a:pt x="330" y="60"/>
                </a:lnTo>
                <a:lnTo>
                  <a:pt x="330" y="66"/>
                </a:lnTo>
                <a:lnTo>
                  <a:pt x="336" y="66"/>
                </a:lnTo>
                <a:lnTo>
                  <a:pt x="336" y="72"/>
                </a:lnTo>
                <a:lnTo>
                  <a:pt x="336" y="78"/>
                </a:lnTo>
                <a:lnTo>
                  <a:pt x="336" y="84"/>
                </a:lnTo>
                <a:lnTo>
                  <a:pt x="336" y="90"/>
                </a:lnTo>
                <a:lnTo>
                  <a:pt x="336" y="96"/>
                </a:lnTo>
                <a:lnTo>
                  <a:pt x="342" y="96"/>
                </a:lnTo>
                <a:lnTo>
                  <a:pt x="342" y="102"/>
                </a:lnTo>
                <a:lnTo>
                  <a:pt x="342" y="108"/>
                </a:lnTo>
                <a:lnTo>
                  <a:pt x="348" y="108"/>
                </a:lnTo>
                <a:lnTo>
                  <a:pt x="348" y="114"/>
                </a:lnTo>
                <a:lnTo>
                  <a:pt x="354" y="114"/>
                </a:lnTo>
                <a:lnTo>
                  <a:pt x="354" y="120"/>
                </a:lnTo>
                <a:lnTo>
                  <a:pt x="360" y="120"/>
                </a:lnTo>
                <a:lnTo>
                  <a:pt x="366" y="126"/>
                </a:lnTo>
                <a:lnTo>
                  <a:pt x="372" y="126"/>
                </a:lnTo>
                <a:lnTo>
                  <a:pt x="378" y="126"/>
                </a:lnTo>
                <a:lnTo>
                  <a:pt x="384" y="132"/>
                </a:lnTo>
                <a:lnTo>
                  <a:pt x="390" y="132"/>
                </a:lnTo>
                <a:lnTo>
                  <a:pt x="396" y="132"/>
                </a:lnTo>
                <a:lnTo>
                  <a:pt x="402" y="132"/>
                </a:lnTo>
                <a:lnTo>
                  <a:pt x="408" y="132"/>
                </a:lnTo>
                <a:lnTo>
                  <a:pt x="414" y="132"/>
                </a:lnTo>
                <a:lnTo>
                  <a:pt x="420" y="132"/>
                </a:lnTo>
                <a:lnTo>
                  <a:pt x="426" y="132"/>
                </a:lnTo>
                <a:lnTo>
                  <a:pt x="426" y="138"/>
                </a:lnTo>
                <a:lnTo>
                  <a:pt x="432" y="138"/>
                </a:lnTo>
                <a:lnTo>
                  <a:pt x="438" y="138"/>
                </a:lnTo>
                <a:lnTo>
                  <a:pt x="444" y="138"/>
                </a:lnTo>
                <a:lnTo>
                  <a:pt x="450" y="138"/>
                </a:lnTo>
                <a:lnTo>
                  <a:pt x="450" y="144"/>
                </a:lnTo>
                <a:lnTo>
                  <a:pt x="456" y="144"/>
                </a:lnTo>
                <a:lnTo>
                  <a:pt x="462" y="144"/>
                </a:lnTo>
                <a:lnTo>
                  <a:pt x="462" y="150"/>
                </a:lnTo>
                <a:lnTo>
                  <a:pt x="468" y="150"/>
                </a:lnTo>
                <a:lnTo>
                  <a:pt x="474" y="150"/>
                </a:lnTo>
                <a:lnTo>
                  <a:pt x="474" y="156"/>
                </a:lnTo>
                <a:lnTo>
                  <a:pt x="480" y="156"/>
                </a:lnTo>
                <a:lnTo>
                  <a:pt x="486" y="156"/>
                </a:lnTo>
                <a:lnTo>
                  <a:pt x="492" y="156"/>
                </a:lnTo>
                <a:lnTo>
                  <a:pt x="492" y="162"/>
                </a:lnTo>
                <a:lnTo>
                  <a:pt x="498" y="162"/>
                </a:lnTo>
                <a:lnTo>
                  <a:pt x="498" y="168"/>
                </a:lnTo>
                <a:lnTo>
                  <a:pt x="504" y="168"/>
                </a:lnTo>
                <a:lnTo>
                  <a:pt x="504" y="174"/>
                </a:lnTo>
                <a:lnTo>
                  <a:pt x="510" y="174"/>
                </a:lnTo>
                <a:lnTo>
                  <a:pt x="510" y="180"/>
                </a:lnTo>
                <a:lnTo>
                  <a:pt x="516" y="180"/>
                </a:lnTo>
                <a:lnTo>
                  <a:pt x="516" y="186"/>
                </a:lnTo>
                <a:lnTo>
                  <a:pt x="522" y="186"/>
                </a:lnTo>
                <a:lnTo>
                  <a:pt x="528" y="186"/>
                </a:lnTo>
                <a:lnTo>
                  <a:pt x="534" y="192"/>
                </a:lnTo>
                <a:lnTo>
                  <a:pt x="540" y="192"/>
                </a:lnTo>
                <a:lnTo>
                  <a:pt x="546" y="192"/>
                </a:lnTo>
                <a:lnTo>
                  <a:pt x="552" y="192"/>
                </a:lnTo>
                <a:lnTo>
                  <a:pt x="558" y="192"/>
                </a:lnTo>
                <a:lnTo>
                  <a:pt x="558" y="186"/>
                </a:lnTo>
                <a:lnTo>
                  <a:pt x="564" y="186"/>
                </a:lnTo>
                <a:lnTo>
                  <a:pt x="570" y="180"/>
                </a:lnTo>
                <a:lnTo>
                  <a:pt x="570" y="186"/>
                </a:lnTo>
                <a:lnTo>
                  <a:pt x="570" y="180"/>
                </a:lnTo>
                <a:lnTo>
                  <a:pt x="576" y="180"/>
                </a:lnTo>
                <a:lnTo>
                  <a:pt x="576" y="174"/>
                </a:lnTo>
                <a:lnTo>
                  <a:pt x="582" y="174"/>
                </a:lnTo>
                <a:lnTo>
                  <a:pt x="582" y="168"/>
                </a:lnTo>
                <a:lnTo>
                  <a:pt x="588" y="168"/>
                </a:lnTo>
                <a:lnTo>
                  <a:pt x="588" y="162"/>
                </a:lnTo>
                <a:lnTo>
                  <a:pt x="594" y="162"/>
                </a:lnTo>
                <a:lnTo>
                  <a:pt x="594" y="156"/>
                </a:lnTo>
                <a:lnTo>
                  <a:pt x="594" y="150"/>
                </a:lnTo>
                <a:lnTo>
                  <a:pt x="600" y="150"/>
                </a:lnTo>
                <a:lnTo>
                  <a:pt x="600" y="144"/>
                </a:lnTo>
                <a:lnTo>
                  <a:pt x="600" y="138"/>
                </a:lnTo>
                <a:lnTo>
                  <a:pt x="600" y="132"/>
                </a:lnTo>
                <a:lnTo>
                  <a:pt x="600" y="126"/>
                </a:lnTo>
                <a:lnTo>
                  <a:pt x="594" y="120"/>
                </a:lnTo>
                <a:lnTo>
                  <a:pt x="594" y="114"/>
                </a:lnTo>
                <a:lnTo>
                  <a:pt x="594" y="108"/>
                </a:lnTo>
                <a:lnTo>
                  <a:pt x="588" y="108"/>
                </a:lnTo>
                <a:lnTo>
                  <a:pt x="588" y="102"/>
                </a:lnTo>
                <a:lnTo>
                  <a:pt x="588" y="96"/>
                </a:lnTo>
                <a:lnTo>
                  <a:pt x="588" y="90"/>
                </a:lnTo>
                <a:lnTo>
                  <a:pt x="588" y="84"/>
                </a:lnTo>
                <a:lnTo>
                  <a:pt x="588" y="78"/>
                </a:lnTo>
                <a:lnTo>
                  <a:pt x="594" y="78"/>
                </a:lnTo>
                <a:lnTo>
                  <a:pt x="594" y="72"/>
                </a:lnTo>
                <a:lnTo>
                  <a:pt x="594" y="66"/>
                </a:lnTo>
                <a:lnTo>
                  <a:pt x="600" y="66"/>
                </a:lnTo>
                <a:lnTo>
                  <a:pt x="600" y="60"/>
                </a:lnTo>
                <a:lnTo>
                  <a:pt x="606" y="60"/>
                </a:lnTo>
                <a:lnTo>
                  <a:pt x="606" y="54"/>
                </a:lnTo>
                <a:lnTo>
                  <a:pt x="612" y="54"/>
                </a:lnTo>
                <a:lnTo>
                  <a:pt x="612" y="48"/>
                </a:lnTo>
                <a:lnTo>
                  <a:pt x="618" y="48"/>
                </a:lnTo>
                <a:lnTo>
                  <a:pt x="624" y="42"/>
                </a:lnTo>
                <a:lnTo>
                  <a:pt x="630" y="42"/>
                </a:lnTo>
                <a:lnTo>
                  <a:pt x="636" y="36"/>
                </a:lnTo>
                <a:lnTo>
                  <a:pt x="642" y="36"/>
                </a:lnTo>
                <a:lnTo>
                  <a:pt x="642" y="30"/>
                </a:lnTo>
                <a:lnTo>
                  <a:pt x="648" y="30"/>
                </a:lnTo>
                <a:lnTo>
                  <a:pt x="654" y="30"/>
                </a:lnTo>
                <a:lnTo>
                  <a:pt x="660" y="30"/>
                </a:lnTo>
                <a:lnTo>
                  <a:pt x="666" y="30"/>
                </a:lnTo>
                <a:lnTo>
                  <a:pt x="672" y="30"/>
                </a:lnTo>
                <a:lnTo>
                  <a:pt x="672" y="24"/>
                </a:lnTo>
                <a:lnTo>
                  <a:pt x="678" y="24"/>
                </a:lnTo>
                <a:lnTo>
                  <a:pt x="678" y="18"/>
                </a:lnTo>
                <a:lnTo>
                  <a:pt x="684" y="18"/>
                </a:lnTo>
                <a:lnTo>
                  <a:pt x="690" y="18"/>
                </a:lnTo>
                <a:lnTo>
                  <a:pt x="696" y="18"/>
                </a:lnTo>
                <a:lnTo>
                  <a:pt x="702" y="18"/>
                </a:lnTo>
                <a:lnTo>
                  <a:pt x="708" y="18"/>
                </a:lnTo>
                <a:lnTo>
                  <a:pt x="714" y="18"/>
                </a:lnTo>
                <a:lnTo>
                  <a:pt x="714" y="24"/>
                </a:lnTo>
                <a:lnTo>
                  <a:pt x="720" y="24"/>
                </a:lnTo>
                <a:lnTo>
                  <a:pt x="726" y="24"/>
                </a:lnTo>
                <a:lnTo>
                  <a:pt x="732" y="24"/>
                </a:lnTo>
                <a:lnTo>
                  <a:pt x="732" y="30"/>
                </a:lnTo>
                <a:lnTo>
                  <a:pt x="738" y="30"/>
                </a:lnTo>
                <a:lnTo>
                  <a:pt x="744" y="30"/>
                </a:lnTo>
                <a:lnTo>
                  <a:pt x="750" y="30"/>
                </a:lnTo>
                <a:lnTo>
                  <a:pt x="750" y="36"/>
                </a:lnTo>
                <a:lnTo>
                  <a:pt x="756" y="36"/>
                </a:lnTo>
                <a:lnTo>
                  <a:pt x="762" y="36"/>
                </a:lnTo>
                <a:lnTo>
                  <a:pt x="768" y="36"/>
                </a:lnTo>
                <a:lnTo>
                  <a:pt x="768" y="42"/>
                </a:lnTo>
                <a:lnTo>
                  <a:pt x="762" y="42"/>
                </a:lnTo>
                <a:lnTo>
                  <a:pt x="762" y="48"/>
                </a:lnTo>
                <a:lnTo>
                  <a:pt x="768" y="48"/>
                </a:lnTo>
                <a:lnTo>
                  <a:pt x="768" y="54"/>
                </a:lnTo>
                <a:lnTo>
                  <a:pt x="762" y="54"/>
                </a:lnTo>
                <a:lnTo>
                  <a:pt x="762" y="48"/>
                </a:lnTo>
                <a:lnTo>
                  <a:pt x="762" y="54"/>
                </a:lnTo>
                <a:lnTo>
                  <a:pt x="762" y="60"/>
                </a:lnTo>
                <a:lnTo>
                  <a:pt x="768" y="60"/>
                </a:lnTo>
                <a:lnTo>
                  <a:pt x="774" y="60"/>
                </a:lnTo>
                <a:lnTo>
                  <a:pt x="774" y="66"/>
                </a:lnTo>
                <a:lnTo>
                  <a:pt x="774" y="72"/>
                </a:lnTo>
                <a:lnTo>
                  <a:pt x="780" y="72"/>
                </a:lnTo>
                <a:lnTo>
                  <a:pt x="780" y="66"/>
                </a:lnTo>
                <a:lnTo>
                  <a:pt x="774" y="66"/>
                </a:lnTo>
                <a:lnTo>
                  <a:pt x="780" y="66"/>
                </a:lnTo>
                <a:lnTo>
                  <a:pt x="786" y="66"/>
                </a:lnTo>
                <a:lnTo>
                  <a:pt x="792" y="66"/>
                </a:lnTo>
                <a:lnTo>
                  <a:pt x="798" y="66"/>
                </a:lnTo>
                <a:lnTo>
                  <a:pt x="804" y="66"/>
                </a:lnTo>
                <a:lnTo>
                  <a:pt x="804" y="72"/>
                </a:lnTo>
                <a:lnTo>
                  <a:pt x="810" y="72"/>
                </a:lnTo>
                <a:lnTo>
                  <a:pt x="816" y="72"/>
                </a:lnTo>
                <a:lnTo>
                  <a:pt x="810" y="72"/>
                </a:lnTo>
                <a:lnTo>
                  <a:pt x="816" y="72"/>
                </a:lnTo>
                <a:lnTo>
                  <a:pt x="816" y="78"/>
                </a:lnTo>
                <a:lnTo>
                  <a:pt x="822" y="78"/>
                </a:lnTo>
                <a:lnTo>
                  <a:pt x="828" y="78"/>
                </a:lnTo>
                <a:lnTo>
                  <a:pt x="834" y="78"/>
                </a:lnTo>
                <a:lnTo>
                  <a:pt x="840" y="78"/>
                </a:lnTo>
                <a:lnTo>
                  <a:pt x="846" y="78"/>
                </a:lnTo>
                <a:lnTo>
                  <a:pt x="852" y="78"/>
                </a:lnTo>
                <a:lnTo>
                  <a:pt x="858" y="78"/>
                </a:lnTo>
                <a:lnTo>
                  <a:pt x="864" y="78"/>
                </a:lnTo>
                <a:lnTo>
                  <a:pt x="864" y="84"/>
                </a:lnTo>
                <a:lnTo>
                  <a:pt x="864" y="78"/>
                </a:lnTo>
                <a:lnTo>
                  <a:pt x="864" y="84"/>
                </a:lnTo>
                <a:lnTo>
                  <a:pt x="870" y="84"/>
                </a:lnTo>
                <a:lnTo>
                  <a:pt x="870" y="90"/>
                </a:lnTo>
                <a:lnTo>
                  <a:pt x="876" y="90"/>
                </a:lnTo>
                <a:lnTo>
                  <a:pt x="876" y="96"/>
                </a:lnTo>
                <a:lnTo>
                  <a:pt x="876" y="102"/>
                </a:lnTo>
                <a:lnTo>
                  <a:pt x="876" y="108"/>
                </a:lnTo>
                <a:lnTo>
                  <a:pt x="870" y="114"/>
                </a:lnTo>
                <a:lnTo>
                  <a:pt x="864" y="114"/>
                </a:lnTo>
                <a:lnTo>
                  <a:pt x="864" y="120"/>
                </a:lnTo>
                <a:lnTo>
                  <a:pt x="864" y="126"/>
                </a:lnTo>
                <a:lnTo>
                  <a:pt x="864" y="132"/>
                </a:lnTo>
                <a:lnTo>
                  <a:pt x="864" y="138"/>
                </a:lnTo>
                <a:lnTo>
                  <a:pt x="864" y="144"/>
                </a:lnTo>
                <a:lnTo>
                  <a:pt x="870" y="144"/>
                </a:lnTo>
                <a:lnTo>
                  <a:pt x="870" y="150"/>
                </a:lnTo>
                <a:lnTo>
                  <a:pt x="870" y="156"/>
                </a:lnTo>
                <a:lnTo>
                  <a:pt x="870" y="162"/>
                </a:lnTo>
                <a:lnTo>
                  <a:pt x="870" y="168"/>
                </a:lnTo>
                <a:lnTo>
                  <a:pt x="870" y="174"/>
                </a:lnTo>
                <a:lnTo>
                  <a:pt x="864" y="174"/>
                </a:lnTo>
                <a:lnTo>
                  <a:pt x="864" y="180"/>
                </a:lnTo>
                <a:lnTo>
                  <a:pt x="864" y="186"/>
                </a:lnTo>
                <a:lnTo>
                  <a:pt x="858" y="186"/>
                </a:lnTo>
                <a:lnTo>
                  <a:pt x="858" y="192"/>
                </a:lnTo>
                <a:lnTo>
                  <a:pt x="852" y="198"/>
                </a:lnTo>
                <a:lnTo>
                  <a:pt x="858" y="204"/>
                </a:lnTo>
                <a:lnTo>
                  <a:pt x="858" y="210"/>
                </a:lnTo>
                <a:lnTo>
                  <a:pt x="858" y="216"/>
                </a:lnTo>
                <a:lnTo>
                  <a:pt x="858" y="222"/>
                </a:lnTo>
                <a:lnTo>
                  <a:pt x="864" y="228"/>
                </a:lnTo>
                <a:lnTo>
                  <a:pt x="864" y="234"/>
                </a:lnTo>
                <a:lnTo>
                  <a:pt x="864" y="240"/>
                </a:lnTo>
                <a:lnTo>
                  <a:pt x="864" y="246"/>
                </a:lnTo>
                <a:lnTo>
                  <a:pt x="870" y="252"/>
                </a:lnTo>
                <a:lnTo>
                  <a:pt x="870" y="258"/>
                </a:lnTo>
                <a:lnTo>
                  <a:pt x="870" y="264"/>
                </a:lnTo>
                <a:lnTo>
                  <a:pt x="870" y="270"/>
                </a:lnTo>
                <a:lnTo>
                  <a:pt x="870" y="276"/>
                </a:lnTo>
                <a:lnTo>
                  <a:pt x="870" y="282"/>
                </a:lnTo>
                <a:lnTo>
                  <a:pt x="870" y="288"/>
                </a:lnTo>
                <a:lnTo>
                  <a:pt x="870" y="294"/>
                </a:lnTo>
                <a:lnTo>
                  <a:pt x="870" y="300"/>
                </a:lnTo>
                <a:lnTo>
                  <a:pt x="870" y="306"/>
                </a:lnTo>
                <a:lnTo>
                  <a:pt x="870" y="312"/>
                </a:lnTo>
                <a:lnTo>
                  <a:pt x="870" y="318"/>
                </a:lnTo>
                <a:lnTo>
                  <a:pt x="870" y="324"/>
                </a:lnTo>
                <a:lnTo>
                  <a:pt x="870" y="330"/>
                </a:lnTo>
                <a:lnTo>
                  <a:pt x="870" y="336"/>
                </a:lnTo>
                <a:lnTo>
                  <a:pt x="870" y="360"/>
                </a:lnTo>
                <a:lnTo>
                  <a:pt x="870" y="708"/>
                </a:lnTo>
                <a:lnTo>
                  <a:pt x="870" y="822"/>
                </a:lnTo>
                <a:lnTo>
                  <a:pt x="816" y="822"/>
                </a:lnTo>
                <a:lnTo>
                  <a:pt x="816" y="828"/>
                </a:lnTo>
                <a:lnTo>
                  <a:pt x="816" y="834"/>
                </a:lnTo>
                <a:lnTo>
                  <a:pt x="816" y="840"/>
                </a:lnTo>
                <a:lnTo>
                  <a:pt x="816" y="846"/>
                </a:lnTo>
                <a:lnTo>
                  <a:pt x="816" y="852"/>
                </a:lnTo>
                <a:lnTo>
                  <a:pt x="534" y="702"/>
                </a:lnTo>
                <a:lnTo>
                  <a:pt x="516" y="696"/>
                </a:lnTo>
                <a:lnTo>
                  <a:pt x="516" y="690"/>
                </a:lnTo>
                <a:lnTo>
                  <a:pt x="510" y="690"/>
                </a:lnTo>
                <a:lnTo>
                  <a:pt x="504" y="684"/>
                </a:lnTo>
                <a:lnTo>
                  <a:pt x="498" y="684"/>
                </a:lnTo>
                <a:lnTo>
                  <a:pt x="492" y="684"/>
                </a:lnTo>
                <a:lnTo>
                  <a:pt x="492" y="678"/>
                </a:lnTo>
                <a:lnTo>
                  <a:pt x="486" y="678"/>
                </a:lnTo>
                <a:lnTo>
                  <a:pt x="480" y="678"/>
                </a:lnTo>
                <a:lnTo>
                  <a:pt x="480" y="672"/>
                </a:lnTo>
                <a:lnTo>
                  <a:pt x="474" y="672"/>
                </a:lnTo>
                <a:lnTo>
                  <a:pt x="468" y="666"/>
                </a:lnTo>
                <a:lnTo>
                  <a:pt x="462" y="666"/>
                </a:lnTo>
                <a:lnTo>
                  <a:pt x="456" y="660"/>
                </a:lnTo>
                <a:lnTo>
                  <a:pt x="450" y="660"/>
                </a:lnTo>
                <a:lnTo>
                  <a:pt x="444" y="654"/>
                </a:lnTo>
                <a:lnTo>
                  <a:pt x="438" y="654"/>
                </a:lnTo>
                <a:lnTo>
                  <a:pt x="432" y="648"/>
                </a:lnTo>
                <a:lnTo>
                  <a:pt x="426" y="648"/>
                </a:lnTo>
                <a:lnTo>
                  <a:pt x="420" y="642"/>
                </a:lnTo>
                <a:lnTo>
                  <a:pt x="414" y="642"/>
                </a:lnTo>
                <a:lnTo>
                  <a:pt x="408" y="636"/>
                </a:lnTo>
                <a:lnTo>
                  <a:pt x="402" y="636"/>
                </a:lnTo>
                <a:lnTo>
                  <a:pt x="396" y="630"/>
                </a:lnTo>
                <a:lnTo>
                  <a:pt x="390" y="630"/>
                </a:lnTo>
                <a:lnTo>
                  <a:pt x="384" y="624"/>
                </a:lnTo>
                <a:lnTo>
                  <a:pt x="378" y="624"/>
                </a:lnTo>
                <a:lnTo>
                  <a:pt x="372" y="618"/>
                </a:lnTo>
                <a:lnTo>
                  <a:pt x="366" y="618"/>
                </a:lnTo>
                <a:lnTo>
                  <a:pt x="360" y="624"/>
                </a:lnTo>
                <a:lnTo>
                  <a:pt x="354" y="624"/>
                </a:lnTo>
                <a:lnTo>
                  <a:pt x="348" y="624"/>
                </a:lnTo>
                <a:lnTo>
                  <a:pt x="348" y="630"/>
                </a:lnTo>
                <a:lnTo>
                  <a:pt x="342" y="630"/>
                </a:lnTo>
                <a:lnTo>
                  <a:pt x="336" y="630"/>
                </a:lnTo>
                <a:lnTo>
                  <a:pt x="336" y="636"/>
                </a:lnTo>
                <a:lnTo>
                  <a:pt x="330" y="636"/>
                </a:lnTo>
                <a:lnTo>
                  <a:pt x="324" y="636"/>
                </a:lnTo>
                <a:lnTo>
                  <a:pt x="324" y="642"/>
                </a:lnTo>
                <a:lnTo>
                  <a:pt x="318" y="642"/>
                </a:lnTo>
                <a:lnTo>
                  <a:pt x="312" y="642"/>
                </a:lnTo>
                <a:lnTo>
                  <a:pt x="270" y="666"/>
                </a:lnTo>
                <a:lnTo>
                  <a:pt x="264" y="666"/>
                </a:lnTo>
                <a:lnTo>
                  <a:pt x="264" y="660"/>
                </a:lnTo>
                <a:lnTo>
                  <a:pt x="258" y="660"/>
                </a:lnTo>
                <a:lnTo>
                  <a:pt x="258" y="654"/>
                </a:lnTo>
                <a:lnTo>
                  <a:pt x="252" y="654"/>
                </a:lnTo>
                <a:lnTo>
                  <a:pt x="252" y="648"/>
                </a:lnTo>
                <a:lnTo>
                  <a:pt x="246" y="648"/>
                </a:lnTo>
                <a:lnTo>
                  <a:pt x="246" y="642"/>
                </a:lnTo>
                <a:lnTo>
                  <a:pt x="240" y="642"/>
                </a:lnTo>
                <a:lnTo>
                  <a:pt x="240" y="636"/>
                </a:lnTo>
                <a:lnTo>
                  <a:pt x="234" y="636"/>
                </a:lnTo>
                <a:lnTo>
                  <a:pt x="228" y="636"/>
                </a:lnTo>
                <a:lnTo>
                  <a:pt x="228" y="630"/>
                </a:lnTo>
                <a:lnTo>
                  <a:pt x="222" y="630"/>
                </a:lnTo>
                <a:lnTo>
                  <a:pt x="216" y="630"/>
                </a:lnTo>
                <a:lnTo>
                  <a:pt x="210" y="630"/>
                </a:lnTo>
                <a:lnTo>
                  <a:pt x="204" y="630"/>
                </a:lnTo>
                <a:lnTo>
                  <a:pt x="198" y="624"/>
                </a:lnTo>
                <a:lnTo>
                  <a:pt x="192" y="624"/>
                </a:lnTo>
                <a:lnTo>
                  <a:pt x="186" y="624"/>
                </a:lnTo>
                <a:lnTo>
                  <a:pt x="180" y="624"/>
                </a:lnTo>
                <a:lnTo>
                  <a:pt x="174" y="618"/>
                </a:lnTo>
                <a:lnTo>
                  <a:pt x="168" y="618"/>
                </a:lnTo>
                <a:lnTo>
                  <a:pt x="162" y="618"/>
                </a:lnTo>
                <a:lnTo>
                  <a:pt x="156" y="618"/>
                </a:lnTo>
                <a:lnTo>
                  <a:pt x="150" y="618"/>
                </a:lnTo>
                <a:lnTo>
                  <a:pt x="144" y="612"/>
                </a:lnTo>
                <a:lnTo>
                  <a:pt x="144" y="606"/>
                </a:lnTo>
                <a:lnTo>
                  <a:pt x="138" y="606"/>
                </a:lnTo>
                <a:lnTo>
                  <a:pt x="138" y="600"/>
                </a:lnTo>
                <a:lnTo>
                  <a:pt x="138" y="594"/>
                </a:lnTo>
                <a:lnTo>
                  <a:pt x="132" y="594"/>
                </a:lnTo>
                <a:lnTo>
                  <a:pt x="132" y="588"/>
                </a:lnTo>
                <a:lnTo>
                  <a:pt x="132" y="582"/>
                </a:lnTo>
                <a:lnTo>
                  <a:pt x="126" y="576"/>
                </a:lnTo>
                <a:lnTo>
                  <a:pt x="126" y="570"/>
                </a:lnTo>
                <a:lnTo>
                  <a:pt x="120" y="570"/>
                </a:lnTo>
                <a:lnTo>
                  <a:pt x="114" y="570"/>
                </a:lnTo>
                <a:lnTo>
                  <a:pt x="108" y="570"/>
                </a:lnTo>
                <a:lnTo>
                  <a:pt x="102" y="564"/>
                </a:lnTo>
                <a:lnTo>
                  <a:pt x="96" y="558"/>
                </a:lnTo>
                <a:lnTo>
                  <a:pt x="90" y="558"/>
                </a:lnTo>
                <a:lnTo>
                  <a:pt x="84" y="552"/>
                </a:lnTo>
                <a:lnTo>
                  <a:pt x="78" y="552"/>
                </a:lnTo>
                <a:lnTo>
                  <a:pt x="72" y="552"/>
                </a:lnTo>
                <a:lnTo>
                  <a:pt x="66" y="552"/>
                </a:lnTo>
                <a:lnTo>
                  <a:pt x="60" y="552"/>
                </a:lnTo>
                <a:lnTo>
                  <a:pt x="54" y="552"/>
                </a:lnTo>
                <a:lnTo>
                  <a:pt x="48" y="552"/>
                </a:lnTo>
                <a:lnTo>
                  <a:pt x="48" y="546"/>
                </a:lnTo>
                <a:lnTo>
                  <a:pt x="48" y="540"/>
                </a:lnTo>
                <a:lnTo>
                  <a:pt x="48" y="534"/>
                </a:lnTo>
                <a:lnTo>
                  <a:pt x="42" y="534"/>
                </a:lnTo>
                <a:lnTo>
                  <a:pt x="36" y="534"/>
                </a:lnTo>
                <a:lnTo>
                  <a:pt x="36" y="528"/>
                </a:lnTo>
                <a:lnTo>
                  <a:pt x="36" y="522"/>
                </a:lnTo>
                <a:lnTo>
                  <a:pt x="36" y="516"/>
                </a:lnTo>
                <a:lnTo>
                  <a:pt x="36" y="510"/>
                </a:lnTo>
                <a:lnTo>
                  <a:pt x="36" y="504"/>
                </a:lnTo>
                <a:lnTo>
                  <a:pt x="36" y="498"/>
                </a:lnTo>
                <a:lnTo>
                  <a:pt x="30" y="498"/>
                </a:lnTo>
                <a:lnTo>
                  <a:pt x="30" y="492"/>
                </a:lnTo>
                <a:lnTo>
                  <a:pt x="30" y="486"/>
                </a:lnTo>
                <a:lnTo>
                  <a:pt x="24" y="486"/>
                </a:lnTo>
                <a:lnTo>
                  <a:pt x="24" y="480"/>
                </a:lnTo>
                <a:lnTo>
                  <a:pt x="18" y="474"/>
                </a:lnTo>
                <a:lnTo>
                  <a:pt x="12" y="468"/>
                </a:lnTo>
                <a:lnTo>
                  <a:pt x="12" y="462"/>
                </a:lnTo>
                <a:lnTo>
                  <a:pt x="6" y="462"/>
                </a:lnTo>
                <a:lnTo>
                  <a:pt x="6" y="456"/>
                </a:lnTo>
                <a:lnTo>
                  <a:pt x="0" y="450"/>
                </a:lnTo>
                <a:lnTo>
                  <a:pt x="6" y="444"/>
                </a:lnTo>
                <a:lnTo>
                  <a:pt x="6" y="438"/>
                </a:lnTo>
                <a:lnTo>
                  <a:pt x="12" y="438"/>
                </a:lnTo>
                <a:lnTo>
                  <a:pt x="18" y="432"/>
                </a:lnTo>
                <a:lnTo>
                  <a:pt x="24" y="432"/>
                </a:lnTo>
                <a:lnTo>
                  <a:pt x="30" y="432"/>
                </a:lnTo>
                <a:lnTo>
                  <a:pt x="30" y="426"/>
                </a:lnTo>
                <a:lnTo>
                  <a:pt x="30" y="420"/>
                </a:lnTo>
                <a:lnTo>
                  <a:pt x="30" y="414"/>
                </a:lnTo>
                <a:lnTo>
                  <a:pt x="30" y="408"/>
                </a:lnTo>
                <a:lnTo>
                  <a:pt x="30" y="402"/>
                </a:lnTo>
                <a:lnTo>
                  <a:pt x="24" y="402"/>
                </a:lnTo>
                <a:lnTo>
                  <a:pt x="24" y="396"/>
                </a:lnTo>
                <a:lnTo>
                  <a:pt x="24" y="390"/>
                </a:lnTo>
                <a:lnTo>
                  <a:pt x="24" y="384"/>
                </a:lnTo>
                <a:lnTo>
                  <a:pt x="24" y="378"/>
                </a:lnTo>
                <a:lnTo>
                  <a:pt x="24" y="372"/>
                </a:lnTo>
                <a:lnTo>
                  <a:pt x="24" y="366"/>
                </a:lnTo>
                <a:lnTo>
                  <a:pt x="30" y="366"/>
                </a:lnTo>
                <a:lnTo>
                  <a:pt x="24" y="366"/>
                </a:lnTo>
                <a:lnTo>
                  <a:pt x="24" y="360"/>
                </a:lnTo>
                <a:lnTo>
                  <a:pt x="30" y="360"/>
                </a:lnTo>
                <a:lnTo>
                  <a:pt x="30" y="354"/>
                </a:lnTo>
                <a:lnTo>
                  <a:pt x="30" y="348"/>
                </a:lnTo>
                <a:lnTo>
                  <a:pt x="30" y="342"/>
                </a:lnTo>
                <a:lnTo>
                  <a:pt x="30" y="336"/>
                </a:lnTo>
                <a:lnTo>
                  <a:pt x="30" y="330"/>
                </a:lnTo>
                <a:lnTo>
                  <a:pt x="24" y="318"/>
                </a:lnTo>
                <a:lnTo>
                  <a:pt x="24" y="312"/>
                </a:lnTo>
                <a:lnTo>
                  <a:pt x="30" y="306"/>
                </a:lnTo>
                <a:lnTo>
                  <a:pt x="30" y="300"/>
                </a:lnTo>
                <a:lnTo>
                  <a:pt x="30" y="294"/>
                </a:lnTo>
                <a:lnTo>
                  <a:pt x="30" y="288"/>
                </a:lnTo>
                <a:lnTo>
                  <a:pt x="30" y="282"/>
                </a:lnTo>
                <a:lnTo>
                  <a:pt x="30" y="276"/>
                </a:lnTo>
                <a:lnTo>
                  <a:pt x="30" y="270"/>
                </a:lnTo>
                <a:lnTo>
                  <a:pt x="30" y="264"/>
                </a:lnTo>
                <a:lnTo>
                  <a:pt x="24" y="264"/>
                </a:lnTo>
                <a:lnTo>
                  <a:pt x="24" y="258"/>
                </a:lnTo>
                <a:lnTo>
                  <a:pt x="24" y="246"/>
                </a:lnTo>
                <a:lnTo>
                  <a:pt x="24" y="240"/>
                </a:lnTo>
                <a:lnTo>
                  <a:pt x="18" y="240"/>
                </a:lnTo>
                <a:lnTo>
                  <a:pt x="18" y="234"/>
                </a:lnTo>
                <a:lnTo>
                  <a:pt x="18" y="228"/>
                </a:lnTo>
                <a:lnTo>
                  <a:pt x="12" y="228"/>
                </a:lnTo>
                <a:lnTo>
                  <a:pt x="12" y="222"/>
                </a:lnTo>
                <a:lnTo>
                  <a:pt x="12" y="216"/>
                </a:lnTo>
                <a:lnTo>
                  <a:pt x="6" y="210"/>
                </a:lnTo>
                <a:lnTo>
                  <a:pt x="0" y="204"/>
                </a:lnTo>
                <a:lnTo>
                  <a:pt x="0" y="198"/>
                </a:lnTo>
                <a:lnTo>
                  <a:pt x="6" y="198"/>
                </a:lnTo>
                <a:lnTo>
                  <a:pt x="6" y="192"/>
                </a:lnTo>
                <a:lnTo>
                  <a:pt x="12" y="192"/>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6" name="Freeform 37">
            <a:extLst>
              <a:ext uri="{FF2B5EF4-FFF2-40B4-BE49-F238E27FC236}">
                <a16:creationId xmlns:a16="http://schemas.microsoft.com/office/drawing/2014/main" id="{8641BC18-04DE-534E-98EE-DF3C1A125B30}"/>
              </a:ext>
            </a:extLst>
          </p:cNvPr>
          <p:cNvSpPr>
            <a:spLocks/>
          </p:cNvSpPr>
          <p:nvPr>
            <p:custDataLst>
              <p:tags r:id="rId34"/>
            </p:custDataLst>
          </p:nvPr>
        </p:nvSpPr>
        <p:spPr bwMode="gray">
          <a:xfrm>
            <a:off x="2995096" y="2619579"/>
            <a:ext cx="1320829" cy="995039"/>
          </a:xfrm>
          <a:custGeom>
            <a:avLst/>
            <a:gdLst>
              <a:gd name="T0" fmla="*/ 236248 w 1146"/>
              <a:gd name="T1" fmla="*/ 407828 h 1152"/>
              <a:gd name="T2" fmla="*/ 229443 w 1146"/>
              <a:gd name="T3" fmla="*/ 389379 h 1152"/>
              <a:gd name="T4" fmla="*/ 208054 w 1146"/>
              <a:gd name="T5" fmla="*/ 382582 h 1152"/>
              <a:gd name="T6" fmla="*/ 195415 w 1146"/>
              <a:gd name="T7" fmla="*/ 372872 h 1152"/>
              <a:gd name="T8" fmla="*/ 177915 w 1146"/>
              <a:gd name="T9" fmla="*/ 353452 h 1152"/>
              <a:gd name="T10" fmla="*/ 161387 w 1146"/>
              <a:gd name="T11" fmla="*/ 339857 h 1152"/>
              <a:gd name="T12" fmla="*/ 141944 w 1146"/>
              <a:gd name="T13" fmla="*/ 327234 h 1152"/>
              <a:gd name="T14" fmla="*/ 122499 w 1146"/>
              <a:gd name="T15" fmla="*/ 314611 h 1152"/>
              <a:gd name="T16" fmla="*/ 103055 w 1146"/>
              <a:gd name="T17" fmla="*/ 299074 h 1152"/>
              <a:gd name="T18" fmla="*/ 79722 w 1146"/>
              <a:gd name="T19" fmla="*/ 284509 h 1152"/>
              <a:gd name="T20" fmla="*/ 57361 w 1146"/>
              <a:gd name="T21" fmla="*/ 267031 h 1152"/>
              <a:gd name="T22" fmla="*/ 28194 w 1146"/>
              <a:gd name="T23" fmla="*/ 248581 h 1152"/>
              <a:gd name="T24" fmla="*/ 0 w 1146"/>
              <a:gd name="T25" fmla="*/ 231103 h 1152"/>
              <a:gd name="T26" fmla="*/ 12639 w 1146"/>
              <a:gd name="T27" fmla="*/ 188378 h 1152"/>
              <a:gd name="T28" fmla="*/ 30139 w 1146"/>
              <a:gd name="T29" fmla="*/ 177696 h 1152"/>
              <a:gd name="T30" fmla="*/ 56388 w 1146"/>
              <a:gd name="T31" fmla="*/ 172842 h 1152"/>
              <a:gd name="T32" fmla="*/ 72916 w 1146"/>
              <a:gd name="T33" fmla="*/ 160218 h 1152"/>
              <a:gd name="T34" fmla="*/ 90416 w 1146"/>
              <a:gd name="T35" fmla="*/ 149537 h 1152"/>
              <a:gd name="T36" fmla="*/ 96249 w 1146"/>
              <a:gd name="T37" fmla="*/ 138856 h 1152"/>
              <a:gd name="T38" fmla="*/ 113749 w 1146"/>
              <a:gd name="T39" fmla="*/ 128175 h 1152"/>
              <a:gd name="T40" fmla="*/ 128332 w 1146"/>
              <a:gd name="T41" fmla="*/ 117494 h 1152"/>
              <a:gd name="T42" fmla="*/ 147776 w 1146"/>
              <a:gd name="T43" fmla="*/ 115552 h 1152"/>
              <a:gd name="T44" fmla="*/ 143888 w 1146"/>
              <a:gd name="T45" fmla="*/ 102928 h 1152"/>
              <a:gd name="T46" fmla="*/ 137082 w 1146"/>
              <a:gd name="T47" fmla="*/ 79624 h 1152"/>
              <a:gd name="T48" fmla="*/ 131249 w 1146"/>
              <a:gd name="T49" fmla="*/ 53406 h 1152"/>
              <a:gd name="T50" fmla="*/ 143888 w 1146"/>
              <a:gd name="T51" fmla="*/ 42725 h 1152"/>
              <a:gd name="T52" fmla="*/ 158471 w 1146"/>
              <a:gd name="T53" fmla="*/ 33985 h 1152"/>
              <a:gd name="T54" fmla="*/ 177915 w 1146"/>
              <a:gd name="T55" fmla="*/ 23305 h 1152"/>
              <a:gd name="T56" fmla="*/ 197360 w 1146"/>
              <a:gd name="T57" fmla="*/ 14565 h 1152"/>
              <a:gd name="T58" fmla="*/ 218748 w 1146"/>
              <a:gd name="T59" fmla="*/ 12623 h 1152"/>
              <a:gd name="T60" fmla="*/ 236248 w 1146"/>
              <a:gd name="T61" fmla="*/ 6797 h 1152"/>
              <a:gd name="T62" fmla="*/ 255693 w 1146"/>
              <a:gd name="T63" fmla="*/ 3884 h 1152"/>
              <a:gd name="T64" fmla="*/ 275136 w 1146"/>
              <a:gd name="T65" fmla="*/ 10681 h 1152"/>
              <a:gd name="T66" fmla="*/ 295553 w 1146"/>
              <a:gd name="T67" fmla="*/ 3884 h 1152"/>
              <a:gd name="T68" fmla="*/ 313053 w 1146"/>
              <a:gd name="T69" fmla="*/ 3884 h 1152"/>
              <a:gd name="T70" fmla="*/ 330553 w 1146"/>
              <a:gd name="T71" fmla="*/ 6797 h 1152"/>
              <a:gd name="T72" fmla="*/ 341247 w 1146"/>
              <a:gd name="T73" fmla="*/ 8739 h 1152"/>
              <a:gd name="T74" fmla="*/ 336386 w 1146"/>
              <a:gd name="T75" fmla="*/ 19421 h 1152"/>
              <a:gd name="T76" fmla="*/ 339303 w 1146"/>
              <a:gd name="T77" fmla="*/ 37870 h 1152"/>
              <a:gd name="T78" fmla="*/ 336386 w 1146"/>
              <a:gd name="T79" fmla="*/ 56320 h 1152"/>
              <a:gd name="T80" fmla="*/ 323747 w 1146"/>
              <a:gd name="T81" fmla="*/ 72827 h 1152"/>
              <a:gd name="T82" fmla="*/ 332497 w 1146"/>
              <a:gd name="T83" fmla="*/ 96131 h 1152"/>
              <a:gd name="T84" fmla="*/ 353886 w 1146"/>
              <a:gd name="T85" fmla="*/ 121378 h 1152"/>
              <a:gd name="T86" fmla="*/ 360692 w 1146"/>
              <a:gd name="T87" fmla="*/ 151479 h 1152"/>
              <a:gd name="T88" fmla="*/ 362636 w 1146"/>
              <a:gd name="T89" fmla="*/ 175754 h 1152"/>
              <a:gd name="T90" fmla="*/ 369441 w 1146"/>
              <a:gd name="T91" fmla="*/ 199059 h 1152"/>
              <a:gd name="T92" fmla="*/ 369441 w 1146"/>
              <a:gd name="T93" fmla="*/ 224306 h 1152"/>
              <a:gd name="T94" fmla="*/ 369441 w 1146"/>
              <a:gd name="T95" fmla="*/ 248581 h 1152"/>
              <a:gd name="T96" fmla="*/ 366525 w 1146"/>
              <a:gd name="T97" fmla="*/ 267031 h 1152"/>
              <a:gd name="T98" fmla="*/ 375275 w 1146"/>
              <a:gd name="T99" fmla="*/ 286451 h 1152"/>
              <a:gd name="T100" fmla="*/ 399580 w 1146"/>
              <a:gd name="T101" fmla="*/ 297132 h 1152"/>
              <a:gd name="T102" fmla="*/ 407358 w 1146"/>
              <a:gd name="T103" fmla="*/ 314611 h 1152"/>
              <a:gd name="T104" fmla="*/ 385969 w 1146"/>
              <a:gd name="T105" fmla="*/ 327234 h 1152"/>
              <a:gd name="T106" fmla="*/ 366525 w 1146"/>
              <a:gd name="T107" fmla="*/ 339857 h 1152"/>
              <a:gd name="T108" fmla="*/ 345136 w 1146"/>
              <a:gd name="T109" fmla="*/ 353452 h 1152"/>
              <a:gd name="T110" fmla="*/ 328609 w 1146"/>
              <a:gd name="T111" fmla="*/ 366075 h 1152"/>
              <a:gd name="T112" fmla="*/ 309164 w 1146"/>
              <a:gd name="T113" fmla="*/ 380640 h 1152"/>
              <a:gd name="T114" fmla="*/ 289720 w 1146"/>
              <a:gd name="T115" fmla="*/ 398118 h 1152"/>
              <a:gd name="T116" fmla="*/ 261526 w 1146"/>
              <a:gd name="T117" fmla="*/ 403944 h 1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152">
                <a:moveTo>
                  <a:pt x="714" y="1140"/>
                </a:moveTo>
                <a:lnTo>
                  <a:pt x="708" y="1140"/>
                </a:lnTo>
                <a:lnTo>
                  <a:pt x="702" y="1140"/>
                </a:lnTo>
                <a:lnTo>
                  <a:pt x="702" y="1146"/>
                </a:lnTo>
                <a:lnTo>
                  <a:pt x="696" y="1146"/>
                </a:lnTo>
                <a:lnTo>
                  <a:pt x="690" y="1146"/>
                </a:lnTo>
                <a:lnTo>
                  <a:pt x="684" y="1146"/>
                </a:lnTo>
                <a:lnTo>
                  <a:pt x="678" y="1146"/>
                </a:lnTo>
                <a:lnTo>
                  <a:pt x="672" y="1146"/>
                </a:lnTo>
                <a:lnTo>
                  <a:pt x="672" y="1152"/>
                </a:lnTo>
                <a:lnTo>
                  <a:pt x="666" y="1152"/>
                </a:lnTo>
                <a:lnTo>
                  <a:pt x="666" y="1146"/>
                </a:lnTo>
                <a:lnTo>
                  <a:pt x="660" y="1146"/>
                </a:lnTo>
                <a:lnTo>
                  <a:pt x="654" y="1140"/>
                </a:lnTo>
                <a:lnTo>
                  <a:pt x="654" y="1134"/>
                </a:lnTo>
                <a:lnTo>
                  <a:pt x="660" y="1134"/>
                </a:lnTo>
                <a:lnTo>
                  <a:pt x="660" y="1128"/>
                </a:lnTo>
                <a:lnTo>
                  <a:pt x="660" y="1122"/>
                </a:lnTo>
                <a:lnTo>
                  <a:pt x="660" y="1116"/>
                </a:lnTo>
                <a:lnTo>
                  <a:pt x="660" y="1110"/>
                </a:lnTo>
                <a:lnTo>
                  <a:pt x="660" y="1104"/>
                </a:lnTo>
                <a:lnTo>
                  <a:pt x="660" y="1098"/>
                </a:lnTo>
                <a:lnTo>
                  <a:pt x="654" y="1098"/>
                </a:lnTo>
                <a:lnTo>
                  <a:pt x="654" y="1092"/>
                </a:lnTo>
                <a:lnTo>
                  <a:pt x="648" y="1092"/>
                </a:lnTo>
                <a:lnTo>
                  <a:pt x="642" y="1092"/>
                </a:lnTo>
                <a:lnTo>
                  <a:pt x="636" y="1092"/>
                </a:lnTo>
                <a:lnTo>
                  <a:pt x="636" y="1086"/>
                </a:lnTo>
                <a:lnTo>
                  <a:pt x="630" y="1086"/>
                </a:lnTo>
                <a:lnTo>
                  <a:pt x="624" y="1086"/>
                </a:lnTo>
                <a:lnTo>
                  <a:pt x="618" y="1086"/>
                </a:lnTo>
                <a:lnTo>
                  <a:pt x="612" y="1086"/>
                </a:lnTo>
                <a:lnTo>
                  <a:pt x="612" y="1080"/>
                </a:lnTo>
                <a:lnTo>
                  <a:pt x="612" y="1074"/>
                </a:lnTo>
                <a:lnTo>
                  <a:pt x="606" y="1074"/>
                </a:lnTo>
                <a:lnTo>
                  <a:pt x="600" y="1074"/>
                </a:lnTo>
                <a:lnTo>
                  <a:pt x="594" y="1074"/>
                </a:lnTo>
                <a:lnTo>
                  <a:pt x="588" y="1074"/>
                </a:lnTo>
                <a:lnTo>
                  <a:pt x="582" y="1074"/>
                </a:lnTo>
                <a:lnTo>
                  <a:pt x="582" y="1068"/>
                </a:lnTo>
                <a:lnTo>
                  <a:pt x="582" y="1074"/>
                </a:lnTo>
                <a:lnTo>
                  <a:pt x="582" y="1068"/>
                </a:lnTo>
                <a:lnTo>
                  <a:pt x="576" y="1068"/>
                </a:lnTo>
                <a:lnTo>
                  <a:pt x="576" y="1062"/>
                </a:lnTo>
                <a:lnTo>
                  <a:pt x="570" y="1062"/>
                </a:lnTo>
                <a:lnTo>
                  <a:pt x="570" y="1056"/>
                </a:lnTo>
                <a:lnTo>
                  <a:pt x="570" y="1050"/>
                </a:lnTo>
                <a:lnTo>
                  <a:pt x="564" y="1050"/>
                </a:lnTo>
                <a:lnTo>
                  <a:pt x="558" y="1050"/>
                </a:lnTo>
                <a:lnTo>
                  <a:pt x="558" y="1044"/>
                </a:lnTo>
                <a:lnTo>
                  <a:pt x="552" y="1044"/>
                </a:lnTo>
                <a:lnTo>
                  <a:pt x="546" y="1044"/>
                </a:lnTo>
                <a:lnTo>
                  <a:pt x="546" y="1038"/>
                </a:lnTo>
                <a:lnTo>
                  <a:pt x="546" y="1032"/>
                </a:lnTo>
                <a:lnTo>
                  <a:pt x="546" y="1026"/>
                </a:lnTo>
                <a:lnTo>
                  <a:pt x="546" y="1020"/>
                </a:lnTo>
                <a:lnTo>
                  <a:pt x="540" y="1020"/>
                </a:lnTo>
                <a:lnTo>
                  <a:pt x="534" y="1014"/>
                </a:lnTo>
                <a:lnTo>
                  <a:pt x="528" y="1008"/>
                </a:lnTo>
                <a:lnTo>
                  <a:pt x="522" y="1008"/>
                </a:lnTo>
                <a:lnTo>
                  <a:pt x="516" y="1002"/>
                </a:lnTo>
                <a:lnTo>
                  <a:pt x="510" y="1002"/>
                </a:lnTo>
                <a:lnTo>
                  <a:pt x="510" y="996"/>
                </a:lnTo>
                <a:lnTo>
                  <a:pt x="504" y="996"/>
                </a:lnTo>
                <a:lnTo>
                  <a:pt x="498" y="990"/>
                </a:lnTo>
                <a:lnTo>
                  <a:pt x="492" y="990"/>
                </a:lnTo>
                <a:lnTo>
                  <a:pt x="492" y="984"/>
                </a:lnTo>
                <a:lnTo>
                  <a:pt x="486" y="984"/>
                </a:lnTo>
                <a:lnTo>
                  <a:pt x="480" y="978"/>
                </a:lnTo>
                <a:lnTo>
                  <a:pt x="480" y="972"/>
                </a:lnTo>
                <a:lnTo>
                  <a:pt x="474" y="972"/>
                </a:lnTo>
                <a:lnTo>
                  <a:pt x="474" y="966"/>
                </a:lnTo>
                <a:lnTo>
                  <a:pt x="468" y="966"/>
                </a:lnTo>
                <a:lnTo>
                  <a:pt x="462" y="966"/>
                </a:lnTo>
                <a:lnTo>
                  <a:pt x="462" y="960"/>
                </a:lnTo>
                <a:lnTo>
                  <a:pt x="456" y="960"/>
                </a:lnTo>
                <a:lnTo>
                  <a:pt x="456" y="954"/>
                </a:lnTo>
                <a:lnTo>
                  <a:pt x="450" y="954"/>
                </a:lnTo>
                <a:lnTo>
                  <a:pt x="444" y="954"/>
                </a:lnTo>
                <a:lnTo>
                  <a:pt x="444" y="948"/>
                </a:lnTo>
                <a:lnTo>
                  <a:pt x="438" y="948"/>
                </a:lnTo>
                <a:lnTo>
                  <a:pt x="438" y="942"/>
                </a:lnTo>
                <a:lnTo>
                  <a:pt x="432" y="942"/>
                </a:lnTo>
                <a:lnTo>
                  <a:pt x="426" y="936"/>
                </a:lnTo>
                <a:lnTo>
                  <a:pt x="420" y="936"/>
                </a:lnTo>
                <a:lnTo>
                  <a:pt x="420" y="930"/>
                </a:lnTo>
                <a:lnTo>
                  <a:pt x="414" y="930"/>
                </a:lnTo>
                <a:lnTo>
                  <a:pt x="408" y="924"/>
                </a:lnTo>
                <a:lnTo>
                  <a:pt x="402" y="924"/>
                </a:lnTo>
                <a:lnTo>
                  <a:pt x="402" y="918"/>
                </a:lnTo>
                <a:lnTo>
                  <a:pt x="396" y="918"/>
                </a:lnTo>
                <a:lnTo>
                  <a:pt x="390" y="912"/>
                </a:lnTo>
                <a:lnTo>
                  <a:pt x="384" y="912"/>
                </a:lnTo>
                <a:lnTo>
                  <a:pt x="384" y="906"/>
                </a:lnTo>
                <a:lnTo>
                  <a:pt x="378" y="906"/>
                </a:lnTo>
                <a:lnTo>
                  <a:pt x="378" y="900"/>
                </a:lnTo>
                <a:lnTo>
                  <a:pt x="372" y="900"/>
                </a:lnTo>
                <a:lnTo>
                  <a:pt x="366" y="894"/>
                </a:lnTo>
                <a:lnTo>
                  <a:pt x="360" y="894"/>
                </a:lnTo>
                <a:lnTo>
                  <a:pt x="360" y="888"/>
                </a:lnTo>
                <a:lnTo>
                  <a:pt x="354" y="888"/>
                </a:lnTo>
                <a:lnTo>
                  <a:pt x="354" y="882"/>
                </a:lnTo>
                <a:lnTo>
                  <a:pt x="348" y="882"/>
                </a:lnTo>
                <a:lnTo>
                  <a:pt x="342" y="882"/>
                </a:lnTo>
                <a:lnTo>
                  <a:pt x="342" y="876"/>
                </a:lnTo>
                <a:lnTo>
                  <a:pt x="336" y="876"/>
                </a:lnTo>
                <a:lnTo>
                  <a:pt x="336" y="870"/>
                </a:lnTo>
                <a:lnTo>
                  <a:pt x="330" y="870"/>
                </a:lnTo>
                <a:lnTo>
                  <a:pt x="324" y="864"/>
                </a:lnTo>
                <a:lnTo>
                  <a:pt x="318" y="864"/>
                </a:lnTo>
                <a:lnTo>
                  <a:pt x="318" y="858"/>
                </a:lnTo>
                <a:lnTo>
                  <a:pt x="312" y="858"/>
                </a:lnTo>
                <a:lnTo>
                  <a:pt x="306" y="852"/>
                </a:lnTo>
                <a:lnTo>
                  <a:pt x="300" y="852"/>
                </a:lnTo>
                <a:lnTo>
                  <a:pt x="300" y="846"/>
                </a:lnTo>
                <a:lnTo>
                  <a:pt x="294" y="846"/>
                </a:lnTo>
                <a:lnTo>
                  <a:pt x="288" y="840"/>
                </a:lnTo>
                <a:lnTo>
                  <a:pt x="282" y="840"/>
                </a:lnTo>
                <a:lnTo>
                  <a:pt x="282" y="834"/>
                </a:lnTo>
                <a:lnTo>
                  <a:pt x="276" y="834"/>
                </a:lnTo>
                <a:lnTo>
                  <a:pt x="276" y="828"/>
                </a:lnTo>
                <a:lnTo>
                  <a:pt x="270" y="828"/>
                </a:lnTo>
                <a:lnTo>
                  <a:pt x="264" y="822"/>
                </a:lnTo>
                <a:lnTo>
                  <a:pt x="258" y="822"/>
                </a:lnTo>
                <a:lnTo>
                  <a:pt x="252" y="816"/>
                </a:lnTo>
                <a:lnTo>
                  <a:pt x="246" y="810"/>
                </a:lnTo>
                <a:lnTo>
                  <a:pt x="240" y="810"/>
                </a:lnTo>
                <a:lnTo>
                  <a:pt x="234" y="804"/>
                </a:lnTo>
                <a:lnTo>
                  <a:pt x="228" y="798"/>
                </a:lnTo>
                <a:lnTo>
                  <a:pt x="222" y="798"/>
                </a:lnTo>
                <a:lnTo>
                  <a:pt x="222" y="792"/>
                </a:lnTo>
                <a:lnTo>
                  <a:pt x="216" y="792"/>
                </a:lnTo>
                <a:lnTo>
                  <a:pt x="210" y="786"/>
                </a:lnTo>
                <a:lnTo>
                  <a:pt x="204" y="786"/>
                </a:lnTo>
                <a:lnTo>
                  <a:pt x="204" y="780"/>
                </a:lnTo>
                <a:lnTo>
                  <a:pt x="198" y="780"/>
                </a:lnTo>
                <a:lnTo>
                  <a:pt x="192" y="774"/>
                </a:lnTo>
                <a:lnTo>
                  <a:pt x="186" y="768"/>
                </a:lnTo>
                <a:lnTo>
                  <a:pt x="180" y="768"/>
                </a:lnTo>
                <a:lnTo>
                  <a:pt x="180" y="762"/>
                </a:lnTo>
                <a:lnTo>
                  <a:pt x="174" y="762"/>
                </a:lnTo>
                <a:lnTo>
                  <a:pt x="168" y="756"/>
                </a:lnTo>
                <a:lnTo>
                  <a:pt x="162" y="750"/>
                </a:lnTo>
                <a:lnTo>
                  <a:pt x="156" y="750"/>
                </a:lnTo>
                <a:lnTo>
                  <a:pt x="150" y="744"/>
                </a:lnTo>
                <a:lnTo>
                  <a:pt x="144" y="738"/>
                </a:lnTo>
                <a:lnTo>
                  <a:pt x="138" y="738"/>
                </a:lnTo>
                <a:lnTo>
                  <a:pt x="126" y="732"/>
                </a:lnTo>
                <a:lnTo>
                  <a:pt x="126" y="726"/>
                </a:lnTo>
                <a:lnTo>
                  <a:pt x="120" y="726"/>
                </a:lnTo>
                <a:lnTo>
                  <a:pt x="114" y="720"/>
                </a:lnTo>
                <a:lnTo>
                  <a:pt x="108" y="714"/>
                </a:lnTo>
                <a:lnTo>
                  <a:pt x="96" y="708"/>
                </a:lnTo>
                <a:lnTo>
                  <a:pt x="90" y="702"/>
                </a:lnTo>
                <a:lnTo>
                  <a:pt x="84" y="702"/>
                </a:lnTo>
                <a:lnTo>
                  <a:pt x="78" y="696"/>
                </a:lnTo>
                <a:lnTo>
                  <a:pt x="72" y="690"/>
                </a:lnTo>
                <a:lnTo>
                  <a:pt x="66" y="690"/>
                </a:lnTo>
                <a:lnTo>
                  <a:pt x="60" y="684"/>
                </a:lnTo>
                <a:lnTo>
                  <a:pt x="48" y="678"/>
                </a:lnTo>
                <a:lnTo>
                  <a:pt x="42" y="672"/>
                </a:lnTo>
                <a:lnTo>
                  <a:pt x="36" y="672"/>
                </a:lnTo>
                <a:lnTo>
                  <a:pt x="30" y="666"/>
                </a:lnTo>
                <a:lnTo>
                  <a:pt x="24" y="660"/>
                </a:lnTo>
                <a:lnTo>
                  <a:pt x="18" y="660"/>
                </a:lnTo>
                <a:lnTo>
                  <a:pt x="18" y="654"/>
                </a:lnTo>
                <a:lnTo>
                  <a:pt x="12" y="654"/>
                </a:lnTo>
                <a:lnTo>
                  <a:pt x="6" y="648"/>
                </a:lnTo>
                <a:lnTo>
                  <a:pt x="0" y="648"/>
                </a:lnTo>
                <a:lnTo>
                  <a:pt x="0" y="618"/>
                </a:lnTo>
                <a:lnTo>
                  <a:pt x="0" y="582"/>
                </a:lnTo>
                <a:lnTo>
                  <a:pt x="0" y="576"/>
                </a:lnTo>
                <a:lnTo>
                  <a:pt x="0" y="564"/>
                </a:lnTo>
                <a:lnTo>
                  <a:pt x="0" y="558"/>
                </a:lnTo>
                <a:lnTo>
                  <a:pt x="0" y="552"/>
                </a:lnTo>
                <a:lnTo>
                  <a:pt x="6" y="552"/>
                </a:lnTo>
                <a:lnTo>
                  <a:pt x="6" y="546"/>
                </a:lnTo>
                <a:lnTo>
                  <a:pt x="12" y="546"/>
                </a:lnTo>
                <a:lnTo>
                  <a:pt x="18" y="540"/>
                </a:lnTo>
                <a:lnTo>
                  <a:pt x="24" y="534"/>
                </a:lnTo>
                <a:lnTo>
                  <a:pt x="30" y="534"/>
                </a:lnTo>
                <a:lnTo>
                  <a:pt x="36" y="528"/>
                </a:lnTo>
                <a:lnTo>
                  <a:pt x="42" y="528"/>
                </a:lnTo>
                <a:lnTo>
                  <a:pt x="42" y="522"/>
                </a:lnTo>
                <a:lnTo>
                  <a:pt x="48" y="522"/>
                </a:lnTo>
                <a:lnTo>
                  <a:pt x="48" y="516"/>
                </a:lnTo>
                <a:lnTo>
                  <a:pt x="54" y="516"/>
                </a:lnTo>
                <a:lnTo>
                  <a:pt x="60" y="510"/>
                </a:lnTo>
                <a:lnTo>
                  <a:pt x="66" y="516"/>
                </a:lnTo>
                <a:lnTo>
                  <a:pt x="66" y="510"/>
                </a:lnTo>
                <a:lnTo>
                  <a:pt x="72" y="510"/>
                </a:lnTo>
                <a:lnTo>
                  <a:pt x="72" y="504"/>
                </a:lnTo>
                <a:lnTo>
                  <a:pt x="78" y="504"/>
                </a:lnTo>
                <a:lnTo>
                  <a:pt x="78" y="498"/>
                </a:lnTo>
                <a:lnTo>
                  <a:pt x="84" y="498"/>
                </a:lnTo>
                <a:lnTo>
                  <a:pt x="90" y="498"/>
                </a:lnTo>
                <a:lnTo>
                  <a:pt x="96" y="498"/>
                </a:lnTo>
                <a:lnTo>
                  <a:pt x="102" y="498"/>
                </a:lnTo>
                <a:lnTo>
                  <a:pt x="108" y="498"/>
                </a:lnTo>
                <a:lnTo>
                  <a:pt x="114" y="498"/>
                </a:lnTo>
                <a:lnTo>
                  <a:pt x="120" y="498"/>
                </a:lnTo>
                <a:lnTo>
                  <a:pt x="120" y="492"/>
                </a:lnTo>
                <a:lnTo>
                  <a:pt x="126" y="492"/>
                </a:lnTo>
                <a:lnTo>
                  <a:pt x="132" y="492"/>
                </a:lnTo>
                <a:lnTo>
                  <a:pt x="138" y="492"/>
                </a:lnTo>
                <a:lnTo>
                  <a:pt x="144" y="492"/>
                </a:lnTo>
                <a:lnTo>
                  <a:pt x="150" y="486"/>
                </a:lnTo>
                <a:lnTo>
                  <a:pt x="156" y="486"/>
                </a:lnTo>
                <a:lnTo>
                  <a:pt x="162" y="486"/>
                </a:lnTo>
                <a:lnTo>
                  <a:pt x="168" y="486"/>
                </a:lnTo>
                <a:lnTo>
                  <a:pt x="174" y="480"/>
                </a:lnTo>
                <a:lnTo>
                  <a:pt x="180" y="480"/>
                </a:lnTo>
                <a:lnTo>
                  <a:pt x="186" y="480"/>
                </a:lnTo>
                <a:lnTo>
                  <a:pt x="186" y="474"/>
                </a:lnTo>
                <a:lnTo>
                  <a:pt x="192" y="474"/>
                </a:lnTo>
                <a:lnTo>
                  <a:pt x="198" y="474"/>
                </a:lnTo>
                <a:lnTo>
                  <a:pt x="198" y="468"/>
                </a:lnTo>
                <a:lnTo>
                  <a:pt x="198" y="462"/>
                </a:lnTo>
                <a:lnTo>
                  <a:pt x="204" y="462"/>
                </a:lnTo>
                <a:lnTo>
                  <a:pt x="204" y="456"/>
                </a:lnTo>
                <a:lnTo>
                  <a:pt x="204" y="450"/>
                </a:lnTo>
                <a:lnTo>
                  <a:pt x="204" y="444"/>
                </a:lnTo>
                <a:lnTo>
                  <a:pt x="210" y="444"/>
                </a:lnTo>
                <a:lnTo>
                  <a:pt x="210" y="438"/>
                </a:lnTo>
                <a:lnTo>
                  <a:pt x="210" y="432"/>
                </a:lnTo>
                <a:lnTo>
                  <a:pt x="216" y="432"/>
                </a:lnTo>
                <a:lnTo>
                  <a:pt x="222" y="432"/>
                </a:lnTo>
                <a:lnTo>
                  <a:pt x="222" y="426"/>
                </a:lnTo>
                <a:lnTo>
                  <a:pt x="228" y="426"/>
                </a:lnTo>
                <a:lnTo>
                  <a:pt x="234" y="426"/>
                </a:lnTo>
                <a:lnTo>
                  <a:pt x="240" y="426"/>
                </a:lnTo>
                <a:lnTo>
                  <a:pt x="246" y="426"/>
                </a:lnTo>
                <a:lnTo>
                  <a:pt x="252" y="426"/>
                </a:lnTo>
                <a:lnTo>
                  <a:pt x="252" y="420"/>
                </a:lnTo>
                <a:lnTo>
                  <a:pt x="258" y="420"/>
                </a:lnTo>
                <a:lnTo>
                  <a:pt x="264" y="414"/>
                </a:lnTo>
                <a:lnTo>
                  <a:pt x="270" y="414"/>
                </a:lnTo>
                <a:lnTo>
                  <a:pt x="270" y="420"/>
                </a:lnTo>
                <a:lnTo>
                  <a:pt x="270" y="414"/>
                </a:lnTo>
                <a:lnTo>
                  <a:pt x="276" y="414"/>
                </a:lnTo>
                <a:lnTo>
                  <a:pt x="282" y="414"/>
                </a:lnTo>
                <a:lnTo>
                  <a:pt x="282" y="408"/>
                </a:lnTo>
                <a:lnTo>
                  <a:pt x="282" y="402"/>
                </a:lnTo>
                <a:lnTo>
                  <a:pt x="276" y="402"/>
                </a:lnTo>
                <a:lnTo>
                  <a:pt x="270" y="402"/>
                </a:lnTo>
                <a:lnTo>
                  <a:pt x="270" y="396"/>
                </a:lnTo>
                <a:lnTo>
                  <a:pt x="270" y="390"/>
                </a:lnTo>
                <a:lnTo>
                  <a:pt x="270" y="384"/>
                </a:lnTo>
                <a:lnTo>
                  <a:pt x="276" y="384"/>
                </a:lnTo>
                <a:lnTo>
                  <a:pt x="276" y="378"/>
                </a:lnTo>
                <a:lnTo>
                  <a:pt x="276" y="372"/>
                </a:lnTo>
                <a:lnTo>
                  <a:pt x="276" y="366"/>
                </a:lnTo>
                <a:lnTo>
                  <a:pt x="282" y="366"/>
                </a:lnTo>
                <a:lnTo>
                  <a:pt x="288" y="366"/>
                </a:lnTo>
                <a:lnTo>
                  <a:pt x="294" y="366"/>
                </a:lnTo>
                <a:lnTo>
                  <a:pt x="300" y="366"/>
                </a:lnTo>
                <a:lnTo>
                  <a:pt x="300" y="360"/>
                </a:lnTo>
                <a:lnTo>
                  <a:pt x="306" y="360"/>
                </a:lnTo>
                <a:lnTo>
                  <a:pt x="312" y="360"/>
                </a:lnTo>
                <a:lnTo>
                  <a:pt x="318" y="360"/>
                </a:lnTo>
                <a:lnTo>
                  <a:pt x="324" y="360"/>
                </a:lnTo>
                <a:lnTo>
                  <a:pt x="324" y="354"/>
                </a:lnTo>
                <a:lnTo>
                  <a:pt x="324" y="348"/>
                </a:lnTo>
                <a:lnTo>
                  <a:pt x="318" y="348"/>
                </a:lnTo>
                <a:lnTo>
                  <a:pt x="318" y="342"/>
                </a:lnTo>
                <a:lnTo>
                  <a:pt x="318" y="336"/>
                </a:lnTo>
                <a:lnTo>
                  <a:pt x="324" y="336"/>
                </a:lnTo>
                <a:lnTo>
                  <a:pt x="330" y="336"/>
                </a:lnTo>
                <a:lnTo>
                  <a:pt x="336" y="336"/>
                </a:lnTo>
                <a:lnTo>
                  <a:pt x="342" y="330"/>
                </a:lnTo>
                <a:lnTo>
                  <a:pt x="348" y="330"/>
                </a:lnTo>
                <a:lnTo>
                  <a:pt x="354" y="330"/>
                </a:lnTo>
                <a:lnTo>
                  <a:pt x="360" y="330"/>
                </a:lnTo>
                <a:lnTo>
                  <a:pt x="366" y="336"/>
                </a:lnTo>
                <a:lnTo>
                  <a:pt x="372" y="336"/>
                </a:lnTo>
                <a:lnTo>
                  <a:pt x="378" y="336"/>
                </a:lnTo>
                <a:lnTo>
                  <a:pt x="384" y="336"/>
                </a:lnTo>
                <a:lnTo>
                  <a:pt x="390" y="336"/>
                </a:lnTo>
                <a:lnTo>
                  <a:pt x="396" y="336"/>
                </a:lnTo>
                <a:lnTo>
                  <a:pt x="402" y="336"/>
                </a:lnTo>
                <a:lnTo>
                  <a:pt x="408" y="336"/>
                </a:lnTo>
                <a:lnTo>
                  <a:pt x="414" y="336"/>
                </a:lnTo>
                <a:lnTo>
                  <a:pt x="414" y="330"/>
                </a:lnTo>
                <a:lnTo>
                  <a:pt x="408" y="330"/>
                </a:lnTo>
                <a:lnTo>
                  <a:pt x="408" y="324"/>
                </a:lnTo>
                <a:lnTo>
                  <a:pt x="414" y="324"/>
                </a:lnTo>
                <a:lnTo>
                  <a:pt x="408" y="324"/>
                </a:lnTo>
                <a:lnTo>
                  <a:pt x="414" y="324"/>
                </a:lnTo>
                <a:lnTo>
                  <a:pt x="414" y="318"/>
                </a:lnTo>
                <a:lnTo>
                  <a:pt x="420" y="318"/>
                </a:lnTo>
                <a:lnTo>
                  <a:pt x="420" y="312"/>
                </a:lnTo>
                <a:lnTo>
                  <a:pt x="426" y="312"/>
                </a:lnTo>
                <a:lnTo>
                  <a:pt x="426" y="306"/>
                </a:lnTo>
                <a:lnTo>
                  <a:pt x="420" y="306"/>
                </a:lnTo>
                <a:lnTo>
                  <a:pt x="414" y="300"/>
                </a:lnTo>
                <a:lnTo>
                  <a:pt x="408" y="300"/>
                </a:lnTo>
                <a:lnTo>
                  <a:pt x="408" y="294"/>
                </a:lnTo>
                <a:lnTo>
                  <a:pt x="402" y="294"/>
                </a:lnTo>
                <a:lnTo>
                  <a:pt x="402" y="288"/>
                </a:lnTo>
                <a:lnTo>
                  <a:pt x="396" y="282"/>
                </a:lnTo>
                <a:lnTo>
                  <a:pt x="396" y="276"/>
                </a:lnTo>
                <a:lnTo>
                  <a:pt x="396" y="270"/>
                </a:lnTo>
                <a:lnTo>
                  <a:pt x="390" y="264"/>
                </a:lnTo>
                <a:lnTo>
                  <a:pt x="390" y="258"/>
                </a:lnTo>
                <a:lnTo>
                  <a:pt x="390" y="252"/>
                </a:lnTo>
                <a:lnTo>
                  <a:pt x="390" y="246"/>
                </a:lnTo>
                <a:lnTo>
                  <a:pt x="390" y="240"/>
                </a:lnTo>
                <a:lnTo>
                  <a:pt x="390" y="234"/>
                </a:lnTo>
                <a:lnTo>
                  <a:pt x="384" y="234"/>
                </a:lnTo>
                <a:lnTo>
                  <a:pt x="384" y="228"/>
                </a:lnTo>
                <a:lnTo>
                  <a:pt x="390" y="228"/>
                </a:lnTo>
                <a:lnTo>
                  <a:pt x="384" y="222"/>
                </a:lnTo>
                <a:lnTo>
                  <a:pt x="384" y="210"/>
                </a:lnTo>
                <a:lnTo>
                  <a:pt x="390" y="210"/>
                </a:lnTo>
                <a:lnTo>
                  <a:pt x="390" y="204"/>
                </a:lnTo>
                <a:lnTo>
                  <a:pt x="384" y="198"/>
                </a:lnTo>
                <a:lnTo>
                  <a:pt x="384" y="186"/>
                </a:lnTo>
                <a:lnTo>
                  <a:pt x="384" y="180"/>
                </a:lnTo>
                <a:lnTo>
                  <a:pt x="384" y="174"/>
                </a:lnTo>
                <a:lnTo>
                  <a:pt x="378" y="168"/>
                </a:lnTo>
                <a:lnTo>
                  <a:pt x="384" y="162"/>
                </a:lnTo>
                <a:lnTo>
                  <a:pt x="378" y="156"/>
                </a:lnTo>
                <a:lnTo>
                  <a:pt x="372" y="156"/>
                </a:lnTo>
                <a:lnTo>
                  <a:pt x="372" y="150"/>
                </a:lnTo>
                <a:lnTo>
                  <a:pt x="366" y="150"/>
                </a:lnTo>
                <a:lnTo>
                  <a:pt x="366" y="144"/>
                </a:lnTo>
                <a:lnTo>
                  <a:pt x="360" y="144"/>
                </a:lnTo>
                <a:lnTo>
                  <a:pt x="360" y="138"/>
                </a:lnTo>
                <a:lnTo>
                  <a:pt x="366" y="138"/>
                </a:lnTo>
                <a:lnTo>
                  <a:pt x="372" y="138"/>
                </a:lnTo>
                <a:lnTo>
                  <a:pt x="378" y="138"/>
                </a:lnTo>
                <a:lnTo>
                  <a:pt x="378" y="132"/>
                </a:lnTo>
                <a:lnTo>
                  <a:pt x="384" y="132"/>
                </a:lnTo>
                <a:lnTo>
                  <a:pt x="390" y="132"/>
                </a:lnTo>
                <a:lnTo>
                  <a:pt x="390" y="126"/>
                </a:lnTo>
                <a:lnTo>
                  <a:pt x="396" y="126"/>
                </a:lnTo>
                <a:lnTo>
                  <a:pt x="396" y="120"/>
                </a:lnTo>
                <a:lnTo>
                  <a:pt x="402" y="120"/>
                </a:lnTo>
                <a:lnTo>
                  <a:pt x="408" y="120"/>
                </a:lnTo>
                <a:lnTo>
                  <a:pt x="408" y="114"/>
                </a:lnTo>
                <a:lnTo>
                  <a:pt x="414" y="114"/>
                </a:lnTo>
                <a:lnTo>
                  <a:pt x="414" y="108"/>
                </a:lnTo>
                <a:lnTo>
                  <a:pt x="414" y="102"/>
                </a:lnTo>
                <a:lnTo>
                  <a:pt x="420" y="102"/>
                </a:lnTo>
                <a:lnTo>
                  <a:pt x="420" y="96"/>
                </a:lnTo>
                <a:lnTo>
                  <a:pt x="426" y="96"/>
                </a:lnTo>
                <a:lnTo>
                  <a:pt x="432" y="96"/>
                </a:lnTo>
                <a:lnTo>
                  <a:pt x="432" y="90"/>
                </a:lnTo>
                <a:lnTo>
                  <a:pt x="438" y="90"/>
                </a:lnTo>
                <a:lnTo>
                  <a:pt x="444" y="90"/>
                </a:lnTo>
                <a:lnTo>
                  <a:pt x="444" y="96"/>
                </a:lnTo>
                <a:lnTo>
                  <a:pt x="450" y="90"/>
                </a:lnTo>
                <a:lnTo>
                  <a:pt x="456" y="84"/>
                </a:lnTo>
                <a:lnTo>
                  <a:pt x="462" y="84"/>
                </a:lnTo>
                <a:lnTo>
                  <a:pt x="462" y="78"/>
                </a:lnTo>
                <a:lnTo>
                  <a:pt x="462" y="84"/>
                </a:lnTo>
                <a:lnTo>
                  <a:pt x="468" y="90"/>
                </a:lnTo>
                <a:lnTo>
                  <a:pt x="474" y="90"/>
                </a:lnTo>
                <a:lnTo>
                  <a:pt x="480" y="84"/>
                </a:lnTo>
                <a:lnTo>
                  <a:pt x="486" y="78"/>
                </a:lnTo>
                <a:lnTo>
                  <a:pt x="486" y="72"/>
                </a:lnTo>
                <a:lnTo>
                  <a:pt x="492" y="72"/>
                </a:lnTo>
                <a:lnTo>
                  <a:pt x="492" y="66"/>
                </a:lnTo>
                <a:lnTo>
                  <a:pt x="498" y="66"/>
                </a:lnTo>
                <a:lnTo>
                  <a:pt x="498" y="60"/>
                </a:lnTo>
                <a:lnTo>
                  <a:pt x="504" y="60"/>
                </a:lnTo>
                <a:lnTo>
                  <a:pt x="510" y="60"/>
                </a:lnTo>
                <a:lnTo>
                  <a:pt x="510" y="54"/>
                </a:lnTo>
                <a:lnTo>
                  <a:pt x="516" y="54"/>
                </a:lnTo>
                <a:lnTo>
                  <a:pt x="522" y="54"/>
                </a:lnTo>
                <a:lnTo>
                  <a:pt x="522" y="48"/>
                </a:lnTo>
                <a:lnTo>
                  <a:pt x="528" y="48"/>
                </a:lnTo>
                <a:lnTo>
                  <a:pt x="534" y="48"/>
                </a:lnTo>
                <a:lnTo>
                  <a:pt x="534" y="42"/>
                </a:lnTo>
                <a:lnTo>
                  <a:pt x="540" y="42"/>
                </a:lnTo>
                <a:lnTo>
                  <a:pt x="546" y="42"/>
                </a:lnTo>
                <a:lnTo>
                  <a:pt x="552" y="42"/>
                </a:lnTo>
                <a:lnTo>
                  <a:pt x="552" y="36"/>
                </a:lnTo>
                <a:lnTo>
                  <a:pt x="558" y="36"/>
                </a:lnTo>
                <a:lnTo>
                  <a:pt x="564" y="36"/>
                </a:lnTo>
                <a:lnTo>
                  <a:pt x="570" y="36"/>
                </a:lnTo>
                <a:lnTo>
                  <a:pt x="576" y="36"/>
                </a:lnTo>
                <a:lnTo>
                  <a:pt x="582" y="36"/>
                </a:lnTo>
                <a:lnTo>
                  <a:pt x="588" y="36"/>
                </a:lnTo>
                <a:lnTo>
                  <a:pt x="594" y="36"/>
                </a:lnTo>
                <a:lnTo>
                  <a:pt x="600" y="36"/>
                </a:lnTo>
                <a:lnTo>
                  <a:pt x="600" y="30"/>
                </a:lnTo>
                <a:lnTo>
                  <a:pt x="606" y="30"/>
                </a:lnTo>
                <a:lnTo>
                  <a:pt x="612" y="30"/>
                </a:lnTo>
                <a:lnTo>
                  <a:pt x="612" y="36"/>
                </a:lnTo>
                <a:lnTo>
                  <a:pt x="618" y="36"/>
                </a:lnTo>
                <a:lnTo>
                  <a:pt x="624" y="36"/>
                </a:lnTo>
                <a:lnTo>
                  <a:pt x="624" y="30"/>
                </a:lnTo>
                <a:lnTo>
                  <a:pt x="630" y="30"/>
                </a:lnTo>
                <a:lnTo>
                  <a:pt x="636" y="30"/>
                </a:lnTo>
                <a:lnTo>
                  <a:pt x="636" y="24"/>
                </a:lnTo>
                <a:lnTo>
                  <a:pt x="642" y="24"/>
                </a:lnTo>
                <a:lnTo>
                  <a:pt x="642" y="18"/>
                </a:lnTo>
                <a:lnTo>
                  <a:pt x="648" y="18"/>
                </a:lnTo>
                <a:lnTo>
                  <a:pt x="648" y="24"/>
                </a:lnTo>
                <a:lnTo>
                  <a:pt x="654" y="24"/>
                </a:lnTo>
                <a:lnTo>
                  <a:pt x="660" y="24"/>
                </a:lnTo>
                <a:lnTo>
                  <a:pt x="660" y="18"/>
                </a:lnTo>
                <a:lnTo>
                  <a:pt x="666" y="18"/>
                </a:lnTo>
                <a:lnTo>
                  <a:pt x="666" y="24"/>
                </a:lnTo>
                <a:lnTo>
                  <a:pt x="666" y="18"/>
                </a:lnTo>
                <a:lnTo>
                  <a:pt x="666" y="24"/>
                </a:lnTo>
                <a:lnTo>
                  <a:pt x="672" y="24"/>
                </a:lnTo>
                <a:lnTo>
                  <a:pt x="678" y="18"/>
                </a:lnTo>
                <a:lnTo>
                  <a:pt x="684" y="18"/>
                </a:lnTo>
                <a:lnTo>
                  <a:pt x="684" y="12"/>
                </a:lnTo>
                <a:lnTo>
                  <a:pt x="690" y="12"/>
                </a:lnTo>
                <a:lnTo>
                  <a:pt x="696" y="12"/>
                </a:lnTo>
                <a:lnTo>
                  <a:pt x="702" y="12"/>
                </a:lnTo>
                <a:lnTo>
                  <a:pt x="708" y="12"/>
                </a:lnTo>
                <a:lnTo>
                  <a:pt x="714" y="12"/>
                </a:lnTo>
                <a:lnTo>
                  <a:pt x="720" y="12"/>
                </a:lnTo>
                <a:lnTo>
                  <a:pt x="726" y="12"/>
                </a:lnTo>
                <a:lnTo>
                  <a:pt x="732" y="12"/>
                </a:lnTo>
                <a:lnTo>
                  <a:pt x="738" y="12"/>
                </a:lnTo>
                <a:lnTo>
                  <a:pt x="744" y="12"/>
                </a:lnTo>
                <a:lnTo>
                  <a:pt x="750" y="12"/>
                </a:lnTo>
                <a:lnTo>
                  <a:pt x="750" y="18"/>
                </a:lnTo>
                <a:lnTo>
                  <a:pt x="756" y="18"/>
                </a:lnTo>
                <a:lnTo>
                  <a:pt x="762" y="18"/>
                </a:lnTo>
                <a:lnTo>
                  <a:pt x="762" y="24"/>
                </a:lnTo>
                <a:lnTo>
                  <a:pt x="762" y="18"/>
                </a:lnTo>
                <a:lnTo>
                  <a:pt x="762" y="24"/>
                </a:lnTo>
                <a:lnTo>
                  <a:pt x="768" y="30"/>
                </a:lnTo>
                <a:lnTo>
                  <a:pt x="774" y="30"/>
                </a:lnTo>
                <a:lnTo>
                  <a:pt x="780" y="30"/>
                </a:lnTo>
                <a:lnTo>
                  <a:pt x="786" y="30"/>
                </a:lnTo>
                <a:lnTo>
                  <a:pt x="786" y="24"/>
                </a:lnTo>
                <a:lnTo>
                  <a:pt x="792" y="24"/>
                </a:lnTo>
                <a:lnTo>
                  <a:pt x="792" y="18"/>
                </a:lnTo>
                <a:lnTo>
                  <a:pt x="798" y="18"/>
                </a:lnTo>
                <a:lnTo>
                  <a:pt x="804" y="18"/>
                </a:lnTo>
                <a:lnTo>
                  <a:pt x="810" y="18"/>
                </a:lnTo>
                <a:lnTo>
                  <a:pt x="816" y="18"/>
                </a:lnTo>
                <a:lnTo>
                  <a:pt x="816" y="12"/>
                </a:lnTo>
                <a:lnTo>
                  <a:pt x="822" y="12"/>
                </a:lnTo>
                <a:lnTo>
                  <a:pt x="828" y="12"/>
                </a:lnTo>
                <a:lnTo>
                  <a:pt x="828" y="6"/>
                </a:lnTo>
                <a:lnTo>
                  <a:pt x="834" y="0"/>
                </a:lnTo>
                <a:lnTo>
                  <a:pt x="840" y="0"/>
                </a:lnTo>
                <a:lnTo>
                  <a:pt x="846" y="0"/>
                </a:lnTo>
                <a:lnTo>
                  <a:pt x="846" y="6"/>
                </a:lnTo>
                <a:lnTo>
                  <a:pt x="852" y="6"/>
                </a:lnTo>
                <a:lnTo>
                  <a:pt x="858" y="6"/>
                </a:lnTo>
                <a:lnTo>
                  <a:pt x="858" y="12"/>
                </a:lnTo>
                <a:lnTo>
                  <a:pt x="858" y="6"/>
                </a:lnTo>
                <a:lnTo>
                  <a:pt x="864" y="6"/>
                </a:lnTo>
                <a:lnTo>
                  <a:pt x="864" y="12"/>
                </a:lnTo>
                <a:lnTo>
                  <a:pt x="870" y="12"/>
                </a:lnTo>
                <a:lnTo>
                  <a:pt x="876" y="12"/>
                </a:lnTo>
                <a:lnTo>
                  <a:pt x="882" y="12"/>
                </a:lnTo>
                <a:lnTo>
                  <a:pt x="882" y="6"/>
                </a:lnTo>
                <a:lnTo>
                  <a:pt x="882" y="0"/>
                </a:lnTo>
                <a:lnTo>
                  <a:pt x="888" y="0"/>
                </a:lnTo>
                <a:lnTo>
                  <a:pt x="894" y="0"/>
                </a:lnTo>
                <a:lnTo>
                  <a:pt x="900" y="0"/>
                </a:lnTo>
                <a:lnTo>
                  <a:pt x="900" y="6"/>
                </a:lnTo>
                <a:lnTo>
                  <a:pt x="906" y="6"/>
                </a:lnTo>
                <a:lnTo>
                  <a:pt x="912" y="6"/>
                </a:lnTo>
                <a:lnTo>
                  <a:pt x="912" y="12"/>
                </a:lnTo>
                <a:lnTo>
                  <a:pt x="912" y="18"/>
                </a:lnTo>
                <a:lnTo>
                  <a:pt x="918" y="18"/>
                </a:lnTo>
                <a:lnTo>
                  <a:pt x="924" y="18"/>
                </a:lnTo>
                <a:lnTo>
                  <a:pt x="930" y="12"/>
                </a:lnTo>
                <a:lnTo>
                  <a:pt x="936" y="12"/>
                </a:lnTo>
                <a:lnTo>
                  <a:pt x="936" y="6"/>
                </a:lnTo>
                <a:lnTo>
                  <a:pt x="942" y="6"/>
                </a:lnTo>
                <a:lnTo>
                  <a:pt x="942" y="12"/>
                </a:lnTo>
                <a:lnTo>
                  <a:pt x="948" y="12"/>
                </a:lnTo>
                <a:lnTo>
                  <a:pt x="954" y="12"/>
                </a:lnTo>
                <a:lnTo>
                  <a:pt x="960" y="12"/>
                </a:lnTo>
                <a:lnTo>
                  <a:pt x="960" y="18"/>
                </a:lnTo>
                <a:lnTo>
                  <a:pt x="966" y="18"/>
                </a:lnTo>
                <a:lnTo>
                  <a:pt x="960" y="18"/>
                </a:lnTo>
                <a:lnTo>
                  <a:pt x="954" y="18"/>
                </a:lnTo>
                <a:lnTo>
                  <a:pt x="954" y="24"/>
                </a:lnTo>
                <a:lnTo>
                  <a:pt x="948" y="24"/>
                </a:lnTo>
                <a:lnTo>
                  <a:pt x="954" y="24"/>
                </a:lnTo>
                <a:lnTo>
                  <a:pt x="954" y="30"/>
                </a:lnTo>
                <a:lnTo>
                  <a:pt x="948" y="30"/>
                </a:lnTo>
                <a:lnTo>
                  <a:pt x="948" y="36"/>
                </a:lnTo>
                <a:lnTo>
                  <a:pt x="942" y="36"/>
                </a:lnTo>
                <a:lnTo>
                  <a:pt x="936" y="36"/>
                </a:lnTo>
                <a:lnTo>
                  <a:pt x="936" y="42"/>
                </a:lnTo>
                <a:lnTo>
                  <a:pt x="942" y="42"/>
                </a:lnTo>
                <a:lnTo>
                  <a:pt x="948" y="42"/>
                </a:lnTo>
                <a:lnTo>
                  <a:pt x="948" y="48"/>
                </a:lnTo>
                <a:lnTo>
                  <a:pt x="948" y="54"/>
                </a:lnTo>
                <a:lnTo>
                  <a:pt x="942" y="54"/>
                </a:lnTo>
                <a:lnTo>
                  <a:pt x="948" y="60"/>
                </a:lnTo>
                <a:lnTo>
                  <a:pt x="942" y="60"/>
                </a:lnTo>
                <a:lnTo>
                  <a:pt x="942" y="66"/>
                </a:lnTo>
                <a:lnTo>
                  <a:pt x="948" y="66"/>
                </a:lnTo>
                <a:lnTo>
                  <a:pt x="942" y="66"/>
                </a:lnTo>
                <a:lnTo>
                  <a:pt x="942" y="72"/>
                </a:lnTo>
                <a:lnTo>
                  <a:pt x="942" y="78"/>
                </a:lnTo>
                <a:lnTo>
                  <a:pt x="942" y="84"/>
                </a:lnTo>
                <a:lnTo>
                  <a:pt x="942" y="90"/>
                </a:lnTo>
                <a:lnTo>
                  <a:pt x="942" y="96"/>
                </a:lnTo>
                <a:lnTo>
                  <a:pt x="948" y="96"/>
                </a:lnTo>
                <a:lnTo>
                  <a:pt x="948" y="102"/>
                </a:lnTo>
                <a:lnTo>
                  <a:pt x="948" y="108"/>
                </a:lnTo>
                <a:lnTo>
                  <a:pt x="948" y="114"/>
                </a:lnTo>
                <a:lnTo>
                  <a:pt x="942" y="114"/>
                </a:lnTo>
                <a:lnTo>
                  <a:pt x="942" y="120"/>
                </a:lnTo>
                <a:lnTo>
                  <a:pt x="942" y="126"/>
                </a:lnTo>
                <a:lnTo>
                  <a:pt x="948" y="126"/>
                </a:lnTo>
                <a:lnTo>
                  <a:pt x="954" y="126"/>
                </a:lnTo>
                <a:lnTo>
                  <a:pt x="948" y="126"/>
                </a:lnTo>
                <a:lnTo>
                  <a:pt x="948" y="132"/>
                </a:lnTo>
                <a:lnTo>
                  <a:pt x="948" y="138"/>
                </a:lnTo>
                <a:lnTo>
                  <a:pt x="942" y="138"/>
                </a:lnTo>
                <a:lnTo>
                  <a:pt x="942" y="144"/>
                </a:lnTo>
                <a:lnTo>
                  <a:pt x="942" y="150"/>
                </a:lnTo>
                <a:lnTo>
                  <a:pt x="942" y="156"/>
                </a:lnTo>
                <a:lnTo>
                  <a:pt x="942" y="162"/>
                </a:lnTo>
                <a:lnTo>
                  <a:pt x="942" y="168"/>
                </a:lnTo>
                <a:lnTo>
                  <a:pt x="936" y="168"/>
                </a:lnTo>
                <a:lnTo>
                  <a:pt x="936" y="174"/>
                </a:lnTo>
                <a:lnTo>
                  <a:pt x="930" y="174"/>
                </a:lnTo>
                <a:lnTo>
                  <a:pt x="930" y="180"/>
                </a:lnTo>
                <a:lnTo>
                  <a:pt x="924" y="180"/>
                </a:lnTo>
                <a:lnTo>
                  <a:pt x="918" y="186"/>
                </a:lnTo>
                <a:lnTo>
                  <a:pt x="918" y="192"/>
                </a:lnTo>
                <a:lnTo>
                  <a:pt x="912" y="192"/>
                </a:lnTo>
                <a:lnTo>
                  <a:pt x="912" y="198"/>
                </a:lnTo>
                <a:lnTo>
                  <a:pt x="906" y="198"/>
                </a:lnTo>
                <a:lnTo>
                  <a:pt x="906" y="204"/>
                </a:lnTo>
                <a:lnTo>
                  <a:pt x="900" y="204"/>
                </a:lnTo>
                <a:lnTo>
                  <a:pt x="900" y="210"/>
                </a:lnTo>
                <a:lnTo>
                  <a:pt x="900" y="216"/>
                </a:lnTo>
                <a:lnTo>
                  <a:pt x="900" y="222"/>
                </a:lnTo>
                <a:lnTo>
                  <a:pt x="900" y="228"/>
                </a:lnTo>
                <a:lnTo>
                  <a:pt x="906" y="234"/>
                </a:lnTo>
                <a:lnTo>
                  <a:pt x="906" y="240"/>
                </a:lnTo>
                <a:lnTo>
                  <a:pt x="906" y="246"/>
                </a:lnTo>
                <a:lnTo>
                  <a:pt x="912" y="252"/>
                </a:lnTo>
                <a:lnTo>
                  <a:pt x="912" y="258"/>
                </a:lnTo>
                <a:lnTo>
                  <a:pt x="918" y="264"/>
                </a:lnTo>
                <a:lnTo>
                  <a:pt x="924" y="270"/>
                </a:lnTo>
                <a:lnTo>
                  <a:pt x="930" y="270"/>
                </a:lnTo>
                <a:lnTo>
                  <a:pt x="936" y="276"/>
                </a:lnTo>
                <a:lnTo>
                  <a:pt x="942" y="288"/>
                </a:lnTo>
                <a:lnTo>
                  <a:pt x="942" y="294"/>
                </a:lnTo>
                <a:lnTo>
                  <a:pt x="942" y="300"/>
                </a:lnTo>
                <a:lnTo>
                  <a:pt x="948" y="312"/>
                </a:lnTo>
                <a:lnTo>
                  <a:pt x="954" y="312"/>
                </a:lnTo>
                <a:lnTo>
                  <a:pt x="960" y="318"/>
                </a:lnTo>
                <a:lnTo>
                  <a:pt x="966" y="324"/>
                </a:lnTo>
                <a:lnTo>
                  <a:pt x="972" y="330"/>
                </a:lnTo>
                <a:lnTo>
                  <a:pt x="978" y="330"/>
                </a:lnTo>
                <a:lnTo>
                  <a:pt x="978" y="336"/>
                </a:lnTo>
                <a:lnTo>
                  <a:pt x="984" y="336"/>
                </a:lnTo>
                <a:lnTo>
                  <a:pt x="990" y="342"/>
                </a:lnTo>
                <a:lnTo>
                  <a:pt x="990" y="354"/>
                </a:lnTo>
                <a:lnTo>
                  <a:pt x="990" y="360"/>
                </a:lnTo>
                <a:lnTo>
                  <a:pt x="990" y="366"/>
                </a:lnTo>
                <a:lnTo>
                  <a:pt x="996" y="372"/>
                </a:lnTo>
                <a:lnTo>
                  <a:pt x="996" y="378"/>
                </a:lnTo>
                <a:lnTo>
                  <a:pt x="996" y="384"/>
                </a:lnTo>
                <a:lnTo>
                  <a:pt x="996" y="390"/>
                </a:lnTo>
                <a:lnTo>
                  <a:pt x="996" y="396"/>
                </a:lnTo>
                <a:lnTo>
                  <a:pt x="1002" y="402"/>
                </a:lnTo>
                <a:lnTo>
                  <a:pt x="1002" y="408"/>
                </a:lnTo>
                <a:lnTo>
                  <a:pt x="1002" y="414"/>
                </a:lnTo>
                <a:lnTo>
                  <a:pt x="1008" y="420"/>
                </a:lnTo>
                <a:lnTo>
                  <a:pt x="1008" y="426"/>
                </a:lnTo>
                <a:lnTo>
                  <a:pt x="1008" y="432"/>
                </a:lnTo>
                <a:lnTo>
                  <a:pt x="1008" y="438"/>
                </a:lnTo>
                <a:lnTo>
                  <a:pt x="1008" y="444"/>
                </a:lnTo>
                <a:lnTo>
                  <a:pt x="1014" y="450"/>
                </a:lnTo>
                <a:lnTo>
                  <a:pt x="1014" y="456"/>
                </a:lnTo>
                <a:lnTo>
                  <a:pt x="1008" y="456"/>
                </a:lnTo>
                <a:lnTo>
                  <a:pt x="1008" y="462"/>
                </a:lnTo>
                <a:lnTo>
                  <a:pt x="1002" y="462"/>
                </a:lnTo>
                <a:lnTo>
                  <a:pt x="1002" y="468"/>
                </a:lnTo>
                <a:lnTo>
                  <a:pt x="1008" y="474"/>
                </a:lnTo>
                <a:lnTo>
                  <a:pt x="1014" y="480"/>
                </a:lnTo>
                <a:lnTo>
                  <a:pt x="1014" y="486"/>
                </a:lnTo>
                <a:lnTo>
                  <a:pt x="1014" y="492"/>
                </a:lnTo>
                <a:lnTo>
                  <a:pt x="1020" y="492"/>
                </a:lnTo>
                <a:lnTo>
                  <a:pt x="1020" y="498"/>
                </a:lnTo>
                <a:lnTo>
                  <a:pt x="1020" y="504"/>
                </a:lnTo>
                <a:lnTo>
                  <a:pt x="1026" y="504"/>
                </a:lnTo>
                <a:lnTo>
                  <a:pt x="1026" y="510"/>
                </a:lnTo>
                <a:lnTo>
                  <a:pt x="1026" y="522"/>
                </a:lnTo>
                <a:lnTo>
                  <a:pt x="1026" y="528"/>
                </a:lnTo>
                <a:lnTo>
                  <a:pt x="1032" y="528"/>
                </a:lnTo>
                <a:lnTo>
                  <a:pt x="1032" y="534"/>
                </a:lnTo>
                <a:lnTo>
                  <a:pt x="1032" y="540"/>
                </a:lnTo>
                <a:lnTo>
                  <a:pt x="1032" y="546"/>
                </a:lnTo>
                <a:lnTo>
                  <a:pt x="1032" y="552"/>
                </a:lnTo>
                <a:lnTo>
                  <a:pt x="1032" y="558"/>
                </a:lnTo>
                <a:lnTo>
                  <a:pt x="1032" y="564"/>
                </a:lnTo>
                <a:lnTo>
                  <a:pt x="1032" y="570"/>
                </a:lnTo>
                <a:lnTo>
                  <a:pt x="1026" y="576"/>
                </a:lnTo>
                <a:lnTo>
                  <a:pt x="1026" y="582"/>
                </a:lnTo>
                <a:lnTo>
                  <a:pt x="1032" y="594"/>
                </a:lnTo>
                <a:lnTo>
                  <a:pt x="1032" y="600"/>
                </a:lnTo>
                <a:lnTo>
                  <a:pt x="1032" y="606"/>
                </a:lnTo>
                <a:lnTo>
                  <a:pt x="1032" y="612"/>
                </a:lnTo>
                <a:lnTo>
                  <a:pt x="1032" y="618"/>
                </a:lnTo>
                <a:lnTo>
                  <a:pt x="1032" y="624"/>
                </a:lnTo>
                <a:lnTo>
                  <a:pt x="1026" y="624"/>
                </a:lnTo>
                <a:lnTo>
                  <a:pt x="1026" y="630"/>
                </a:lnTo>
                <a:lnTo>
                  <a:pt x="1032" y="630"/>
                </a:lnTo>
                <a:lnTo>
                  <a:pt x="1026" y="630"/>
                </a:lnTo>
                <a:lnTo>
                  <a:pt x="1026" y="636"/>
                </a:lnTo>
                <a:lnTo>
                  <a:pt x="1026" y="642"/>
                </a:lnTo>
                <a:lnTo>
                  <a:pt x="1026" y="648"/>
                </a:lnTo>
                <a:lnTo>
                  <a:pt x="1026" y="654"/>
                </a:lnTo>
                <a:lnTo>
                  <a:pt x="1026" y="660"/>
                </a:lnTo>
                <a:lnTo>
                  <a:pt x="1026" y="666"/>
                </a:lnTo>
                <a:lnTo>
                  <a:pt x="1032" y="666"/>
                </a:lnTo>
                <a:lnTo>
                  <a:pt x="1032" y="672"/>
                </a:lnTo>
                <a:lnTo>
                  <a:pt x="1032" y="678"/>
                </a:lnTo>
                <a:lnTo>
                  <a:pt x="1032" y="684"/>
                </a:lnTo>
                <a:lnTo>
                  <a:pt x="1032" y="690"/>
                </a:lnTo>
                <a:lnTo>
                  <a:pt x="1032" y="696"/>
                </a:lnTo>
                <a:lnTo>
                  <a:pt x="1026" y="696"/>
                </a:lnTo>
                <a:lnTo>
                  <a:pt x="1020" y="696"/>
                </a:lnTo>
                <a:lnTo>
                  <a:pt x="1014" y="702"/>
                </a:lnTo>
                <a:lnTo>
                  <a:pt x="1008" y="702"/>
                </a:lnTo>
                <a:lnTo>
                  <a:pt x="1008" y="708"/>
                </a:lnTo>
                <a:lnTo>
                  <a:pt x="1002" y="714"/>
                </a:lnTo>
                <a:lnTo>
                  <a:pt x="1008" y="720"/>
                </a:lnTo>
                <a:lnTo>
                  <a:pt x="1008" y="726"/>
                </a:lnTo>
                <a:lnTo>
                  <a:pt x="1014" y="726"/>
                </a:lnTo>
                <a:lnTo>
                  <a:pt x="1014" y="732"/>
                </a:lnTo>
                <a:lnTo>
                  <a:pt x="1020" y="738"/>
                </a:lnTo>
                <a:lnTo>
                  <a:pt x="1026" y="744"/>
                </a:lnTo>
                <a:lnTo>
                  <a:pt x="1026" y="750"/>
                </a:lnTo>
                <a:lnTo>
                  <a:pt x="1032" y="750"/>
                </a:lnTo>
                <a:lnTo>
                  <a:pt x="1032" y="756"/>
                </a:lnTo>
                <a:lnTo>
                  <a:pt x="1032" y="762"/>
                </a:lnTo>
                <a:lnTo>
                  <a:pt x="1038" y="762"/>
                </a:lnTo>
                <a:lnTo>
                  <a:pt x="1038" y="768"/>
                </a:lnTo>
                <a:lnTo>
                  <a:pt x="1038" y="774"/>
                </a:lnTo>
                <a:lnTo>
                  <a:pt x="1038" y="780"/>
                </a:lnTo>
                <a:lnTo>
                  <a:pt x="1038" y="786"/>
                </a:lnTo>
                <a:lnTo>
                  <a:pt x="1038" y="792"/>
                </a:lnTo>
                <a:lnTo>
                  <a:pt x="1038" y="798"/>
                </a:lnTo>
                <a:lnTo>
                  <a:pt x="1044" y="798"/>
                </a:lnTo>
                <a:lnTo>
                  <a:pt x="1050" y="798"/>
                </a:lnTo>
                <a:lnTo>
                  <a:pt x="1050" y="804"/>
                </a:lnTo>
                <a:lnTo>
                  <a:pt x="1050" y="810"/>
                </a:lnTo>
                <a:lnTo>
                  <a:pt x="1050" y="816"/>
                </a:lnTo>
                <a:lnTo>
                  <a:pt x="1056" y="816"/>
                </a:lnTo>
                <a:lnTo>
                  <a:pt x="1062" y="816"/>
                </a:lnTo>
                <a:lnTo>
                  <a:pt x="1068" y="816"/>
                </a:lnTo>
                <a:lnTo>
                  <a:pt x="1074" y="816"/>
                </a:lnTo>
                <a:lnTo>
                  <a:pt x="1080" y="816"/>
                </a:lnTo>
                <a:lnTo>
                  <a:pt x="1086" y="816"/>
                </a:lnTo>
                <a:lnTo>
                  <a:pt x="1092" y="822"/>
                </a:lnTo>
                <a:lnTo>
                  <a:pt x="1098" y="822"/>
                </a:lnTo>
                <a:lnTo>
                  <a:pt x="1104" y="828"/>
                </a:lnTo>
                <a:lnTo>
                  <a:pt x="1110" y="834"/>
                </a:lnTo>
                <a:lnTo>
                  <a:pt x="1116" y="834"/>
                </a:lnTo>
                <a:lnTo>
                  <a:pt x="1122" y="834"/>
                </a:lnTo>
                <a:lnTo>
                  <a:pt x="1128" y="834"/>
                </a:lnTo>
                <a:lnTo>
                  <a:pt x="1128" y="840"/>
                </a:lnTo>
                <a:lnTo>
                  <a:pt x="1134" y="846"/>
                </a:lnTo>
                <a:lnTo>
                  <a:pt x="1134" y="852"/>
                </a:lnTo>
                <a:lnTo>
                  <a:pt x="1134" y="858"/>
                </a:lnTo>
                <a:lnTo>
                  <a:pt x="1140" y="858"/>
                </a:lnTo>
                <a:lnTo>
                  <a:pt x="1140" y="864"/>
                </a:lnTo>
                <a:lnTo>
                  <a:pt x="1140" y="870"/>
                </a:lnTo>
                <a:lnTo>
                  <a:pt x="1146" y="870"/>
                </a:lnTo>
                <a:lnTo>
                  <a:pt x="1146" y="876"/>
                </a:lnTo>
                <a:lnTo>
                  <a:pt x="1146" y="882"/>
                </a:lnTo>
                <a:lnTo>
                  <a:pt x="1140" y="882"/>
                </a:lnTo>
                <a:lnTo>
                  <a:pt x="1134" y="882"/>
                </a:lnTo>
                <a:lnTo>
                  <a:pt x="1134" y="888"/>
                </a:lnTo>
                <a:lnTo>
                  <a:pt x="1128" y="888"/>
                </a:lnTo>
                <a:lnTo>
                  <a:pt x="1122" y="894"/>
                </a:lnTo>
                <a:lnTo>
                  <a:pt x="1116" y="894"/>
                </a:lnTo>
                <a:lnTo>
                  <a:pt x="1116" y="900"/>
                </a:lnTo>
                <a:lnTo>
                  <a:pt x="1110" y="900"/>
                </a:lnTo>
                <a:lnTo>
                  <a:pt x="1104" y="906"/>
                </a:lnTo>
                <a:lnTo>
                  <a:pt x="1098" y="906"/>
                </a:lnTo>
                <a:lnTo>
                  <a:pt x="1098" y="912"/>
                </a:lnTo>
                <a:lnTo>
                  <a:pt x="1092" y="912"/>
                </a:lnTo>
                <a:lnTo>
                  <a:pt x="1086" y="912"/>
                </a:lnTo>
                <a:lnTo>
                  <a:pt x="1080" y="918"/>
                </a:lnTo>
                <a:lnTo>
                  <a:pt x="1080" y="924"/>
                </a:lnTo>
                <a:lnTo>
                  <a:pt x="1074" y="924"/>
                </a:lnTo>
                <a:lnTo>
                  <a:pt x="1068" y="924"/>
                </a:lnTo>
                <a:lnTo>
                  <a:pt x="1068" y="930"/>
                </a:lnTo>
                <a:lnTo>
                  <a:pt x="1062" y="930"/>
                </a:lnTo>
                <a:lnTo>
                  <a:pt x="1056" y="936"/>
                </a:lnTo>
                <a:lnTo>
                  <a:pt x="1050" y="936"/>
                </a:lnTo>
                <a:lnTo>
                  <a:pt x="1050" y="942"/>
                </a:lnTo>
                <a:lnTo>
                  <a:pt x="1044" y="942"/>
                </a:lnTo>
                <a:lnTo>
                  <a:pt x="1038" y="948"/>
                </a:lnTo>
                <a:lnTo>
                  <a:pt x="1032" y="948"/>
                </a:lnTo>
                <a:lnTo>
                  <a:pt x="1032" y="954"/>
                </a:lnTo>
                <a:lnTo>
                  <a:pt x="1026" y="954"/>
                </a:lnTo>
                <a:lnTo>
                  <a:pt x="1020" y="954"/>
                </a:lnTo>
                <a:lnTo>
                  <a:pt x="1020" y="960"/>
                </a:lnTo>
                <a:lnTo>
                  <a:pt x="1014" y="960"/>
                </a:lnTo>
                <a:lnTo>
                  <a:pt x="1008" y="966"/>
                </a:lnTo>
                <a:lnTo>
                  <a:pt x="1002" y="966"/>
                </a:lnTo>
                <a:lnTo>
                  <a:pt x="1002" y="972"/>
                </a:lnTo>
                <a:lnTo>
                  <a:pt x="996" y="972"/>
                </a:lnTo>
                <a:lnTo>
                  <a:pt x="990" y="978"/>
                </a:lnTo>
                <a:lnTo>
                  <a:pt x="984" y="978"/>
                </a:lnTo>
                <a:lnTo>
                  <a:pt x="984" y="984"/>
                </a:lnTo>
                <a:lnTo>
                  <a:pt x="978" y="984"/>
                </a:lnTo>
                <a:lnTo>
                  <a:pt x="972" y="990"/>
                </a:lnTo>
                <a:lnTo>
                  <a:pt x="966" y="990"/>
                </a:lnTo>
                <a:lnTo>
                  <a:pt x="966" y="996"/>
                </a:lnTo>
                <a:lnTo>
                  <a:pt x="960" y="996"/>
                </a:lnTo>
                <a:lnTo>
                  <a:pt x="954" y="996"/>
                </a:lnTo>
                <a:lnTo>
                  <a:pt x="954" y="1002"/>
                </a:lnTo>
                <a:lnTo>
                  <a:pt x="948" y="1002"/>
                </a:lnTo>
                <a:lnTo>
                  <a:pt x="948" y="1008"/>
                </a:lnTo>
                <a:lnTo>
                  <a:pt x="942" y="1008"/>
                </a:lnTo>
                <a:lnTo>
                  <a:pt x="936" y="1014"/>
                </a:lnTo>
                <a:lnTo>
                  <a:pt x="930" y="1014"/>
                </a:lnTo>
                <a:lnTo>
                  <a:pt x="930" y="1020"/>
                </a:lnTo>
                <a:lnTo>
                  <a:pt x="924" y="1020"/>
                </a:lnTo>
                <a:lnTo>
                  <a:pt x="918" y="1020"/>
                </a:lnTo>
                <a:lnTo>
                  <a:pt x="918" y="1026"/>
                </a:lnTo>
                <a:lnTo>
                  <a:pt x="912" y="1026"/>
                </a:lnTo>
                <a:lnTo>
                  <a:pt x="912" y="1032"/>
                </a:lnTo>
                <a:lnTo>
                  <a:pt x="906" y="1032"/>
                </a:lnTo>
                <a:lnTo>
                  <a:pt x="900" y="1032"/>
                </a:lnTo>
                <a:lnTo>
                  <a:pt x="900" y="1038"/>
                </a:lnTo>
                <a:lnTo>
                  <a:pt x="894" y="1038"/>
                </a:lnTo>
                <a:lnTo>
                  <a:pt x="888" y="1044"/>
                </a:lnTo>
                <a:lnTo>
                  <a:pt x="882" y="1050"/>
                </a:lnTo>
                <a:lnTo>
                  <a:pt x="876" y="1050"/>
                </a:lnTo>
                <a:lnTo>
                  <a:pt x="876" y="1056"/>
                </a:lnTo>
                <a:lnTo>
                  <a:pt x="870" y="1062"/>
                </a:lnTo>
                <a:lnTo>
                  <a:pt x="864" y="1062"/>
                </a:lnTo>
                <a:lnTo>
                  <a:pt x="864" y="1068"/>
                </a:lnTo>
                <a:lnTo>
                  <a:pt x="858" y="1068"/>
                </a:lnTo>
                <a:lnTo>
                  <a:pt x="858" y="1074"/>
                </a:lnTo>
                <a:lnTo>
                  <a:pt x="852" y="1074"/>
                </a:lnTo>
                <a:lnTo>
                  <a:pt x="852" y="1080"/>
                </a:lnTo>
                <a:lnTo>
                  <a:pt x="846" y="1080"/>
                </a:lnTo>
                <a:lnTo>
                  <a:pt x="846" y="1086"/>
                </a:lnTo>
                <a:lnTo>
                  <a:pt x="840" y="1086"/>
                </a:lnTo>
                <a:lnTo>
                  <a:pt x="834" y="1092"/>
                </a:lnTo>
                <a:lnTo>
                  <a:pt x="828" y="1098"/>
                </a:lnTo>
                <a:lnTo>
                  <a:pt x="828" y="1104"/>
                </a:lnTo>
                <a:lnTo>
                  <a:pt x="822" y="1104"/>
                </a:lnTo>
                <a:lnTo>
                  <a:pt x="816" y="1110"/>
                </a:lnTo>
                <a:lnTo>
                  <a:pt x="810" y="1116"/>
                </a:lnTo>
                <a:lnTo>
                  <a:pt x="804" y="1122"/>
                </a:lnTo>
                <a:lnTo>
                  <a:pt x="798" y="1122"/>
                </a:lnTo>
                <a:lnTo>
                  <a:pt x="792" y="1128"/>
                </a:lnTo>
                <a:lnTo>
                  <a:pt x="786" y="1128"/>
                </a:lnTo>
                <a:lnTo>
                  <a:pt x="780" y="1128"/>
                </a:lnTo>
                <a:lnTo>
                  <a:pt x="774" y="1128"/>
                </a:lnTo>
                <a:lnTo>
                  <a:pt x="768" y="1128"/>
                </a:lnTo>
                <a:lnTo>
                  <a:pt x="762" y="1128"/>
                </a:lnTo>
                <a:lnTo>
                  <a:pt x="756" y="1134"/>
                </a:lnTo>
                <a:lnTo>
                  <a:pt x="750" y="1134"/>
                </a:lnTo>
                <a:lnTo>
                  <a:pt x="744" y="1134"/>
                </a:lnTo>
                <a:lnTo>
                  <a:pt x="738" y="1134"/>
                </a:lnTo>
                <a:lnTo>
                  <a:pt x="732" y="1134"/>
                </a:lnTo>
                <a:lnTo>
                  <a:pt x="726" y="1140"/>
                </a:lnTo>
                <a:lnTo>
                  <a:pt x="720" y="1140"/>
                </a:lnTo>
                <a:lnTo>
                  <a:pt x="714" y="1140"/>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7" name="Freeform 38">
            <a:extLst>
              <a:ext uri="{FF2B5EF4-FFF2-40B4-BE49-F238E27FC236}">
                <a16:creationId xmlns:a16="http://schemas.microsoft.com/office/drawing/2014/main" id="{2509EF13-CCB7-F841-B3F8-E32039303FCA}"/>
              </a:ext>
            </a:extLst>
          </p:cNvPr>
          <p:cNvSpPr>
            <a:spLocks noEditPoints="1"/>
          </p:cNvSpPr>
          <p:nvPr>
            <p:custDataLst>
              <p:tags r:id="rId35"/>
            </p:custDataLst>
          </p:nvPr>
        </p:nvSpPr>
        <p:spPr bwMode="gray">
          <a:xfrm>
            <a:off x="4033201" y="2604110"/>
            <a:ext cx="262104" cy="408617"/>
          </a:xfrm>
          <a:custGeom>
            <a:avLst/>
            <a:gdLst>
              <a:gd name="T0" fmla="*/ 30002 w 228"/>
              <a:gd name="T1" fmla="*/ 6779 h 474"/>
              <a:gd name="T2" fmla="*/ 37744 w 228"/>
              <a:gd name="T3" fmla="*/ 1937 h 474"/>
              <a:gd name="T4" fmla="*/ 44519 w 228"/>
              <a:gd name="T5" fmla="*/ 1937 h 474"/>
              <a:gd name="T6" fmla="*/ 46454 w 228"/>
              <a:gd name="T7" fmla="*/ 3874 h 474"/>
              <a:gd name="T8" fmla="*/ 53229 w 228"/>
              <a:gd name="T9" fmla="*/ 1937 h 474"/>
              <a:gd name="T10" fmla="*/ 53229 w 228"/>
              <a:gd name="T11" fmla="*/ 6779 h 474"/>
              <a:gd name="T12" fmla="*/ 55164 w 228"/>
              <a:gd name="T13" fmla="*/ 12590 h 474"/>
              <a:gd name="T14" fmla="*/ 60003 w 228"/>
              <a:gd name="T15" fmla="*/ 10653 h 474"/>
              <a:gd name="T16" fmla="*/ 70649 w 228"/>
              <a:gd name="T17" fmla="*/ 6779 h 474"/>
              <a:gd name="T18" fmla="*/ 67745 w 228"/>
              <a:gd name="T19" fmla="*/ 17432 h 474"/>
              <a:gd name="T20" fmla="*/ 61939 w 228"/>
              <a:gd name="T21" fmla="*/ 23243 h 474"/>
              <a:gd name="T22" fmla="*/ 57100 w 228"/>
              <a:gd name="T23" fmla="*/ 31959 h 474"/>
              <a:gd name="T24" fmla="*/ 63875 w 228"/>
              <a:gd name="T25" fmla="*/ 37770 h 474"/>
              <a:gd name="T26" fmla="*/ 65810 w 228"/>
              <a:gd name="T27" fmla="*/ 40675 h 474"/>
              <a:gd name="T28" fmla="*/ 70649 w 228"/>
              <a:gd name="T29" fmla="*/ 44549 h 474"/>
              <a:gd name="T30" fmla="*/ 71617 w 228"/>
              <a:gd name="T31" fmla="*/ 51329 h 474"/>
              <a:gd name="T32" fmla="*/ 65810 w 228"/>
              <a:gd name="T33" fmla="*/ 60045 h 474"/>
              <a:gd name="T34" fmla="*/ 60003 w 228"/>
              <a:gd name="T35" fmla="*/ 67792 h 474"/>
              <a:gd name="T36" fmla="*/ 51293 w 228"/>
              <a:gd name="T37" fmla="*/ 72634 h 474"/>
              <a:gd name="T38" fmla="*/ 51293 w 228"/>
              <a:gd name="T39" fmla="*/ 83287 h 474"/>
              <a:gd name="T40" fmla="*/ 55164 w 228"/>
              <a:gd name="T41" fmla="*/ 87161 h 474"/>
              <a:gd name="T42" fmla="*/ 63875 w 228"/>
              <a:gd name="T43" fmla="*/ 87161 h 474"/>
              <a:gd name="T44" fmla="*/ 65810 w 228"/>
              <a:gd name="T45" fmla="*/ 93940 h 474"/>
              <a:gd name="T46" fmla="*/ 70649 w 228"/>
              <a:gd name="T47" fmla="*/ 90066 h 474"/>
              <a:gd name="T48" fmla="*/ 74520 w 228"/>
              <a:gd name="T49" fmla="*/ 97814 h 474"/>
              <a:gd name="T50" fmla="*/ 76456 w 228"/>
              <a:gd name="T51" fmla="*/ 100720 h 474"/>
              <a:gd name="T52" fmla="*/ 78392 w 228"/>
              <a:gd name="T53" fmla="*/ 104593 h 474"/>
              <a:gd name="T54" fmla="*/ 81295 w 228"/>
              <a:gd name="T55" fmla="*/ 115246 h 474"/>
              <a:gd name="T56" fmla="*/ 74520 w 228"/>
              <a:gd name="T57" fmla="*/ 121057 h 474"/>
              <a:gd name="T58" fmla="*/ 63875 w 228"/>
              <a:gd name="T59" fmla="*/ 127837 h 474"/>
              <a:gd name="T60" fmla="*/ 57100 w 228"/>
              <a:gd name="T61" fmla="*/ 134615 h 474"/>
              <a:gd name="T62" fmla="*/ 51293 w 228"/>
              <a:gd name="T63" fmla="*/ 140426 h 474"/>
              <a:gd name="T64" fmla="*/ 53229 w 228"/>
              <a:gd name="T65" fmla="*/ 149142 h 474"/>
              <a:gd name="T66" fmla="*/ 53229 w 228"/>
              <a:gd name="T67" fmla="*/ 157858 h 474"/>
              <a:gd name="T68" fmla="*/ 46454 w 228"/>
              <a:gd name="T69" fmla="*/ 165606 h 474"/>
              <a:gd name="T70" fmla="*/ 37744 w 228"/>
              <a:gd name="T71" fmla="*/ 161732 h 474"/>
              <a:gd name="T72" fmla="*/ 36777 w 228"/>
              <a:gd name="T73" fmla="*/ 149142 h 474"/>
              <a:gd name="T74" fmla="*/ 31937 w 228"/>
              <a:gd name="T75" fmla="*/ 136553 h 474"/>
              <a:gd name="T76" fmla="*/ 27098 w 228"/>
              <a:gd name="T77" fmla="*/ 123962 h 474"/>
              <a:gd name="T78" fmla="*/ 14517 w 228"/>
              <a:gd name="T79" fmla="*/ 113309 h 474"/>
              <a:gd name="T80" fmla="*/ 6775 w 228"/>
              <a:gd name="T81" fmla="*/ 100720 h 474"/>
              <a:gd name="T82" fmla="*/ 0 w 228"/>
              <a:gd name="T83" fmla="*/ 87161 h 474"/>
              <a:gd name="T84" fmla="*/ 1935 w 228"/>
              <a:gd name="T85" fmla="*/ 76508 h 474"/>
              <a:gd name="T86" fmla="*/ 10646 w 228"/>
              <a:gd name="T87" fmla="*/ 70697 h 474"/>
              <a:gd name="T88" fmla="*/ 14517 w 228"/>
              <a:gd name="T89" fmla="*/ 61981 h 474"/>
              <a:gd name="T90" fmla="*/ 17421 w 228"/>
              <a:gd name="T91" fmla="*/ 51329 h 474"/>
              <a:gd name="T92" fmla="*/ 17421 w 228"/>
              <a:gd name="T93" fmla="*/ 46486 h 474"/>
              <a:gd name="T94" fmla="*/ 14517 w 228"/>
              <a:gd name="T95" fmla="*/ 36801 h 474"/>
              <a:gd name="T96" fmla="*/ 14517 w 228"/>
              <a:gd name="T97" fmla="*/ 27117 h 474"/>
              <a:gd name="T98" fmla="*/ 14517 w 228"/>
              <a:gd name="T99" fmla="*/ 21306 h 474"/>
              <a:gd name="T100" fmla="*/ 19356 w 228"/>
              <a:gd name="T101" fmla="*/ 17432 h 474"/>
              <a:gd name="T102" fmla="*/ 23227 w 228"/>
              <a:gd name="T103" fmla="*/ 12590 h 474"/>
              <a:gd name="T104" fmla="*/ 65810 w 228"/>
              <a:gd name="T105" fmla="*/ 83287 h 474"/>
              <a:gd name="T106" fmla="*/ 67745 w 228"/>
              <a:gd name="T107" fmla="*/ 87161 h 474"/>
              <a:gd name="T108" fmla="*/ 70649 w 228"/>
              <a:gd name="T109" fmla="*/ 61981 h 474"/>
              <a:gd name="T110" fmla="*/ 70649 w 228"/>
              <a:gd name="T111" fmla="*/ 63918 h 4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28" h="474">
                <a:moveTo>
                  <a:pt x="60" y="30"/>
                </a:moveTo>
                <a:lnTo>
                  <a:pt x="66" y="24"/>
                </a:lnTo>
                <a:lnTo>
                  <a:pt x="72" y="24"/>
                </a:lnTo>
                <a:lnTo>
                  <a:pt x="78" y="24"/>
                </a:lnTo>
                <a:lnTo>
                  <a:pt x="78" y="18"/>
                </a:lnTo>
                <a:lnTo>
                  <a:pt x="84" y="18"/>
                </a:lnTo>
                <a:lnTo>
                  <a:pt x="84" y="12"/>
                </a:lnTo>
                <a:lnTo>
                  <a:pt x="90" y="12"/>
                </a:lnTo>
                <a:lnTo>
                  <a:pt x="90" y="6"/>
                </a:lnTo>
                <a:lnTo>
                  <a:pt x="96" y="6"/>
                </a:lnTo>
                <a:lnTo>
                  <a:pt x="102" y="6"/>
                </a:lnTo>
                <a:lnTo>
                  <a:pt x="108" y="6"/>
                </a:lnTo>
                <a:lnTo>
                  <a:pt x="114" y="0"/>
                </a:lnTo>
                <a:lnTo>
                  <a:pt x="120" y="0"/>
                </a:lnTo>
                <a:lnTo>
                  <a:pt x="126" y="0"/>
                </a:lnTo>
                <a:lnTo>
                  <a:pt x="132" y="0"/>
                </a:lnTo>
                <a:lnTo>
                  <a:pt x="132" y="6"/>
                </a:lnTo>
                <a:lnTo>
                  <a:pt x="126" y="6"/>
                </a:lnTo>
                <a:lnTo>
                  <a:pt x="132" y="6"/>
                </a:lnTo>
                <a:lnTo>
                  <a:pt x="126" y="6"/>
                </a:lnTo>
                <a:lnTo>
                  <a:pt x="126" y="12"/>
                </a:lnTo>
                <a:lnTo>
                  <a:pt x="126" y="6"/>
                </a:lnTo>
                <a:lnTo>
                  <a:pt x="126" y="12"/>
                </a:lnTo>
                <a:lnTo>
                  <a:pt x="132" y="12"/>
                </a:lnTo>
                <a:lnTo>
                  <a:pt x="132" y="6"/>
                </a:lnTo>
                <a:lnTo>
                  <a:pt x="126" y="6"/>
                </a:lnTo>
                <a:lnTo>
                  <a:pt x="132" y="6"/>
                </a:lnTo>
                <a:lnTo>
                  <a:pt x="138" y="6"/>
                </a:lnTo>
                <a:lnTo>
                  <a:pt x="144" y="6"/>
                </a:lnTo>
                <a:lnTo>
                  <a:pt x="150" y="6"/>
                </a:lnTo>
                <a:lnTo>
                  <a:pt x="150" y="12"/>
                </a:lnTo>
                <a:lnTo>
                  <a:pt x="144" y="12"/>
                </a:lnTo>
                <a:lnTo>
                  <a:pt x="150" y="12"/>
                </a:lnTo>
                <a:lnTo>
                  <a:pt x="150" y="18"/>
                </a:lnTo>
                <a:lnTo>
                  <a:pt x="150" y="12"/>
                </a:lnTo>
                <a:lnTo>
                  <a:pt x="150" y="18"/>
                </a:lnTo>
                <a:lnTo>
                  <a:pt x="144" y="18"/>
                </a:lnTo>
                <a:lnTo>
                  <a:pt x="150" y="18"/>
                </a:lnTo>
                <a:lnTo>
                  <a:pt x="150" y="24"/>
                </a:lnTo>
                <a:lnTo>
                  <a:pt x="150" y="30"/>
                </a:lnTo>
                <a:lnTo>
                  <a:pt x="156" y="30"/>
                </a:lnTo>
                <a:lnTo>
                  <a:pt x="156" y="36"/>
                </a:lnTo>
                <a:lnTo>
                  <a:pt x="150" y="36"/>
                </a:lnTo>
                <a:lnTo>
                  <a:pt x="156" y="42"/>
                </a:lnTo>
                <a:lnTo>
                  <a:pt x="162" y="42"/>
                </a:lnTo>
                <a:lnTo>
                  <a:pt x="168" y="42"/>
                </a:lnTo>
                <a:lnTo>
                  <a:pt x="168" y="36"/>
                </a:lnTo>
                <a:lnTo>
                  <a:pt x="168" y="30"/>
                </a:lnTo>
                <a:lnTo>
                  <a:pt x="174" y="30"/>
                </a:lnTo>
                <a:lnTo>
                  <a:pt x="180" y="30"/>
                </a:lnTo>
                <a:lnTo>
                  <a:pt x="186" y="24"/>
                </a:lnTo>
                <a:lnTo>
                  <a:pt x="186" y="18"/>
                </a:lnTo>
                <a:lnTo>
                  <a:pt x="192" y="18"/>
                </a:lnTo>
                <a:lnTo>
                  <a:pt x="198" y="18"/>
                </a:lnTo>
                <a:lnTo>
                  <a:pt x="198" y="24"/>
                </a:lnTo>
                <a:lnTo>
                  <a:pt x="198" y="30"/>
                </a:lnTo>
                <a:lnTo>
                  <a:pt x="198" y="36"/>
                </a:lnTo>
                <a:lnTo>
                  <a:pt x="192" y="36"/>
                </a:lnTo>
                <a:lnTo>
                  <a:pt x="192" y="42"/>
                </a:lnTo>
                <a:lnTo>
                  <a:pt x="192" y="48"/>
                </a:lnTo>
                <a:lnTo>
                  <a:pt x="186" y="48"/>
                </a:lnTo>
                <a:lnTo>
                  <a:pt x="186" y="54"/>
                </a:lnTo>
                <a:lnTo>
                  <a:pt x="186" y="60"/>
                </a:lnTo>
                <a:lnTo>
                  <a:pt x="180" y="60"/>
                </a:lnTo>
                <a:lnTo>
                  <a:pt x="174" y="60"/>
                </a:lnTo>
                <a:lnTo>
                  <a:pt x="174" y="66"/>
                </a:lnTo>
                <a:lnTo>
                  <a:pt x="168" y="66"/>
                </a:lnTo>
                <a:lnTo>
                  <a:pt x="168" y="72"/>
                </a:lnTo>
                <a:lnTo>
                  <a:pt x="162" y="72"/>
                </a:lnTo>
                <a:lnTo>
                  <a:pt x="162" y="78"/>
                </a:lnTo>
                <a:lnTo>
                  <a:pt x="162" y="84"/>
                </a:lnTo>
                <a:lnTo>
                  <a:pt x="162" y="90"/>
                </a:lnTo>
                <a:lnTo>
                  <a:pt x="168" y="90"/>
                </a:lnTo>
                <a:lnTo>
                  <a:pt x="168" y="96"/>
                </a:lnTo>
                <a:lnTo>
                  <a:pt x="168" y="102"/>
                </a:lnTo>
                <a:lnTo>
                  <a:pt x="174" y="102"/>
                </a:lnTo>
                <a:lnTo>
                  <a:pt x="174" y="108"/>
                </a:lnTo>
                <a:lnTo>
                  <a:pt x="180" y="108"/>
                </a:lnTo>
                <a:lnTo>
                  <a:pt x="186" y="108"/>
                </a:lnTo>
                <a:lnTo>
                  <a:pt x="186" y="114"/>
                </a:lnTo>
                <a:lnTo>
                  <a:pt x="186" y="108"/>
                </a:lnTo>
                <a:lnTo>
                  <a:pt x="180" y="108"/>
                </a:lnTo>
                <a:lnTo>
                  <a:pt x="180" y="114"/>
                </a:lnTo>
                <a:lnTo>
                  <a:pt x="186" y="114"/>
                </a:lnTo>
                <a:lnTo>
                  <a:pt x="192" y="114"/>
                </a:lnTo>
                <a:lnTo>
                  <a:pt x="192" y="120"/>
                </a:lnTo>
                <a:lnTo>
                  <a:pt x="198" y="120"/>
                </a:lnTo>
                <a:lnTo>
                  <a:pt x="192" y="120"/>
                </a:lnTo>
                <a:lnTo>
                  <a:pt x="192" y="126"/>
                </a:lnTo>
                <a:lnTo>
                  <a:pt x="198" y="126"/>
                </a:lnTo>
                <a:lnTo>
                  <a:pt x="198" y="132"/>
                </a:lnTo>
                <a:lnTo>
                  <a:pt x="192" y="132"/>
                </a:lnTo>
                <a:lnTo>
                  <a:pt x="192" y="138"/>
                </a:lnTo>
                <a:lnTo>
                  <a:pt x="198" y="138"/>
                </a:lnTo>
                <a:lnTo>
                  <a:pt x="198" y="144"/>
                </a:lnTo>
                <a:lnTo>
                  <a:pt x="204" y="144"/>
                </a:lnTo>
                <a:lnTo>
                  <a:pt x="198" y="144"/>
                </a:lnTo>
                <a:lnTo>
                  <a:pt x="198" y="150"/>
                </a:lnTo>
                <a:lnTo>
                  <a:pt x="192" y="156"/>
                </a:lnTo>
                <a:lnTo>
                  <a:pt x="192" y="162"/>
                </a:lnTo>
                <a:lnTo>
                  <a:pt x="186" y="162"/>
                </a:lnTo>
                <a:lnTo>
                  <a:pt x="186" y="168"/>
                </a:lnTo>
                <a:lnTo>
                  <a:pt x="186" y="174"/>
                </a:lnTo>
                <a:lnTo>
                  <a:pt x="180" y="174"/>
                </a:lnTo>
                <a:lnTo>
                  <a:pt x="180" y="180"/>
                </a:lnTo>
                <a:lnTo>
                  <a:pt x="180" y="186"/>
                </a:lnTo>
                <a:lnTo>
                  <a:pt x="174" y="186"/>
                </a:lnTo>
                <a:lnTo>
                  <a:pt x="168" y="192"/>
                </a:lnTo>
                <a:lnTo>
                  <a:pt x="162" y="192"/>
                </a:lnTo>
                <a:lnTo>
                  <a:pt x="162" y="198"/>
                </a:lnTo>
                <a:lnTo>
                  <a:pt x="156" y="198"/>
                </a:lnTo>
                <a:lnTo>
                  <a:pt x="156" y="204"/>
                </a:lnTo>
                <a:lnTo>
                  <a:pt x="150" y="204"/>
                </a:lnTo>
                <a:lnTo>
                  <a:pt x="144" y="204"/>
                </a:lnTo>
                <a:lnTo>
                  <a:pt x="144" y="210"/>
                </a:lnTo>
                <a:lnTo>
                  <a:pt x="138" y="210"/>
                </a:lnTo>
                <a:lnTo>
                  <a:pt x="138" y="216"/>
                </a:lnTo>
                <a:lnTo>
                  <a:pt x="138" y="222"/>
                </a:lnTo>
                <a:lnTo>
                  <a:pt x="138" y="228"/>
                </a:lnTo>
                <a:lnTo>
                  <a:pt x="144" y="234"/>
                </a:lnTo>
                <a:lnTo>
                  <a:pt x="144" y="240"/>
                </a:lnTo>
                <a:lnTo>
                  <a:pt x="150" y="240"/>
                </a:lnTo>
                <a:lnTo>
                  <a:pt x="150" y="246"/>
                </a:lnTo>
                <a:lnTo>
                  <a:pt x="156" y="246"/>
                </a:lnTo>
                <a:lnTo>
                  <a:pt x="150" y="246"/>
                </a:lnTo>
                <a:lnTo>
                  <a:pt x="156" y="246"/>
                </a:lnTo>
                <a:lnTo>
                  <a:pt x="156" y="252"/>
                </a:lnTo>
                <a:lnTo>
                  <a:pt x="162" y="252"/>
                </a:lnTo>
                <a:lnTo>
                  <a:pt x="168" y="252"/>
                </a:lnTo>
                <a:lnTo>
                  <a:pt x="174" y="252"/>
                </a:lnTo>
                <a:lnTo>
                  <a:pt x="174" y="246"/>
                </a:lnTo>
                <a:lnTo>
                  <a:pt x="180" y="246"/>
                </a:lnTo>
                <a:lnTo>
                  <a:pt x="180" y="252"/>
                </a:lnTo>
                <a:lnTo>
                  <a:pt x="180" y="258"/>
                </a:lnTo>
                <a:lnTo>
                  <a:pt x="174" y="258"/>
                </a:lnTo>
                <a:lnTo>
                  <a:pt x="174" y="264"/>
                </a:lnTo>
                <a:lnTo>
                  <a:pt x="180" y="264"/>
                </a:lnTo>
                <a:lnTo>
                  <a:pt x="186" y="264"/>
                </a:lnTo>
                <a:lnTo>
                  <a:pt x="186" y="258"/>
                </a:lnTo>
                <a:lnTo>
                  <a:pt x="192" y="258"/>
                </a:lnTo>
                <a:lnTo>
                  <a:pt x="186" y="258"/>
                </a:lnTo>
                <a:lnTo>
                  <a:pt x="186" y="252"/>
                </a:lnTo>
                <a:lnTo>
                  <a:pt x="192" y="252"/>
                </a:lnTo>
                <a:lnTo>
                  <a:pt x="198" y="252"/>
                </a:lnTo>
                <a:lnTo>
                  <a:pt x="198" y="258"/>
                </a:lnTo>
                <a:lnTo>
                  <a:pt x="198" y="264"/>
                </a:lnTo>
                <a:lnTo>
                  <a:pt x="198" y="270"/>
                </a:lnTo>
                <a:lnTo>
                  <a:pt x="204" y="270"/>
                </a:lnTo>
                <a:lnTo>
                  <a:pt x="204" y="276"/>
                </a:lnTo>
                <a:lnTo>
                  <a:pt x="210" y="276"/>
                </a:lnTo>
                <a:lnTo>
                  <a:pt x="204" y="276"/>
                </a:lnTo>
                <a:lnTo>
                  <a:pt x="198" y="276"/>
                </a:lnTo>
                <a:lnTo>
                  <a:pt x="204" y="276"/>
                </a:lnTo>
                <a:lnTo>
                  <a:pt x="204" y="282"/>
                </a:lnTo>
                <a:lnTo>
                  <a:pt x="210" y="282"/>
                </a:lnTo>
                <a:lnTo>
                  <a:pt x="216" y="282"/>
                </a:lnTo>
                <a:lnTo>
                  <a:pt x="210" y="276"/>
                </a:lnTo>
                <a:lnTo>
                  <a:pt x="216" y="276"/>
                </a:lnTo>
                <a:lnTo>
                  <a:pt x="216" y="282"/>
                </a:lnTo>
                <a:lnTo>
                  <a:pt x="222" y="282"/>
                </a:lnTo>
                <a:lnTo>
                  <a:pt x="222" y="288"/>
                </a:lnTo>
                <a:lnTo>
                  <a:pt x="222" y="294"/>
                </a:lnTo>
                <a:lnTo>
                  <a:pt x="222" y="300"/>
                </a:lnTo>
                <a:lnTo>
                  <a:pt x="222" y="306"/>
                </a:lnTo>
                <a:lnTo>
                  <a:pt x="222" y="312"/>
                </a:lnTo>
                <a:lnTo>
                  <a:pt x="222" y="318"/>
                </a:lnTo>
                <a:lnTo>
                  <a:pt x="222" y="324"/>
                </a:lnTo>
                <a:lnTo>
                  <a:pt x="228" y="324"/>
                </a:lnTo>
                <a:lnTo>
                  <a:pt x="228" y="330"/>
                </a:lnTo>
                <a:lnTo>
                  <a:pt x="222" y="330"/>
                </a:lnTo>
                <a:lnTo>
                  <a:pt x="222" y="336"/>
                </a:lnTo>
                <a:lnTo>
                  <a:pt x="216" y="336"/>
                </a:lnTo>
                <a:lnTo>
                  <a:pt x="216" y="342"/>
                </a:lnTo>
                <a:lnTo>
                  <a:pt x="210" y="342"/>
                </a:lnTo>
                <a:lnTo>
                  <a:pt x="204" y="342"/>
                </a:lnTo>
                <a:lnTo>
                  <a:pt x="198" y="348"/>
                </a:lnTo>
                <a:lnTo>
                  <a:pt x="192" y="348"/>
                </a:lnTo>
                <a:lnTo>
                  <a:pt x="186" y="354"/>
                </a:lnTo>
                <a:lnTo>
                  <a:pt x="186" y="360"/>
                </a:lnTo>
                <a:lnTo>
                  <a:pt x="180" y="360"/>
                </a:lnTo>
                <a:lnTo>
                  <a:pt x="174" y="360"/>
                </a:lnTo>
                <a:lnTo>
                  <a:pt x="174" y="366"/>
                </a:lnTo>
                <a:lnTo>
                  <a:pt x="174" y="372"/>
                </a:lnTo>
                <a:lnTo>
                  <a:pt x="168" y="372"/>
                </a:lnTo>
                <a:lnTo>
                  <a:pt x="168" y="378"/>
                </a:lnTo>
                <a:lnTo>
                  <a:pt x="162" y="378"/>
                </a:lnTo>
                <a:lnTo>
                  <a:pt x="156" y="378"/>
                </a:lnTo>
                <a:lnTo>
                  <a:pt x="156" y="384"/>
                </a:lnTo>
                <a:lnTo>
                  <a:pt x="150" y="384"/>
                </a:lnTo>
                <a:lnTo>
                  <a:pt x="150" y="390"/>
                </a:lnTo>
                <a:lnTo>
                  <a:pt x="144" y="390"/>
                </a:lnTo>
                <a:lnTo>
                  <a:pt x="144" y="396"/>
                </a:lnTo>
                <a:lnTo>
                  <a:pt x="144" y="402"/>
                </a:lnTo>
                <a:lnTo>
                  <a:pt x="150" y="408"/>
                </a:lnTo>
                <a:lnTo>
                  <a:pt x="150" y="414"/>
                </a:lnTo>
                <a:lnTo>
                  <a:pt x="150" y="420"/>
                </a:lnTo>
                <a:lnTo>
                  <a:pt x="156" y="420"/>
                </a:lnTo>
                <a:lnTo>
                  <a:pt x="150" y="420"/>
                </a:lnTo>
                <a:lnTo>
                  <a:pt x="150" y="426"/>
                </a:lnTo>
                <a:lnTo>
                  <a:pt x="156" y="426"/>
                </a:lnTo>
                <a:lnTo>
                  <a:pt x="156" y="432"/>
                </a:lnTo>
                <a:lnTo>
                  <a:pt x="156" y="438"/>
                </a:lnTo>
                <a:lnTo>
                  <a:pt x="150" y="438"/>
                </a:lnTo>
                <a:lnTo>
                  <a:pt x="150" y="444"/>
                </a:lnTo>
                <a:lnTo>
                  <a:pt x="144" y="450"/>
                </a:lnTo>
                <a:lnTo>
                  <a:pt x="144" y="456"/>
                </a:lnTo>
                <a:lnTo>
                  <a:pt x="138" y="456"/>
                </a:lnTo>
                <a:lnTo>
                  <a:pt x="138" y="462"/>
                </a:lnTo>
                <a:lnTo>
                  <a:pt x="132" y="462"/>
                </a:lnTo>
                <a:lnTo>
                  <a:pt x="132" y="468"/>
                </a:lnTo>
                <a:lnTo>
                  <a:pt x="126" y="468"/>
                </a:lnTo>
                <a:lnTo>
                  <a:pt x="120" y="474"/>
                </a:lnTo>
                <a:lnTo>
                  <a:pt x="114" y="474"/>
                </a:lnTo>
                <a:lnTo>
                  <a:pt x="114" y="468"/>
                </a:lnTo>
                <a:lnTo>
                  <a:pt x="108" y="462"/>
                </a:lnTo>
                <a:lnTo>
                  <a:pt x="108" y="456"/>
                </a:lnTo>
                <a:lnTo>
                  <a:pt x="108" y="450"/>
                </a:lnTo>
                <a:lnTo>
                  <a:pt x="108" y="444"/>
                </a:lnTo>
                <a:lnTo>
                  <a:pt x="108" y="438"/>
                </a:lnTo>
                <a:lnTo>
                  <a:pt x="102" y="432"/>
                </a:lnTo>
                <a:lnTo>
                  <a:pt x="102" y="426"/>
                </a:lnTo>
                <a:lnTo>
                  <a:pt x="102" y="420"/>
                </a:lnTo>
                <a:lnTo>
                  <a:pt x="96" y="414"/>
                </a:lnTo>
                <a:lnTo>
                  <a:pt x="96" y="408"/>
                </a:lnTo>
                <a:lnTo>
                  <a:pt x="96" y="402"/>
                </a:lnTo>
                <a:lnTo>
                  <a:pt x="96" y="396"/>
                </a:lnTo>
                <a:lnTo>
                  <a:pt x="96" y="390"/>
                </a:lnTo>
                <a:lnTo>
                  <a:pt x="90" y="384"/>
                </a:lnTo>
                <a:lnTo>
                  <a:pt x="90" y="378"/>
                </a:lnTo>
                <a:lnTo>
                  <a:pt x="90" y="372"/>
                </a:lnTo>
                <a:lnTo>
                  <a:pt x="90" y="360"/>
                </a:lnTo>
                <a:lnTo>
                  <a:pt x="84" y="354"/>
                </a:lnTo>
                <a:lnTo>
                  <a:pt x="78" y="354"/>
                </a:lnTo>
                <a:lnTo>
                  <a:pt x="78" y="348"/>
                </a:lnTo>
                <a:lnTo>
                  <a:pt x="72" y="348"/>
                </a:lnTo>
                <a:lnTo>
                  <a:pt x="66" y="342"/>
                </a:lnTo>
                <a:lnTo>
                  <a:pt x="60" y="336"/>
                </a:lnTo>
                <a:lnTo>
                  <a:pt x="54" y="330"/>
                </a:lnTo>
                <a:lnTo>
                  <a:pt x="48" y="330"/>
                </a:lnTo>
                <a:lnTo>
                  <a:pt x="42" y="318"/>
                </a:lnTo>
                <a:lnTo>
                  <a:pt x="42" y="312"/>
                </a:lnTo>
                <a:lnTo>
                  <a:pt x="42" y="306"/>
                </a:lnTo>
                <a:lnTo>
                  <a:pt x="36" y="294"/>
                </a:lnTo>
                <a:lnTo>
                  <a:pt x="30" y="288"/>
                </a:lnTo>
                <a:lnTo>
                  <a:pt x="24" y="288"/>
                </a:lnTo>
                <a:lnTo>
                  <a:pt x="18" y="282"/>
                </a:lnTo>
                <a:lnTo>
                  <a:pt x="12" y="276"/>
                </a:lnTo>
                <a:lnTo>
                  <a:pt x="12" y="270"/>
                </a:lnTo>
                <a:lnTo>
                  <a:pt x="6" y="264"/>
                </a:lnTo>
                <a:lnTo>
                  <a:pt x="6" y="258"/>
                </a:lnTo>
                <a:lnTo>
                  <a:pt x="6" y="252"/>
                </a:lnTo>
                <a:lnTo>
                  <a:pt x="0" y="246"/>
                </a:lnTo>
                <a:lnTo>
                  <a:pt x="0" y="240"/>
                </a:lnTo>
                <a:lnTo>
                  <a:pt x="0" y="234"/>
                </a:lnTo>
                <a:lnTo>
                  <a:pt x="0" y="228"/>
                </a:lnTo>
                <a:lnTo>
                  <a:pt x="0" y="222"/>
                </a:lnTo>
                <a:lnTo>
                  <a:pt x="6" y="222"/>
                </a:lnTo>
                <a:lnTo>
                  <a:pt x="6" y="216"/>
                </a:lnTo>
                <a:lnTo>
                  <a:pt x="12" y="216"/>
                </a:lnTo>
                <a:lnTo>
                  <a:pt x="12" y="210"/>
                </a:lnTo>
                <a:lnTo>
                  <a:pt x="18" y="210"/>
                </a:lnTo>
                <a:lnTo>
                  <a:pt x="18" y="204"/>
                </a:lnTo>
                <a:lnTo>
                  <a:pt x="24" y="198"/>
                </a:lnTo>
                <a:lnTo>
                  <a:pt x="30" y="198"/>
                </a:lnTo>
                <a:lnTo>
                  <a:pt x="30" y="192"/>
                </a:lnTo>
                <a:lnTo>
                  <a:pt x="36" y="192"/>
                </a:lnTo>
                <a:lnTo>
                  <a:pt x="36" y="186"/>
                </a:lnTo>
                <a:lnTo>
                  <a:pt x="42" y="186"/>
                </a:lnTo>
                <a:lnTo>
                  <a:pt x="42" y="180"/>
                </a:lnTo>
                <a:lnTo>
                  <a:pt x="42" y="174"/>
                </a:lnTo>
                <a:lnTo>
                  <a:pt x="42" y="168"/>
                </a:lnTo>
                <a:lnTo>
                  <a:pt x="42" y="162"/>
                </a:lnTo>
                <a:lnTo>
                  <a:pt x="42" y="156"/>
                </a:lnTo>
                <a:lnTo>
                  <a:pt x="48" y="156"/>
                </a:lnTo>
                <a:lnTo>
                  <a:pt x="48" y="150"/>
                </a:lnTo>
                <a:lnTo>
                  <a:pt x="48" y="144"/>
                </a:lnTo>
                <a:lnTo>
                  <a:pt x="54" y="144"/>
                </a:lnTo>
                <a:lnTo>
                  <a:pt x="48" y="144"/>
                </a:lnTo>
                <a:lnTo>
                  <a:pt x="42" y="144"/>
                </a:lnTo>
                <a:lnTo>
                  <a:pt x="42" y="138"/>
                </a:lnTo>
                <a:lnTo>
                  <a:pt x="42" y="132"/>
                </a:lnTo>
                <a:lnTo>
                  <a:pt x="48" y="132"/>
                </a:lnTo>
                <a:lnTo>
                  <a:pt x="48" y="126"/>
                </a:lnTo>
                <a:lnTo>
                  <a:pt x="48" y="120"/>
                </a:lnTo>
                <a:lnTo>
                  <a:pt x="48" y="114"/>
                </a:lnTo>
                <a:lnTo>
                  <a:pt x="42" y="114"/>
                </a:lnTo>
                <a:lnTo>
                  <a:pt x="42" y="108"/>
                </a:lnTo>
                <a:lnTo>
                  <a:pt x="42" y="102"/>
                </a:lnTo>
                <a:lnTo>
                  <a:pt x="42" y="96"/>
                </a:lnTo>
                <a:lnTo>
                  <a:pt x="42" y="90"/>
                </a:lnTo>
                <a:lnTo>
                  <a:pt x="42" y="84"/>
                </a:lnTo>
                <a:lnTo>
                  <a:pt x="48" y="84"/>
                </a:lnTo>
                <a:lnTo>
                  <a:pt x="42" y="84"/>
                </a:lnTo>
                <a:lnTo>
                  <a:pt x="42" y="78"/>
                </a:lnTo>
                <a:lnTo>
                  <a:pt x="48" y="78"/>
                </a:lnTo>
                <a:lnTo>
                  <a:pt x="42" y="72"/>
                </a:lnTo>
                <a:lnTo>
                  <a:pt x="48" y="72"/>
                </a:lnTo>
                <a:lnTo>
                  <a:pt x="48" y="66"/>
                </a:lnTo>
                <a:lnTo>
                  <a:pt x="48" y="60"/>
                </a:lnTo>
                <a:lnTo>
                  <a:pt x="42" y="60"/>
                </a:lnTo>
                <a:lnTo>
                  <a:pt x="36" y="60"/>
                </a:lnTo>
                <a:lnTo>
                  <a:pt x="36" y="54"/>
                </a:lnTo>
                <a:lnTo>
                  <a:pt x="42" y="54"/>
                </a:lnTo>
                <a:lnTo>
                  <a:pt x="48" y="54"/>
                </a:lnTo>
                <a:lnTo>
                  <a:pt x="48" y="48"/>
                </a:lnTo>
                <a:lnTo>
                  <a:pt x="54" y="48"/>
                </a:lnTo>
                <a:lnTo>
                  <a:pt x="54" y="42"/>
                </a:lnTo>
                <a:lnTo>
                  <a:pt x="48" y="42"/>
                </a:lnTo>
                <a:lnTo>
                  <a:pt x="54" y="42"/>
                </a:lnTo>
                <a:lnTo>
                  <a:pt x="54" y="36"/>
                </a:lnTo>
                <a:lnTo>
                  <a:pt x="60" y="36"/>
                </a:lnTo>
                <a:lnTo>
                  <a:pt x="66" y="36"/>
                </a:lnTo>
                <a:lnTo>
                  <a:pt x="60" y="36"/>
                </a:lnTo>
                <a:lnTo>
                  <a:pt x="60" y="30"/>
                </a:lnTo>
                <a:close/>
                <a:moveTo>
                  <a:pt x="180" y="246"/>
                </a:moveTo>
                <a:lnTo>
                  <a:pt x="180" y="240"/>
                </a:lnTo>
                <a:lnTo>
                  <a:pt x="180" y="234"/>
                </a:lnTo>
                <a:lnTo>
                  <a:pt x="186" y="234"/>
                </a:lnTo>
                <a:lnTo>
                  <a:pt x="192" y="240"/>
                </a:lnTo>
                <a:lnTo>
                  <a:pt x="192" y="234"/>
                </a:lnTo>
                <a:lnTo>
                  <a:pt x="192" y="240"/>
                </a:lnTo>
                <a:lnTo>
                  <a:pt x="198" y="240"/>
                </a:lnTo>
                <a:lnTo>
                  <a:pt x="198" y="246"/>
                </a:lnTo>
                <a:lnTo>
                  <a:pt x="192" y="246"/>
                </a:lnTo>
                <a:lnTo>
                  <a:pt x="192" y="252"/>
                </a:lnTo>
                <a:lnTo>
                  <a:pt x="192" y="246"/>
                </a:lnTo>
                <a:lnTo>
                  <a:pt x="186" y="252"/>
                </a:lnTo>
                <a:lnTo>
                  <a:pt x="186" y="246"/>
                </a:lnTo>
                <a:lnTo>
                  <a:pt x="180" y="246"/>
                </a:lnTo>
                <a:close/>
                <a:moveTo>
                  <a:pt x="198" y="174"/>
                </a:moveTo>
                <a:lnTo>
                  <a:pt x="210" y="174"/>
                </a:lnTo>
                <a:lnTo>
                  <a:pt x="210" y="186"/>
                </a:lnTo>
                <a:lnTo>
                  <a:pt x="198" y="186"/>
                </a:lnTo>
                <a:lnTo>
                  <a:pt x="198" y="174"/>
                </a:lnTo>
                <a:close/>
                <a:moveTo>
                  <a:pt x="192" y="180"/>
                </a:moveTo>
                <a:lnTo>
                  <a:pt x="198" y="180"/>
                </a:lnTo>
                <a:lnTo>
                  <a:pt x="198" y="186"/>
                </a:lnTo>
                <a:lnTo>
                  <a:pt x="192" y="186"/>
                </a:lnTo>
                <a:lnTo>
                  <a:pt x="192" y="180"/>
                </a:lnTo>
                <a:close/>
              </a:path>
            </a:pathLst>
          </a:custGeom>
          <a:solidFill>
            <a:srgbClr val="0070C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8" name="Freeform 40">
            <a:extLst>
              <a:ext uri="{FF2B5EF4-FFF2-40B4-BE49-F238E27FC236}">
                <a16:creationId xmlns:a16="http://schemas.microsoft.com/office/drawing/2014/main" id="{1BC62FA7-ADD1-8E4F-A424-F96477D607B9}"/>
              </a:ext>
            </a:extLst>
          </p:cNvPr>
          <p:cNvSpPr>
            <a:spLocks/>
          </p:cNvSpPr>
          <p:nvPr>
            <p:custDataLst>
              <p:tags r:id="rId36"/>
            </p:custDataLst>
          </p:nvPr>
        </p:nvSpPr>
        <p:spPr bwMode="gray">
          <a:xfrm>
            <a:off x="7084212" y="5569345"/>
            <a:ext cx="41230" cy="25401"/>
          </a:xfrm>
          <a:custGeom>
            <a:avLst/>
            <a:gdLst>
              <a:gd name="T0" fmla="*/ 8762 w 36"/>
              <a:gd name="T1" fmla="*/ 10368 h 30"/>
              <a:gd name="T2" fmla="*/ 3894 w 36"/>
              <a:gd name="T3" fmla="*/ 7540 h 30"/>
              <a:gd name="T4" fmla="*/ 1947 w 36"/>
              <a:gd name="T5" fmla="*/ 6598 h 30"/>
              <a:gd name="T6" fmla="*/ 0 w 36"/>
              <a:gd name="T7" fmla="*/ 3770 h 30"/>
              <a:gd name="T8" fmla="*/ 1947 w 36"/>
              <a:gd name="T9" fmla="*/ 1885 h 30"/>
              <a:gd name="T10" fmla="*/ 1947 w 36"/>
              <a:gd name="T11" fmla="*/ 0 h 30"/>
              <a:gd name="T12" fmla="*/ 3894 w 36"/>
              <a:gd name="T13" fmla="*/ 0 h 30"/>
              <a:gd name="T14" fmla="*/ 10708 w 36"/>
              <a:gd name="T15" fmla="*/ 0 h 30"/>
              <a:gd name="T16" fmla="*/ 10708 w 36"/>
              <a:gd name="T17" fmla="*/ 3770 h 30"/>
              <a:gd name="T18" fmla="*/ 12655 w 36"/>
              <a:gd name="T19" fmla="*/ 6598 h 30"/>
              <a:gd name="T20" fmla="*/ 12655 w 36"/>
              <a:gd name="T21" fmla="*/ 10368 h 30"/>
              <a:gd name="T22" fmla="*/ 10708 w 36"/>
              <a:gd name="T23" fmla="*/ 10368 h 30"/>
              <a:gd name="T24" fmla="*/ 8762 w 36"/>
              <a:gd name="T25" fmla="*/ 10368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0">
                <a:moveTo>
                  <a:pt x="24" y="30"/>
                </a:moveTo>
                <a:lnTo>
                  <a:pt x="12" y="24"/>
                </a:lnTo>
                <a:lnTo>
                  <a:pt x="6" y="18"/>
                </a:lnTo>
                <a:lnTo>
                  <a:pt x="0" y="12"/>
                </a:lnTo>
                <a:lnTo>
                  <a:pt x="6" y="6"/>
                </a:lnTo>
                <a:lnTo>
                  <a:pt x="6" y="0"/>
                </a:lnTo>
                <a:lnTo>
                  <a:pt x="12" y="0"/>
                </a:lnTo>
                <a:lnTo>
                  <a:pt x="30" y="0"/>
                </a:lnTo>
                <a:lnTo>
                  <a:pt x="30" y="12"/>
                </a:lnTo>
                <a:lnTo>
                  <a:pt x="36" y="18"/>
                </a:lnTo>
                <a:lnTo>
                  <a:pt x="36" y="30"/>
                </a:lnTo>
                <a:lnTo>
                  <a:pt x="30" y="30"/>
                </a:lnTo>
                <a:lnTo>
                  <a:pt x="24" y="30"/>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49" name="Freeform 41">
            <a:extLst>
              <a:ext uri="{FF2B5EF4-FFF2-40B4-BE49-F238E27FC236}">
                <a16:creationId xmlns:a16="http://schemas.microsoft.com/office/drawing/2014/main" id="{02AD9A5C-E1C4-5547-A56D-59658C203D5D}"/>
              </a:ext>
            </a:extLst>
          </p:cNvPr>
          <p:cNvSpPr>
            <a:spLocks noEditPoints="1"/>
          </p:cNvSpPr>
          <p:nvPr>
            <p:custDataLst>
              <p:tags r:id="rId37"/>
            </p:custDataLst>
          </p:nvPr>
        </p:nvSpPr>
        <p:spPr bwMode="gray">
          <a:xfrm>
            <a:off x="6318514" y="5123189"/>
            <a:ext cx="460892" cy="693545"/>
          </a:xfrm>
          <a:custGeom>
            <a:avLst/>
            <a:gdLst>
              <a:gd name="T0" fmla="*/ 1928 w 402"/>
              <a:gd name="T1" fmla="*/ 202617 h 804"/>
              <a:gd name="T2" fmla="*/ 6747 w 402"/>
              <a:gd name="T3" fmla="*/ 195831 h 804"/>
              <a:gd name="T4" fmla="*/ 12532 w 402"/>
              <a:gd name="T5" fmla="*/ 190014 h 804"/>
              <a:gd name="T6" fmla="*/ 17351 w 402"/>
              <a:gd name="T7" fmla="*/ 175472 h 804"/>
              <a:gd name="T8" fmla="*/ 23135 w 402"/>
              <a:gd name="T9" fmla="*/ 165778 h 804"/>
              <a:gd name="T10" fmla="*/ 23135 w 402"/>
              <a:gd name="T11" fmla="*/ 158022 h 804"/>
              <a:gd name="T12" fmla="*/ 21207 w 402"/>
              <a:gd name="T13" fmla="*/ 145419 h 804"/>
              <a:gd name="T14" fmla="*/ 17351 w 402"/>
              <a:gd name="T15" fmla="*/ 129908 h 804"/>
              <a:gd name="T16" fmla="*/ 14460 w 402"/>
              <a:gd name="T17" fmla="*/ 117305 h 804"/>
              <a:gd name="T18" fmla="*/ 17351 w 402"/>
              <a:gd name="T19" fmla="*/ 106640 h 804"/>
              <a:gd name="T20" fmla="*/ 21207 w 402"/>
              <a:gd name="T21" fmla="*/ 100824 h 804"/>
              <a:gd name="T22" fmla="*/ 26026 w 402"/>
              <a:gd name="T23" fmla="*/ 85313 h 804"/>
              <a:gd name="T24" fmla="*/ 35666 w 402"/>
              <a:gd name="T25" fmla="*/ 85313 h 804"/>
              <a:gd name="T26" fmla="*/ 42414 w 402"/>
              <a:gd name="T27" fmla="*/ 81435 h 804"/>
              <a:gd name="T28" fmla="*/ 51089 w 402"/>
              <a:gd name="T29" fmla="*/ 76587 h 804"/>
              <a:gd name="T30" fmla="*/ 54945 w 402"/>
              <a:gd name="T31" fmla="*/ 78527 h 804"/>
              <a:gd name="T32" fmla="*/ 59764 w 402"/>
              <a:gd name="T33" fmla="*/ 81435 h 804"/>
              <a:gd name="T34" fmla="*/ 63621 w 402"/>
              <a:gd name="T35" fmla="*/ 81435 h 804"/>
              <a:gd name="T36" fmla="*/ 71332 w 402"/>
              <a:gd name="T37" fmla="*/ 65924 h 804"/>
              <a:gd name="T38" fmla="*/ 76152 w 402"/>
              <a:gd name="T39" fmla="*/ 70770 h 804"/>
              <a:gd name="T40" fmla="*/ 78079 w 402"/>
              <a:gd name="T41" fmla="*/ 62045 h 804"/>
              <a:gd name="T42" fmla="*/ 84828 w 402"/>
              <a:gd name="T43" fmla="*/ 60107 h 804"/>
              <a:gd name="T44" fmla="*/ 88683 w 402"/>
              <a:gd name="T45" fmla="*/ 53321 h 804"/>
              <a:gd name="T46" fmla="*/ 90611 w 402"/>
              <a:gd name="T47" fmla="*/ 53321 h 804"/>
              <a:gd name="T48" fmla="*/ 93503 w 402"/>
              <a:gd name="T49" fmla="*/ 44595 h 804"/>
              <a:gd name="T50" fmla="*/ 93503 w 402"/>
              <a:gd name="T51" fmla="*/ 46534 h 804"/>
              <a:gd name="T52" fmla="*/ 95431 w 402"/>
              <a:gd name="T53" fmla="*/ 40718 h 804"/>
              <a:gd name="T54" fmla="*/ 90611 w 402"/>
              <a:gd name="T55" fmla="*/ 33931 h 804"/>
              <a:gd name="T56" fmla="*/ 99286 w 402"/>
              <a:gd name="T57" fmla="*/ 36840 h 804"/>
              <a:gd name="T58" fmla="*/ 104106 w 402"/>
              <a:gd name="T59" fmla="*/ 31992 h 804"/>
              <a:gd name="T60" fmla="*/ 107962 w 402"/>
              <a:gd name="T61" fmla="*/ 27145 h 804"/>
              <a:gd name="T62" fmla="*/ 111818 w 402"/>
              <a:gd name="T63" fmla="*/ 12603 h 804"/>
              <a:gd name="T64" fmla="*/ 113746 w 402"/>
              <a:gd name="T65" fmla="*/ 6786 h 804"/>
              <a:gd name="T66" fmla="*/ 118565 w 402"/>
              <a:gd name="T67" fmla="*/ 1939 h 804"/>
              <a:gd name="T68" fmla="*/ 120493 w 402"/>
              <a:gd name="T69" fmla="*/ 0 h 804"/>
              <a:gd name="T70" fmla="*/ 120493 w 402"/>
              <a:gd name="T71" fmla="*/ 6786 h 804"/>
              <a:gd name="T72" fmla="*/ 124349 w 402"/>
              <a:gd name="T73" fmla="*/ 12603 h 804"/>
              <a:gd name="T74" fmla="*/ 131096 w 402"/>
              <a:gd name="T75" fmla="*/ 26175 h 804"/>
              <a:gd name="T76" fmla="*/ 134953 w 402"/>
              <a:gd name="T77" fmla="*/ 44595 h 804"/>
              <a:gd name="T78" fmla="*/ 138808 w 402"/>
              <a:gd name="T79" fmla="*/ 62045 h 804"/>
              <a:gd name="T80" fmla="*/ 137845 w 402"/>
              <a:gd name="T81" fmla="*/ 78527 h 804"/>
              <a:gd name="T82" fmla="*/ 124349 w 402"/>
              <a:gd name="T83" fmla="*/ 72710 h 804"/>
              <a:gd name="T84" fmla="*/ 129169 w 402"/>
              <a:gd name="T85" fmla="*/ 90159 h 804"/>
              <a:gd name="T86" fmla="*/ 124349 w 402"/>
              <a:gd name="T87" fmla="*/ 101793 h 804"/>
              <a:gd name="T88" fmla="*/ 122421 w 402"/>
              <a:gd name="T89" fmla="*/ 124091 h 804"/>
              <a:gd name="T90" fmla="*/ 115674 w 402"/>
              <a:gd name="T91" fmla="*/ 143480 h 804"/>
              <a:gd name="T92" fmla="*/ 107962 w 402"/>
              <a:gd name="T93" fmla="*/ 165778 h 804"/>
              <a:gd name="T94" fmla="*/ 101214 w 402"/>
              <a:gd name="T95" fmla="*/ 190014 h 804"/>
              <a:gd name="T96" fmla="*/ 93503 w 402"/>
              <a:gd name="T97" fmla="*/ 213281 h 804"/>
              <a:gd name="T98" fmla="*/ 86756 w 402"/>
              <a:gd name="T99" fmla="*/ 239456 h 804"/>
              <a:gd name="T100" fmla="*/ 81935 w 402"/>
              <a:gd name="T101" fmla="*/ 255937 h 804"/>
              <a:gd name="T102" fmla="*/ 74224 w 402"/>
              <a:gd name="T103" fmla="*/ 273388 h 804"/>
              <a:gd name="T104" fmla="*/ 59764 w 402"/>
              <a:gd name="T105" fmla="*/ 277265 h 804"/>
              <a:gd name="T106" fmla="*/ 35666 w 402"/>
              <a:gd name="T107" fmla="*/ 284052 h 804"/>
              <a:gd name="T108" fmla="*/ 19279 w 402"/>
              <a:gd name="T109" fmla="*/ 275326 h 804"/>
              <a:gd name="T110" fmla="*/ 8675 w 402"/>
              <a:gd name="T111" fmla="*/ 253999 h 804"/>
              <a:gd name="T112" fmla="*/ 8675 w 402"/>
              <a:gd name="T113" fmla="*/ 234610 h 804"/>
              <a:gd name="T114" fmla="*/ 0 w 402"/>
              <a:gd name="T115" fmla="*/ 213281 h 804"/>
              <a:gd name="T116" fmla="*/ 99286 w 402"/>
              <a:gd name="T117" fmla="*/ 30053 h 804"/>
              <a:gd name="T118" fmla="*/ 131096 w 402"/>
              <a:gd name="T119" fmla="*/ 100824 h 804"/>
              <a:gd name="T120" fmla="*/ 104106 w 402"/>
              <a:gd name="T121" fmla="*/ 17450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02" h="804">
                <a:moveTo>
                  <a:pt x="0" y="600"/>
                </a:moveTo>
                <a:lnTo>
                  <a:pt x="0" y="594"/>
                </a:lnTo>
                <a:lnTo>
                  <a:pt x="0" y="600"/>
                </a:lnTo>
                <a:lnTo>
                  <a:pt x="6" y="600"/>
                </a:lnTo>
                <a:lnTo>
                  <a:pt x="6" y="594"/>
                </a:lnTo>
                <a:lnTo>
                  <a:pt x="0" y="594"/>
                </a:lnTo>
                <a:lnTo>
                  <a:pt x="0" y="588"/>
                </a:lnTo>
                <a:lnTo>
                  <a:pt x="0" y="582"/>
                </a:lnTo>
                <a:lnTo>
                  <a:pt x="6" y="582"/>
                </a:lnTo>
                <a:lnTo>
                  <a:pt x="6" y="576"/>
                </a:lnTo>
                <a:lnTo>
                  <a:pt x="6" y="582"/>
                </a:lnTo>
                <a:lnTo>
                  <a:pt x="6" y="576"/>
                </a:lnTo>
                <a:lnTo>
                  <a:pt x="6" y="570"/>
                </a:lnTo>
                <a:lnTo>
                  <a:pt x="12" y="564"/>
                </a:lnTo>
                <a:lnTo>
                  <a:pt x="18" y="564"/>
                </a:lnTo>
                <a:lnTo>
                  <a:pt x="12" y="564"/>
                </a:lnTo>
                <a:lnTo>
                  <a:pt x="12" y="558"/>
                </a:lnTo>
                <a:lnTo>
                  <a:pt x="12" y="564"/>
                </a:lnTo>
                <a:lnTo>
                  <a:pt x="18" y="558"/>
                </a:lnTo>
                <a:lnTo>
                  <a:pt x="12" y="558"/>
                </a:lnTo>
                <a:lnTo>
                  <a:pt x="18" y="558"/>
                </a:lnTo>
                <a:lnTo>
                  <a:pt x="12" y="558"/>
                </a:lnTo>
                <a:lnTo>
                  <a:pt x="18" y="558"/>
                </a:lnTo>
                <a:lnTo>
                  <a:pt x="12" y="558"/>
                </a:lnTo>
                <a:lnTo>
                  <a:pt x="12" y="552"/>
                </a:lnTo>
                <a:lnTo>
                  <a:pt x="18" y="552"/>
                </a:lnTo>
                <a:lnTo>
                  <a:pt x="12" y="552"/>
                </a:lnTo>
                <a:lnTo>
                  <a:pt x="12" y="546"/>
                </a:lnTo>
                <a:lnTo>
                  <a:pt x="12" y="552"/>
                </a:lnTo>
                <a:lnTo>
                  <a:pt x="18" y="546"/>
                </a:lnTo>
                <a:lnTo>
                  <a:pt x="12" y="546"/>
                </a:lnTo>
                <a:lnTo>
                  <a:pt x="18" y="546"/>
                </a:lnTo>
                <a:lnTo>
                  <a:pt x="18" y="540"/>
                </a:lnTo>
                <a:lnTo>
                  <a:pt x="18" y="546"/>
                </a:lnTo>
                <a:lnTo>
                  <a:pt x="18" y="540"/>
                </a:lnTo>
                <a:lnTo>
                  <a:pt x="24" y="540"/>
                </a:lnTo>
                <a:lnTo>
                  <a:pt x="30" y="540"/>
                </a:lnTo>
                <a:lnTo>
                  <a:pt x="30" y="534"/>
                </a:lnTo>
                <a:lnTo>
                  <a:pt x="36" y="534"/>
                </a:lnTo>
                <a:lnTo>
                  <a:pt x="36" y="528"/>
                </a:lnTo>
                <a:lnTo>
                  <a:pt x="36" y="522"/>
                </a:lnTo>
                <a:lnTo>
                  <a:pt x="36" y="516"/>
                </a:lnTo>
                <a:lnTo>
                  <a:pt x="42" y="516"/>
                </a:lnTo>
                <a:lnTo>
                  <a:pt x="36" y="516"/>
                </a:lnTo>
                <a:lnTo>
                  <a:pt x="42" y="516"/>
                </a:lnTo>
                <a:lnTo>
                  <a:pt x="42" y="510"/>
                </a:lnTo>
                <a:lnTo>
                  <a:pt x="48" y="510"/>
                </a:lnTo>
                <a:lnTo>
                  <a:pt x="42" y="510"/>
                </a:lnTo>
                <a:lnTo>
                  <a:pt x="48" y="510"/>
                </a:lnTo>
                <a:lnTo>
                  <a:pt x="48" y="504"/>
                </a:lnTo>
                <a:lnTo>
                  <a:pt x="48" y="498"/>
                </a:lnTo>
                <a:lnTo>
                  <a:pt x="48" y="492"/>
                </a:lnTo>
                <a:lnTo>
                  <a:pt x="54" y="492"/>
                </a:lnTo>
                <a:lnTo>
                  <a:pt x="48" y="492"/>
                </a:lnTo>
                <a:lnTo>
                  <a:pt x="48" y="498"/>
                </a:lnTo>
                <a:lnTo>
                  <a:pt x="48" y="492"/>
                </a:lnTo>
                <a:lnTo>
                  <a:pt x="54" y="492"/>
                </a:lnTo>
                <a:lnTo>
                  <a:pt x="54" y="486"/>
                </a:lnTo>
                <a:lnTo>
                  <a:pt x="54" y="492"/>
                </a:lnTo>
                <a:lnTo>
                  <a:pt x="54" y="486"/>
                </a:lnTo>
                <a:lnTo>
                  <a:pt x="60" y="486"/>
                </a:lnTo>
                <a:lnTo>
                  <a:pt x="60" y="480"/>
                </a:lnTo>
                <a:lnTo>
                  <a:pt x="60" y="474"/>
                </a:lnTo>
                <a:lnTo>
                  <a:pt x="66" y="474"/>
                </a:lnTo>
                <a:lnTo>
                  <a:pt x="66" y="468"/>
                </a:lnTo>
                <a:lnTo>
                  <a:pt x="72" y="468"/>
                </a:lnTo>
                <a:lnTo>
                  <a:pt x="66" y="468"/>
                </a:lnTo>
                <a:lnTo>
                  <a:pt x="72" y="462"/>
                </a:lnTo>
                <a:lnTo>
                  <a:pt x="72" y="468"/>
                </a:lnTo>
                <a:lnTo>
                  <a:pt x="72" y="462"/>
                </a:lnTo>
                <a:lnTo>
                  <a:pt x="72" y="468"/>
                </a:lnTo>
                <a:lnTo>
                  <a:pt x="72" y="462"/>
                </a:lnTo>
                <a:lnTo>
                  <a:pt x="72" y="456"/>
                </a:lnTo>
                <a:lnTo>
                  <a:pt x="66" y="456"/>
                </a:lnTo>
                <a:lnTo>
                  <a:pt x="72" y="456"/>
                </a:lnTo>
                <a:lnTo>
                  <a:pt x="66" y="456"/>
                </a:lnTo>
                <a:lnTo>
                  <a:pt x="66" y="450"/>
                </a:lnTo>
                <a:lnTo>
                  <a:pt x="66" y="444"/>
                </a:lnTo>
                <a:lnTo>
                  <a:pt x="66" y="450"/>
                </a:lnTo>
                <a:lnTo>
                  <a:pt x="66" y="444"/>
                </a:lnTo>
                <a:lnTo>
                  <a:pt x="66" y="438"/>
                </a:lnTo>
                <a:lnTo>
                  <a:pt x="72" y="438"/>
                </a:lnTo>
                <a:lnTo>
                  <a:pt x="72" y="432"/>
                </a:lnTo>
                <a:lnTo>
                  <a:pt x="66" y="432"/>
                </a:lnTo>
                <a:lnTo>
                  <a:pt x="66" y="426"/>
                </a:lnTo>
                <a:lnTo>
                  <a:pt x="66" y="420"/>
                </a:lnTo>
                <a:lnTo>
                  <a:pt x="60" y="420"/>
                </a:lnTo>
                <a:lnTo>
                  <a:pt x="60" y="414"/>
                </a:lnTo>
                <a:lnTo>
                  <a:pt x="60" y="408"/>
                </a:lnTo>
                <a:lnTo>
                  <a:pt x="60" y="414"/>
                </a:lnTo>
                <a:lnTo>
                  <a:pt x="60" y="408"/>
                </a:lnTo>
                <a:lnTo>
                  <a:pt x="54" y="408"/>
                </a:lnTo>
                <a:lnTo>
                  <a:pt x="60" y="408"/>
                </a:lnTo>
                <a:lnTo>
                  <a:pt x="54" y="408"/>
                </a:lnTo>
                <a:lnTo>
                  <a:pt x="54" y="402"/>
                </a:lnTo>
                <a:lnTo>
                  <a:pt x="60" y="402"/>
                </a:lnTo>
                <a:lnTo>
                  <a:pt x="60" y="396"/>
                </a:lnTo>
                <a:lnTo>
                  <a:pt x="60" y="390"/>
                </a:lnTo>
                <a:lnTo>
                  <a:pt x="54" y="390"/>
                </a:lnTo>
                <a:lnTo>
                  <a:pt x="54" y="384"/>
                </a:lnTo>
                <a:lnTo>
                  <a:pt x="54" y="378"/>
                </a:lnTo>
                <a:lnTo>
                  <a:pt x="48" y="378"/>
                </a:lnTo>
                <a:lnTo>
                  <a:pt x="48" y="372"/>
                </a:lnTo>
                <a:lnTo>
                  <a:pt x="48" y="366"/>
                </a:lnTo>
                <a:lnTo>
                  <a:pt x="48" y="360"/>
                </a:lnTo>
                <a:lnTo>
                  <a:pt x="48" y="354"/>
                </a:lnTo>
                <a:lnTo>
                  <a:pt x="42" y="354"/>
                </a:lnTo>
                <a:lnTo>
                  <a:pt x="48" y="354"/>
                </a:lnTo>
                <a:lnTo>
                  <a:pt x="42" y="354"/>
                </a:lnTo>
                <a:lnTo>
                  <a:pt x="48" y="354"/>
                </a:lnTo>
                <a:lnTo>
                  <a:pt x="42" y="354"/>
                </a:lnTo>
                <a:lnTo>
                  <a:pt x="42" y="348"/>
                </a:lnTo>
                <a:lnTo>
                  <a:pt x="42" y="342"/>
                </a:lnTo>
                <a:lnTo>
                  <a:pt x="48" y="342"/>
                </a:lnTo>
                <a:lnTo>
                  <a:pt x="48" y="336"/>
                </a:lnTo>
                <a:lnTo>
                  <a:pt x="48" y="330"/>
                </a:lnTo>
                <a:lnTo>
                  <a:pt x="42" y="330"/>
                </a:lnTo>
                <a:lnTo>
                  <a:pt x="48" y="330"/>
                </a:lnTo>
                <a:lnTo>
                  <a:pt x="42" y="330"/>
                </a:lnTo>
                <a:lnTo>
                  <a:pt x="42" y="324"/>
                </a:lnTo>
                <a:lnTo>
                  <a:pt x="42" y="318"/>
                </a:lnTo>
                <a:lnTo>
                  <a:pt x="42" y="312"/>
                </a:lnTo>
                <a:lnTo>
                  <a:pt x="42" y="306"/>
                </a:lnTo>
                <a:lnTo>
                  <a:pt x="42" y="312"/>
                </a:lnTo>
                <a:lnTo>
                  <a:pt x="48" y="312"/>
                </a:lnTo>
                <a:lnTo>
                  <a:pt x="48" y="306"/>
                </a:lnTo>
                <a:lnTo>
                  <a:pt x="48" y="312"/>
                </a:lnTo>
                <a:lnTo>
                  <a:pt x="42" y="312"/>
                </a:lnTo>
                <a:lnTo>
                  <a:pt x="48" y="306"/>
                </a:lnTo>
                <a:lnTo>
                  <a:pt x="48" y="300"/>
                </a:lnTo>
                <a:lnTo>
                  <a:pt x="54" y="300"/>
                </a:lnTo>
                <a:lnTo>
                  <a:pt x="48" y="300"/>
                </a:lnTo>
                <a:lnTo>
                  <a:pt x="48" y="294"/>
                </a:lnTo>
                <a:lnTo>
                  <a:pt x="54" y="294"/>
                </a:lnTo>
                <a:lnTo>
                  <a:pt x="54" y="300"/>
                </a:lnTo>
                <a:lnTo>
                  <a:pt x="54" y="294"/>
                </a:lnTo>
                <a:lnTo>
                  <a:pt x="48" y="294"/>
                </a:lnTo>
                <a:lnTo>
                  <a:pt x="54" y="294"/>
                </a:lnTo>
                <a:lnTo>
                  <a:pt x="54" y="288"/>
                </a:lnTo>
                <a:lnTo>
                  <a:pt x="54" y="294"/>
                </a:lnTo>
                <a:lnTo>
                  <a:pt x="54" y="288"/>
                </a:lnTo>
                <a:lnTo>
                  <a:pt x="60" y="288"/>
                </a:lnTo>
                <a:lnTo>
                  <a:pt x="60" y="282"/>
                </a:lnTo>
                <a:lnTo>
                  <a:pt x="60" y="288"/>
                </a:lnTo>
                <a:lnTo>
                  <a:pt x="60" y="282"/>
                </a:lnTo>
                <a:lnTo>
                  <a:pt x="60" y="276"/>
                </a:lnTo>
                <a:lnTo>
                  <a:pt x="66" y="276"/>
                </a:lnTo>
                <a:lnTo>
                  <a:pt x="66" y="270"/>
                </a:lnTo>
                <a:lnTo>
                  <a:pt x="66" y="264"/>
                </a:lnTo>
                <a:lnTo>
                  <a:pt x="72" y="264"/>
                </a:lnTo>
                <a:lnTo>
                  <a:pt x="72" y="258"/>
                </a:lnTo>
                <a:lnTo>
                  <a:pt x="66" y="258"/>
                </a:lnTo>
                <a:lnTo>
                  <a:pt x="66" y="252"/>
                </a:lnTo>
                <a:lnTo>
                  <a:pt x="66" y="246"/>
                </a:lnTo>
                <a:lnTo>
                  <a:pt x="66" y="240"/>
                </a:lnTo>
                <a:lnTo>
                  <a:pt x="72" y="240"/>
                </a:lnTo>
                <a:lnTo>
                  <a:pt x="72" y="246"/>
                </a:lnTo>
                <a:lnTo>
                  <a:pt x="72" y="240"/>
                </a:lnTo>
                <a:lnTo>
                  <a:pt x="78" y="240"/>
                </a:lnTo>
                <a:lnTo>
                  <a:pt x="84" y="240"/>
                </a:lnTo>
                <a:lnTo>
                  <a:pt x="90" y="240"/>
                </a:lnTo>
                <a:lnTo>
                  <a:pt x="90" y="246"/>
                </a:lnTo>
                <a:lnTo>
                  <a:pt x="90" y="240"/>
                </a:lnTo>
                <a:lnTo>
                  <a:pt x="96" y="240"/>
                </a:lnTo>
                <a:lnTo>
                  <a:pt x="102" y="240"/>
                </a:lnTo>
                <a:lnTo>
                  <a:pt x="96" y="240"/>
                </a:lnTo>
                <a:lnTo>
                  <a:pt x="102" y="240"/>
                </a:lnTo>
                <a:lnTo>
                  <a:pt x="102" y="234"/>
                </a:lnTo>
                <a:lnTo>
                  <a:pt x="102" y="240"/>
                </a:lnTo>
                <a:lnTo>
                  <a:pt x="102" y="234"/>
                </a:lnTo>
                <a:lnTo>
                  <a:pt x="108" y="234"/>
                </a:lnTo>
                <a:lnTo>
                  <a:pt x="108" y="228"/>
                </a:lnTo>
                <a:lnTo>
                  <a:pt x="108" y="234"/>
                </a:lnTo>
                <a:lnTo>
                  <a:pt x="108" y="228"/>
                </a:lnTo>
                <a:lnTo>
                  <a:pt x="114" y="228"/>
                </a:lnTo>
                <a:lnTo>
                  <a:pt x="114" y="234"/>
                </a:lnTo>
                <a:lnTo>
                  <a:pt x="114" y="240"/>
                </a:lnTo>
                <a:lnTo>
                  <a:pt x="114" y="234"/>
                </a:lnTo>
                <a:lnTo>
                  <a:pt x="120" y="234"/>
                </a:lnTo>
                <a:lnTo>
                  <a:pt x="120" y="240"/>
                </a:lnTo>
                <a:lnTo>
                  <a:pt x="120" y="234"/>
                </a:lnTo>
                <a:lnTo>
                  <a:pt x="120" y="228"/>
                </a:lnTo>
                <a:lnTo>
                  <a:pt x="126" y="228"/>
                </a:lnTo>
                <a:lnTo>
                  <a:pt x="132" y="228"/>
                </a:lnTo>
                <a:lnTo>
                  <a:pt x="132" y="234"/>
                </a:lnTo>
                <a:lnTo>
                  <a:pt x="132" y="228"/>
                </a:lnTo>
                <a:lnTo>
                  <a:pt x="132" y="222"/>
                </a:lnTo>
                <a:lnTo>
                  <a:pt x="138" y="222"/>
                </a:lnTo>
                <a:lnTo>
                  <a:pt x="132" y="222"/>
                </a:lnTo>
                <a:lnTo>
                  <a:pt x="138" y="222"/>
                </a:lnTo>
                <a:lnTo>
                  <a:pt x="138" y="216"/>
                </a:lnTo>
                <a:lnTo>
                  <a:pt x="144" y="216"/>
                </a:lnTo>
                <a:lnTo>
                  <a:pt x="138" y="216"/>
                </a:lnTo>
                <a:lnTo>
                  <a:pt x="138" y="222"/>
                </a:lnTo>
                <a:lnTo>
                  <a:pt x="144" y="216"/>
                </a:lnTo>
                <a:lnTo>
                  <a:pt x="144" y="222"/>
                </a:lnTo>
                <a:lnTo>
                  <a:pt x="144" y="216"/>
                </a:lnTo>
                <a:lnTo>
                  <a:pt x="144" y="222"/>
                </a:lnTo>
                <a:lnTo>
                  <a:pt x="144" y="216"/>
                </a:lnTo>
                <a:lnTo>
                  <a:pt x="150" y="216"/>
                </a:lnTo>
                <a:lnTo>
                  <a:pt x="156" y="216"/>
                </a:lnTo>
                <a:lnTo>
                  <a:pt x="150" y="216"/>
                </a:lnTo>
                <a:lnTo>
                  <a:pt x="150" y="222"/>
                </a:lnTo>
                <a:lnTo>
                  <a:pt x="156" y="222"/>
                </a:lnTo>
                <a:lnTo>
                  <a:pt x="150" y="222"/>
                </a:lnTo>
                <a:lnTo>
                  <a:pt x="156" y="222"/>
                </a:lnTo>
                <a:lnTo>
                  <a:pt x="162" y="222"/>
                </a:lnTo>
                <a:lnTo>
                  <a:pt x="156" y="222"/>
                </a:lnTo>
                <a:lnTo>
                  <a:pt x="162" y="222"/>
                </a:lnTo>
                <a:lnTo>
                  <a:pt x="162" y="216"/>
                </a:lnTo>
                <a:lnTo>
                  <a:pt x="156" y="216"/>
                </a:lnTo>
                <a:lnTo>
                  <a:pt x="162" y="216"/>
                </a:lnTo>
                <a:lnTo>
                  <a:pt x="156" y="216"/>
                </a:lnTo>
                <a:lnTo>
                  <a:pt x="156" y="222"/>
                </a:lnTo>
                <a:lnTo>
                  <a:pt x="156" y="216"/>
                </a:lnTo>
                <a:lnTo>
                  <a:pt x="162" y="216"/>
                </a:lnTo>
                <a:lnTo>
                  <a:pt x="162" y="210"/>
                </a:lnTo>
                <a:lnTo>
                  <a:pt x="168" y="210"/>
                </a:lnTo>
                <a:lnTo>
                  <a:pt x="168" y="216"/>
                </a:lnTo>
                <a:lnTo>
                  <a:pt x="168" y="222"/>
                </a:lnTo>
                <a:lnTo>
                  <a:pt x="168" y="228"/>
                </a:lnTo>
                <a:lnTo>
                  <a:pt x="174" y="228"/>
                </a:lnTo>
                <a:lnTo>
                  <a:pt x="174" y="234"/>
                </a:lnTo>
                <a:lnTo>
                  <a:pt x="180" y="234"/>
                </a:lnTo>
                <a:lnTo>
                  <a:pt x="186" y="234"/>
                </a:lnTo>
                <a:lnTo>
                  <a:pt x="186" y="240"/>
                </a:lnTo>
                <a:lnTo>
                  <a:pt x="186" y="246"/>
                </a:lnTo>
                <a:lnTo>
                  <a:pt x="186" y="240"/>
                </a:lnTo>
                <a:lnTo>
                  <a:pt x="192" y="240"/>
                </a:lnTo>
                <a:lnTo>
                  <a:pt x="186" y="234"/>
                </a:lnTo>
                <a:lnTo>
                  <a:pt x="192" y="234"/>
                </a:lnTo>
                <a:lnTo>
                  <a:pt x="192" y="228"/>
                </a:lnTo>
                <a:lnTo>
                  <a:pt x="186" y="228"/>
                </a:lnTo>
                <a:lnTo>
                  <a:pt x="180" y="228"/>
                </a:lnTo>
                <a:lnTo>
                  <a:pt x="180" y="222"/>
                </a:lnTo>
                <a:lnTo>
                  <a:pt x="174" y="222"/>
                </a:lnTo>
                <a:lnTo>
                  <a:pt x="174" y="216"/>
                </a:lnTo>
                <a:lnTo>
                  <a:pt x="174" y="210"/>
                </a:lnTo>
                <a:lnTo>
                  <a:pt x="174" y="204"/>
                </a:lnTo>
                <a:lnTo>
                  <a:pt x="180" y="204"/>
                </a:lnTo>
                <a:lnTo>
                  <a:pt x="186" y="204"/>
                </a:lnTo>
                <a:lnTo>
                  <a:pt x="186" y="198"/>
                </a:lnTo>
                <a:lnTo>
                  <a:pt x="192" y="198"/>
                </a:lnTo>
                <a:lnTo>
                  <a:pt x="192" y="192"/>
                </a:lnTo>
                <a:lnTo>
                  <a:pt x="198" y="192"/>
                </a:lnTo>
                <a:lnTo>
                  <a:pt x="198" y="186"/>
                </a:lnTo>
                <a:lnTo>
                  <a:pt x="204" y="186"/>
                </a:lnTo>
                <a:lnTo>
                  <a:pt x="210" y="186"/>
                </a:lnTo>
                <a:lnTo>
                  <a:pt x="210" y="192"/>
                </a:lnTo>
                <a:lnTo>
                  <a:pt x="216" y="192"/>
                </a:lnTo>
                <a:lnTo>
                  <a:pt x="210" y="198"/>
                </a:lnTo>
                <a:lnTo>
                  <a:pt x="210" y="204"/>
                </a:lnTo>
                <a:lnTo>
                  <a:pt x="210" y="198"/>
                </a:lnTo>
                <a:lnTo>
                  <a:pt x="210" y="204"/>
                </a:lnTo>
                <a:lnTo>
                  <a:pt x="210" y="210"/>
                </a:lnTo>
                <a:lnTo>
                  <a:pt x="210" y="204"/>
                </a:lnTo>
                <a:lnTo>
                  <a:pt x="216" y="204"/>
                </a:lnTo>
                <a:lnTo>
                  <a:pt x="216" y="198"/>
                </a:lnTo>
                <a:lnTo>
                  <a:pt x="216" y="204"/>
                </a:lnTo>
                <a:lnTo>
                  <a:pt x="216" y="198"/>
                </a:lnTo>
                <a:lnTo>
                  <a:pt x="216" y="204"/>
                </a:lnTo>
                <a:lnTo>
                  <a:pt x="216" y="198"/>
                </a:lnTo>
                <a:lnTo>
                  <a:pt x="222" y="198"/>
                </a:lnTo>
                <a:lnTo>
                  <a:pt x="222" y="192"/>
                </a:lnTo>
                <a:lnTo>
                  <a:pt x="216" y="192"/>
                </a:lnTo>
                <a:lnTo>
                  <a:pt x="222" y="192"/>
                </a:lnTo>
                <a:lnTo>
                  <a:pt x="216" y="192"/>
                </a:lnTo>
                <a:lnTo>
                  <a:pt x="216" y="186"/>
                </a:lnTo>
                <a:lnTo>
                  <a:pt x="216" y="180"/>
                </a:lnTo>
                <a:lnTo>
                  <a:pt x="222" y="180"/>
                </a:lnTo>
                <a:lnTo>
                  <a:pt x="222" y="174"/>
                </a:lnTo>
                <a:lnTo>
                  <a:pt x="228" y="174"/>
                </a:lnTo>
                <a:lnTo>
                  <a:pt x="222" y="174"/>
                </a:lnTo>
                <a:lnTo>
                  <a:pt x="228" y="174"/>
                </a:lnTo>
                <a:lnTo>
                  <a:pt x="228" y="168"/>
                </a:lnTo>
                <a:lnTo>
                  <a:pt x="234" y="168"/>
                </a:lnTo>
                <a:lnTo>
                  <a:pt x="228" y="168"/>
                </a:lnTo>
                <a:lnTo>
                  <a:pt x="234" y="168"/>
                </a:lnTo>
                <a:lnTo>
                  <a:pt x="234" y="162"/>
                </a:lnTo>
                <a:lnTo>
                  <a:pt x="228" y="162"/>
                </a:lnTo>
                <a:lnTo>
                  <a:pt x="228" y="168"/>
                </a:lnTo>
                <a:lnTo>
                  <a:pt x="228" y="162"/>
                </a:lnTo>
                <a:lnTo>
                  <a:pt x="234" y="156"/>
                </a:lnTo>
                <a:lnTo>
                  <a:pt x="240" y="156"/>
                </a:lnTo>
                <a:lnTo>
                  <a:pt x="240" y="162"/>
                </a:lnTo>
                <a:lnTo>
                  <a:pt x="240" y="168"/>
                </a:lnTo>
                <a:lnTo>
                  <a:pt x="234" y="168"/>
                </a:lnTo>
                <a:lnTo>
                  <a:pt x="234" y="174"/>
                </a:lnTo>
                <a:lnTo>
                  <a:pt x="234" y="180"/>
                </a:lnTo>
                <a:lnTo>
                  <a:pt x="240" y="180"/>
                </a:lnTo>
                <a:lnTo>
                  <a:pt x="240" y="174"/>
                </a:lnTo>
                <a:lnTo>
                  <a:pt x="240" y="168"/>
                </a:lnTo>
                <a:lnTo>
                  <a:pt x="246" y="168"/>
                </a:lnTo>
                <a:lnTo>
                  <a:pt x="246" y="162"/>
                </a:lnTo>
                <a:lnTo>
                  <a:pt x="246" y="156"/>
                </a:lnTo>
                <a:lnTo>
                  <a:pt x="252" y="156"/>
                </a:lnTo>
                <a:lnTo>
                  <a:pt x="246" y="156"/>
                </a:lnTo>
                <a:lnTo>
                  <a:pt x="252" y="156"/>
                </a:lnTo>
                <a:lnTo>
                  <a:pt x="252" y="150"/>
                </a:lnTo>
                <a:lnTo>
                  <a:pt x="258" y="150"/>
                </a:lnTo>
                <a:lnTo>
                  <a:pt x="264" y="156"/>
                </a:lnTo>
                <a:lnTo>
                  <a:pt x="264" y="150"/>
                </a:lnTo>
                <a:lnTo>
                  <a:pt x="264" y="156"/>
                </a:lnTo>
                <a:lnTo>
                  <a:pt x="264" y="162"/>
                </a:lnTo>
                <a:lnTo>
                  <a:pt x="264" y="168"/>
                </a:lnTo>
                <a:lnTo>
                  <a:pt x="264" y="162"/>
                </a:lnTo>
                <a:lnTo>
                  <a:pt x="270" y="156"/>
                </a:lnTo>
                <a:lnTo>
                  <a:pt x="264" y="156"/>
                </a:lnTo>
                <a:lnTo>
                  <a:pt x="264" y="150"/>
                </a:lnTo>
                <a:lnTo>
                  <a:pt x="264" y="144"/>
                </a:lnTo>
                <a:lnTo>
                  <a:pt x="264" y="150"/>
                </a:lnTo>
                <a:lnTo>
                  <a:pt x="258" y="150"/>
                </a:lnTo>
                <a:lnTo>
                  <a:pt x="258" y="144"/>
                </a:lnTo>
                <a:lnTo>
                  <a:pt x="252" y="144"/>
                </a:lnTo>
                <a:lnTo>
                  <a:pt x="252" y="150"/>
                </a:lnTo>
                <a:lnTo>
                  <a:pt x="252" y="144"/>
                </a:lnTo>
                <a:lnTo>
                  <a:pt x="252" y="138"/>
                </a:lnTo>
                <a:lnTo>
                  <a:pt x="252" y="132"/>
                </a:lnTo>
                <a:lnTo>
                  <a:pt x="252" y="126"/>
                </a:lnTo>
                <a:lnTo>
                  <a:pt x="258" y="126"/>
                </a:lnTo>
                <a:lnTo>
                  <a:pt x="258" y="132"/>
                </a:lnTo>
                <a:lnTo>
                  <a:pt x="258" y="126"/>
                </a:lnTo>
                <a:lnTo>
                  <a:pt x="264" y="126"/>
                </a:lnTo>
                <a:lnTo>
                  <a:pt x="264" y="132"/>
                </a:lnTo>
                <a:lnTo>
                  <a:pt x="264" y="126"/>
                </a:lnTo>
                <a:lnTo>
                  <a:pt x="264" y="120"/>
                </a:lnTo>
                <a:lnTo>
                  <a:pt x="258" y="120"/>
                </a:lnTo>
                <a:lnTo>
                  <a:pt x="264" y="120"/>
                </a:lnTo>
                <a:lnTo>
                  <a:pt x="258" y="120"/>
                </a:lnTo>
                <a:lnTo>
                  <a:pt x="264" y="120"/>
                </a:lnTo>
                <a:lnTo>
                  <a:pt x="264" y="126"/>
                </a:lnTo>
                <a:lnTo>
                  <a:pt x="264" y="120"/>
                </a:lnTo>
                <a:lnTo>
                  <a:pt x="264" y="126"/>
                </a:lnTo>
                <a:lnTo>
                  <a:pt x="264" y="132"/>
                </a:lnTo>
                <a:lnTo>
                  <a:pt x="264" y="138"/>
                </a:lnTo>
                <a:lnTo>
                  <a:pt x="264" y="132"/>
                </a:lnTo>
                <a:lnTo>
                  <a:pt x="270" y="132"/>
                </a:lnTo>
                <a:lnTo>
                  <a:pt x="264" y="132"/>
                </a:lnTo>
                <a:lnTo>
                  <a:pt x="270" y="132"/>
                </a:lnTo>
                <a:lnTo>
                  <a:pt x="264" y="132"/>
                </a:lnTo>
                <a:lnTo>
                  <a:pt x="270" y="132"/>
                </a:lnTo>
                <a:lnTo>
                  <a:pt x="264" y="126"/>
                </a:lnTo>
                <a:lnTo>
                  <a:pt x="270" y="126"/>
                </a:lnTo>
                <a:lnTo>
                  <a:pt x="264" y="126"/>
                </a:lnTo>
                <a:lnTo>
                  <a:pt x="270" y="126"/>
                </a:lnTo>
                <a:lnTo>
                  <a:pt x="270" y="120"/>
                </a:lnTo>
                <a:lnTo>
                  <a:pt x="270" y="114"/>
                </a:lnTo>
                <a:lnTo>
                  <a:pt x="270" y="120"/>
                </a:lnTo>
                <a:lnTo>
                  <a:pt x="264" y="120"/>
                </a:lnTo>
                <a:lnTo>
                  <a:pt x="264" y="114"/>
                </a:lnTo>
                <a:lnTo>
                  <a:pt x="270" y="114"/>
                </a:lnTo>
                <a:lnTo>
                  <a:pt x="264" y="114"/>
                </a:lnTo>
                <a:lnTo>
                  <a:pt x="270" y="114"/>
                </a:lnTo>
                <a:lnTo>
                  <a:pt x="264" y="114"/>
                </a:lnTo>
                <a:lnTo>
                  <a:pt x="264" y="108"/>
                </a:lnTo>
                <a:lnTo>
                  <a:pt x="264" y="114"/>
                </a:lnTo>
                <a:lnTo>
                  <a:pt x="264" y="108"/>
                </a:lnTo>
                <a:lnTo>
                  <a:pt x="258" y="108"/>
                </a:lnTo>
                <a:lnTo>
                  <a:pt x="258" y="102"/>
                </a:lnTo>
                <a:lnTo>
                  <a:pt x="258" y="96"/>
                </a:lnTo>
                <a:lnTo>
                  <a:pt x="264" y="96"/>
                </a:lnTo>
                <a:lnTo>
                  <a:pt x="264" y="102"/>
                </a:lnTo>
                <a:lnTo>
                  <a:pt x="264" y="96"/>
                </a:lnTo>
                <a:lnTo>
                  <a:pt x="258" y="96"/>
                </a:lnTo>
                <a:lnTo>
                  <a:pt x="258" y="90"/>
                </a:lnTo>
                <a:lnTo>
                  <a:pt x="264" y="90"/>
                </a:lnTo>
                <a:lnTo>
                  <a:pt x="264" y="84"/>
                </a:lnTo>
                <a:lnTo>
                  <a:pt x="264" y="90"/>
                </a:lnTo>
                <a:lnTo>
                  <a:pt x="270" y="90"/>
                </a:lnTo>
                <a:lnTo>
                  <a:pt x="270" y="96"/>
                </a:lnTo>
                <a:lnTo>
                  <a:pt x="270" y="90"/>
                </a:lnTo>
                <a:lnTo>
                  <a:pt x="276" y="90"/>
                </a:lnTo>
                <a:lnTo>
                  <a:pt x="276" y="96"/>
                </a:lnTo>
                <a:lnTo>
                  <a:pt x="276" y="102"/>
                </a:lnTo>
                <a:lnTo>
                  <a:pt x="282" y="102"/>
                </a:lnTo>
                <a:lnTo>
                  <a:pt x="288" y="102"/>
                </a:lnTo>
                <a:lnTo>
                  <a:pt x="282" y="102"/>
                </a:lnTo>
                <a:lnTo>
                  <a:pt x="282" y="96"/>
                </a:lnTo>
                <a:lnTo>
                  <a:pt x="288" y="96"/>
                </a:lnTo>
                <a:lnTo>
                  <a:pt x="282" y="96"/>
                </a:lnTo>
                <a:lnTo>
                  <a:pt x="288" y="90"/>
                </a:lnTo>
                <a:lnTo>
                  <a:pt x="288" y="96"/>
                </a:lnTo>
                <a:lnTo>
                  <a:pt x="288" y="90"/>
                </a:lnTo>
                <a:lnTo>
                  <a:pt x="282" y="90"/>
                </a:lnTo>
                <a:lnTo>
                  <a:pt x="288" y="90"/>
                </a:lnTo>
                <a:lnTo>
                  <a:pt x="294" y="90"/>
                </a:lnTo>
                <a:lnTo>
                  <a:pt x="288" y="90"/>
                </a:lnTo>
                <a:lnTo>
                  <a:pt x="294" y="90"/>
                </a:lnTo>
                <a:lnTo>
                  <a:pt x="294" y="84"/>
                </a:lnTo>
                <a:lnTo>
                  <a:pt x="294" y="90"/>
                </a:lnTo>
                <a:lnTo>
                  <a:pt x="294" y="84"/>
                </a:lnTo>
                <a:lnTo>
                  <a:pt x="294" y="90"/>
                </a:lnTo>
                <a:lnTo>
                  <a:pt x="300" y="90"/>
                </a:lnTo>
                <a:lnTo>
                  <a:pt x="294" y="90"/>
                </a:lnTo>
                <a:lnTo>
                  <a:pt x="294" y="84"/>
                </a:lnTo>
                <a:lnTo>
                  <a:pt x="294" y="78"/>
                </a:lnTo>
                <a:lnTo>
                  <a:pt x="294" y="84"/>
                </a:lnTo>
                <a:lnTo>
                  <a:pt x="300" y="84"/>
                </a:lnTo>
                <a:lnTo>
                  <a:pt x="306" y="84"/>
                </a:lnTo>
                <a:lnTo>
                  <a:pt x="306" y="78"/>
                </a:lnTo>
                <a:lnTo>
                  <a:pt x="306" y="84"/>
                </a:lnTo>
                <a:lnTo>
                  <a:pt x="312" y="78"/>
                </a:lnTo>
                <a:lnTo>
                  <a:pt x="306" y="78"/>
                </a:lnTo>
                <a:lnTo>
                  <a:pt x="312" y="78"/>
                </a:lnTo>
                <a:lnTo>
                  <a:pt x="312" y="72"/>
                </a:lnTo>
                <a:lnTo>
                  <a:pt x="312" y="66"/>
                </a:lnTo>
                <a:lnTo>
                  <a:pt x="312" y="60"/>
                </a:lnTo>
                <a:lnTo>
                  <a:pt x="312" y="66"/>
                </a:lnTo>
                <a:lnTo>
                  <a:pt x="312" y="60"/>
                </a:lnTo>
                <a:lnTo>
                  <a:pt x="318" y="60"/>
                </a:lnTo>
                <a:lnTo>
                  <a:pt x="312" y="60"/>
                </a:lnTo>
                <a:lnTo>
                  <a:pt x="318" y="60"/>
                </a:lnTo>
                <a:lnTo>
                  <a:pt x="318" y="54"/>
                </a:lnTo>
                <a:lnTo>
                  <a:pt x="318" y="48"/>
                </a:lnTo>
                <a:lnTo>
                  <a:pt x="318" y="42"/>
                </a:lnTo>
                <a:lnTo>
                  <a:pt x="318" y="36"/>
                </a:lnTo>
                <a:lnTo>
                  <a:pt x="312" y="36"/>
                </a:lnTo>
                <a:lnTo>
                  <a:pt x="318" y="36"/>
                </a:lnTo>
                <a:lnTo>
                  <a:pt x="318" y="30"/>
                </a:lnTo>
                <a:lnTo>
                  <a:pt x="312" y="30"/>
                </a:lnTo>
                <a:lnTo>
                  <a:pt x="312" y="24"/>
                </a:lnTo>
                <a:lnTo>
                  <a:pt x="306" y="24"/>
                </a:lnTo>
                <a:lnTo>
                  <a:pt x="312" y="24"/>
                </a:lnTo>
                <a:lnTo>
                  <a:pt x="318" y="24"/>
                </a:lnTo>
                <a:lnTo>
                  <a:pt x="318" y="30"/>
                </a:lnTo>
                <a:lnTo>
                  <a:pt x="318" y="24"/>
                </a:lnTo>
                <a:lnTo>
                  <a:pt x="318" y="18"/>
                </a:lnTo>
                <a:lnTo>
                  <a:pt x="324" y="24"/>
                </a:lnTo>
                <a:lnTo>
                  <a:pt x="324" y="18"/>
                </a:lnTo>
                <a:lnTo>
                  <a:pt x="318" y="18"/>
                </a:lnTo>
                <a:lnTo>
                  <a:pt x="324" y="18"/>
                </a:lnTo>
                <a:lnTo>
                  <a:pt x="330" y="18"/>
                </a:lnTo>
                <a:lnTo>
                  <a:pt x="324" y="18"/>
                </a:lnTo>
                <a:lnTo>
                  <a:pt x="330" y="12"/>
                </a:lnTo>
                <a:lnTo>
                  <a:pt x="330" y="18"/>
                </a:lnTo>
                <a:lnTo>
                  <a:pt x="330" y="12"/>
                </a:lnTo>
                <a:lnTo>
                  <a:pt x="330" y="18"/>
                </a:lnTo>
                <a:lnTo>
                  <a:pt x="330" y="12"/>
                </a:lnTo>
                <a:lnTo>
                  <a:pt x="330" y="6"/>
                </a:lnTo>
                <a:lnTo>
                  <a:pt x="324" y="6"/>
                </a:lnTo>
                <a:lnTo>
                  <a:pt x="330" y="6"/>
                </a:lnTo>
                <a:lnTo>
                  <a:pt x="336" y="6"/>
                </a:lnTo>
                <a:lnTo>
                  <a:pt x="330" y="6"/>
                </a:lnTo>
                <a:lnTo>
                  <a:pt x="336" y="6"/>
                </a:lnTo>
                <a:lnTo>
                  <a:pt x="330" y="6"/>
                </a:lnTo>
                <a:lnTo>
                  <a:pt x="336" y="6"/>
                </a:lnTo>
                <a:lnTo>
                  <a:pt x="330" y="6"/>
                </a:lnTo>
                <a:lnTo>
                  <a:pt x="336" y="0"/>
                </a:lnTo>
                <a:lnTo>
                  <a:pt x="330" y="0"/>
                </a:lnTo>
                <a:lnTo>
                  <a:pt x="330" y="6"/>
                </a:lnTo>
                <a:lnTo>
                  <a:pt x="330" y="0"/>
                </a:lnTo>
                <a:lnTo>
                  <a:pt x="336" y="0"/>
                </a:lnTo>
                <a:lnTo>
                  <a:pt x="330" y="0"/>
                </a:lnTo>
                <a:lnTo>
                  <a:pt x="336" y="0"/>
                </a:lnTo>
                <a:lnTo>
                  <a:pt x="342" y="0"/>
                </a:lnTo>
                <a:lnTo>
                  <a:pt x="342" y="6"/>
                </a:lnTo>
                <a:lnTo>
                  <a:pt x="342" y="12"/>
                </a:lnTo>
                <a:lnTo>
                  <a:pt x="336" y="12"/>
                </a:lnTo>
                <a:lnTo>
                  <a:pt x="342" y="12"/>
                </a:lnTo>
                <a:lnTo>
                  <a:pt x="336" y="12"/>
                </a:lnTo>
                <a:lnTo>
                  <a:pt x="342" y="12"/>
                </a:lnTo>
                <a:lnTo>
                  <a:pt x="336" y="12"/>
                </a:lnTo>
                <a:lnTo>
                  <a:pt x="336" y="6"/>
                </a:lnTo>
                <a:lnTo>
                  <a:pt x="336" y="12"/>
                </a:lnTo>
                <a:lnTo>
                  <a:pt x="336" y="18"/>
                </a:lnTo>
                <a:lnTo>
                  <a:pt x="336" y="12"/>
                </a:lnTo>
                <a:lnTo>
                  <a:pt x="336" y="18"/>
                </a:lnTo>
                <a:lnTo>
                  <a:pt x="342" y="18"/>
                </a:lnTo>
                <a:lnTo>
                  <a:pt x="342" y="12"/>
                </a:lnTo>
                <a:lnTo>
                  <a:pt x="342" y="18"/>
                </a:lnTo>
                <a:lnTo>
                  <a:pt x="348" y="18"/>
                </a:lnTo>
                <a:lnTo>
                  <a:pt x="342" y="18"/>
                </a:lnTo>
                <a:lnTo>
                  <a:pt x="348" y="18"/>
                </a:lnTo>
                <a:lnTo>
                  <a:pt x="348" y="24"/>
                </a:lnTo>
                <a:lnTo>
                  <a:pt x="348" y="18"/>
                </a:lnTo>
                <a:lnTo>
                  <a:pt x="354" y="18"/>
                </a:lnTo>
                <a:lnTo>
                  <a:pt x="354" y="24"/>
                </a:lnTo>
                <a:lnTo>
                  <a:pt x="348" y="24"/>
                </a:lnTo>
                <a:lnTo>
                  <a:pt x="354" y="24"/>
                </a:lnTo>
                <a:lnTo>
                  <a:pt x="354" y="30"/>
                </a:lnTo>
                <a:lnTo>
                  <a:pt x="354" y="36"/>
                </a:lnTo>
                <a:lnTo>
                  <a:pt x="360" y="42"/>
                </a:lnTo>
                <a:lnTo>
                  <a:pt x="360" y="48"/>
                </a:lnTo>
                <a:lnTo>
                  <a:pt x="360" y="42"/>
                </a:lnTo>
                <a:lnTo>
                  <a:pt x="366" y="42"/>
                </a:lnTo>
                <a:lnTo>
                  <a:pt x="366" y="48"/>
                </a:lnTo>
                <a:lnTo>
                  <a:pt x="366" y="54"/>
                </a:lnTo>
                <a:lnTo>
                  <a:pt x="372" y="48"/>
                </a:lnTo>
                <a:lnTo>
                  <a:pt x="372" y="54"/>
                </a:lnTo>
                <a:lnTo>
                  <a:pt x="366" y="54"/>
                </a:lnTo>
                <a:lnTo>
                  <a:pt x="372" y="54"/>
                </a:lnTo>
                <a:lnTo>
                  <a:pt x="372" y="60"/>
                </a:lnTo>
                <a:lnTo>
                  <a:pt x="372" y="66"/>
                </a:lnTo>
                <a:lnTo>
                  <a:pt x="372" y="72"/>
                </a:lnTo>
                <a:lnTo>
                  <a:pt x="378" y="72"/>
                </a:lnTo>
                <a:lnTo>
                  <a:pt x="378" y="78"/>
                </a:lnTo>
                <a:lnTo>
                  <a:pt x="378" y="84"/>
                </a:lnTo>
                <a:lnTo>
                  <a:pt x="378" y="90"/>
                </a:lnTo>
                <a:lnTo>
                  <a:pt x="384" y="90"/>
                </a:lnTo>
                <a:lnTo>
                  <a:pt x="384" y="96"/>
                </a:lnTo>
                <a:lnTo>
                  <a:pt x="384" y="102"/>
                </a:lnTo>
                <a:lnTo>
                  <a:pt x="384" y="108"/>
                </a:lnTo>
                <a:lnTo>
                  <a:pt x="384" y="114"/>
                </a:lnTo>
                <a:lnTo>
                  <a:pt x="384" y="120"/>
                </a:lnTo>
                <a:lnTo>
                  <a:pt x="390" y="120"/>
                </a:lnTo>
                <a:lnTo>
                  <a:pt x="384" y="120"/>
                </a:lnTo>
                <a:lnTo>
                  <a:pt x="384" y="126"/>
                </a:lnTo>
                <a:lnTo>
                  <a:pt x="384" y="120"/>
                </a:lnTo>
                <a:lnTo>
                  <a:pt x="384" y="126"/>
                </a:lnTo>
                <a:lnTo>
                  <a:pt x="390" y="132"/>
                </a:lnTo>
                <a:lnTo>
                  <a:pt x="390" y="138"/>
                </a:lnTo>
                <a:lnTo>
                  <a:pt x="384" y="138"/>
                </a:lnTo>
                <a:lnTo>
                  <a:pt x="390" y="138"/>
                </a:lnTo>
                <a:lnTo>
                  <a:pt x="390" y="144"/>
                </a:lnTo>
                <a:lnTo>
                  <a:pt x="390" y="150"/>
                </a:lnTo>
                <a:lnTo>
                  <a:pt x="390" y="156"/>
                </a:lnTo>
                <a:lnTo>
                  <a:pt x="390" y="162"/>
                </a:lnTo>
                <a:lnTo>
                  <a:pt x="390" y="168"/>
                </a:lnTo>
                <a:lnTo>
                  <a:pt x="396" y="168"/>
                </a:lnTo>
                <a:lnTo>
                  <a:pt x="396" y="174"/>
                </a:lnTo>
                <a:lnTo>
                  <a:pt x="396" y="180"/>
                </a:lnTo>
                <a:lnTo>
                  <a:pt x="402" y="180"/>
                </a:lnTo>
                <a:lnTo>
                  <a:pt x="402" y="186"/>
                </a:lnTo>
                <a:lnTo>
                  <a:pt x="402" y="192"/>
                </a:lnTo>
                <a:lnTo>
                  <a:pt x="402" y="198"/>
                </a:lnTo>
                <a:lnTo>
                  <a:pt x="402" y="204"/>
                </a:lnTo>
                <a:lnTo>
                  <a:pt x="402" y="210"/>
                </a:lnTo>
                <a:lnTo>
                  <a:pt x="396" y="210"/>
                </a:lnTo>
                <a:lnTo>
                  <a:pt x="396" y="216"/>
                </a:lnTo>
                <a:lnTo>
                  <a:pt x="396" y="222"/>
                </a:lnTo>
                <a:lnTo>
                  <a:pt x="396" y="216"/>
                </a:lnTo>
                <a:lnTo>
                  <a:pt x="396" y="222"/>
                </a:lnTo>
                <a:lnTo>
                  <a:pt x="390" y="222"/>
                </a:lnTo>
                <a:lnTo>
                  <a:pt x="390" y="228"/>
                </a:lnTo>
                <a:lnTo>
                  <a:pt x="384" y="228"/>
                </a:lnTo>
                <a:lnTo>
                  <a:pt x="384" y="222"/>
                </a:lnTo>
                <a:lnTo>
                  <a:pt x="378" y="222"/>
                </a:lnTo>
                <a:lnTo>
                  <a:pt x="378" y="216"/>
                </a:lnTo>
                <a:lnTo>
                  <a:pt x="378" y="210"/>
                </a:lnTo>
                <a:lnTo>
                  <a:pt x="372" y="210"/>
                </a:lnTo>
                <a:lnTo>
                  <a:pt x="372" y="204"/>
                </a:lnTo>
                <a:lnTo>
                  <a:pt x="372" y="198"/>
                </a:lnTo>
                <a:lnTo>
                  <a:pt x="366" y="198"/>
                </a:lnTo>
                <a:lnTo>
                  <a:pt x="360" y="198"/>
                </a:lnTo>
                <a:lnTo>
                  <a:pt x="360" y="204"/>
                </a:lnTo>
                <a:lnTo>
                  <a:pt x="354" y="204"/>
                </a:lnTo>
                <a:lnTo>
                  <a:pt x="360" y="210"/>
                </a:lnTo>
                <a:lnTo>
                  <a:pt x="360" y="204"/>
                </a:lnTo>
                <a:lnTo>
                  <a:pt x="360" y="210"/>
                </a:lnTo>
                <a:lnTo>
                  <a:pt x="360" y="216"/>
                </a:lnTo>
                <a:lnTo>
                  <a:pt x="360" y="222"/>
                </a:lnTo>
                <a:lnTo>
                  <a:pt x="360" y="228"/>
                </a:lnTo>
                <a:lnTo>
                  <a:pt x="360" y="234"/>
                </a:lnTo>
                <a:lnTo>
                  <a:pt x="360" y="240"/>
                </a:lnTo>
                <a:lnTo>
                  <a:pt x="366" y="240"/>
                </a:lnTo>
                <a:lnTo>
                  <a:pt x="372" y="240"/>
                </a:lnTo>
                <a:lnTo>
                  <a:pt x="372" y="246"/>
                </a:lnTo>
                <a:lnTo>
                  <a:pt x="366" y="246"/>
                </a:lnTo>
                <a:lnTo>
                  <a:pt x="366" y="252"/>
                </a:lnTo>
                <a:lnTo>
                  <a:pt x="366" y="258"/>
                </a:lnTo>
                <a:lnTo>
                  <a:pt x="372" y="258"/>
                </a:lnTo>
                <a:lnTo>
                  <a:pt x="366" y="258"/>
                </a:lnTo>
                <a:lnTo>
                  <a:pt x="372" y="258"/>
                </a:lnTo>
                <a:lnTo>
                  <a:pt x="366" y="264"/>
                </a:lnTo>
                <a:lnTo>
                  <a:pt x="366" y="270"/>
                </a:lnTo>
                <a:lnTo>
                  <a:pt x="360" y="270"/>
                </a:lnTo>
                <a:lnTo>
                  <a:pt x="360" y="276"/>
                </a:lnTo>
                <a:lnTo>
                  <a:pt x="366" y="276"/>
                </a:lnTo>
                <a:lnTo>
                  <a:pt x="366" y="282"/>
                </a:lnTo>
                <a:lnTo>
                  <a:pt x="360" y="282"/>
                </a:lnTo>
                <a:lnTo>
                  <a:pt x="354" y="282"/>
                </a:lnTo>
                <a:lnTo>
                  <a:pt x="354" y="288"/>
                </a:lnTo>
                <a:lnTo>
                  <a:pt x="354" y="294"/>
                </a:lnTo>
                <a:lnTo>
                  <a:pt x="348" y="294"/>
                </a:lnTo>
                <a:lnTo>
                  <a:pt x="348" y="300"/>
                </a:lnTo>
                <a:lnTo>
                  <a:pt x="348" y="306"/>
                </a:lnTo>
                <a:lnTo>
                  <a:pt x="348" y="312"/>
                </a:lnTo>
                <a:lnTo>
                  <a:pt x="348" y="318"/>
                </a:lnTo>
                <a:lnTo>
                  <a:pt x="348" y="324"/>
                </a:lnTo>
                <a:lnTo>
                  <a:pt x="348" y="330"/>
                </a:lnTo>
                <a:lnTo>
                  <a:pt x="354" y="330"/>
                </a:lnTo>
                <a:lnTo>
                  <a:pt x="348" y="330"/>
                </a:lnTo>
                <a:lnTo>
                  <a:pt x="348" y="336"/>
                </a:lnTo>
                <a:lnTo>
                  <a:pt x="348" y="342"/>
                </a:lnTo>
                <a:lnTo>
                  <a:pt x="348" y="348"/>
                </a:lnTo>
                <a:lnTo>
                  <a:pt x="342" y="348"/>
                </a:lnTo>
                <a:lnTo>
                  <a:pt x="342" y="354"/>
                </a:lnTo>
                <a:lnTo>
                  <a:pt x="348" y="354"/>
                </a:lnTo>
                <a:lnTo>
                  <a:pt x="342" y="354"/>
                </a:lnTo>
                <a:lnTo>
                  <a:pt x="342" y="360"/>
                </a:lnTo>
                <a:lnTo>
                  <a:pt x="342" y="366"/>
                </a:lnTo>
                <a:lnTo>
                  <a:pt x="342" y="372"/>
                </a:lnTo>
                <a:lnTo>
                  <a:pt x="336" y="378"/>
                </a:lnTo>
                <a:lnTo>
                  <a:pt x="336" y="384"/>
                </a:lnTo>
                <a:lnTo>
                  <a:pt x="336" y="390"/>
                </a:lnTo>
                <a:lnTo>
                  <a:pt x="330" y="390"/>
                </a:lnTo>
                <a:lnTo>
                  <a:pt x="330" y="396"/>
                </a:lnTo>
                <a:lnTo>
                  <a:pt x="330" y="402"/>
                </a:lnTo>
                <a:lnTo>
                  <a:pt x="324" y="408"/>
                </a:lnTo>
                <a:lnTo>
                  <a:pt x="324" y="414"/>
                </a:lnTo>
                <a:lnTo>
                  <a:pt x="324" y="420"/>
                </a:lnTo>
                <a:lnTo>
                  <a:pt x="324" y="426"/>
                </a:lnTo>
                <a:lnTo>
                  <a:pt x="318" y="426"/>
                </a:lnTo>
                <a:lnTo>
                  <a:pt x="318" y="432"/>
                </a:lnTo>
                <a:lnTo>
                  <a:pt x="318" y="438"/>
                </a:lnTo>
                <a:lnTo>
                  <a:pt x="312" y="444"/>
                </a:lnTo>
                <a:lnTo>
                  <a:pt x="312" y="450"/>
                </a:lnTo>
                <a:lnTo>
                  <a:pt x="312" y="456"/>
                </a:lnTo>
                <a:lnTo>
                  <a:pt x="312" y="462"/>
                </a:lnTo>
                <a:lnTo>
                  <a:pt x="312" y="468"/>
                </a:lnTo>
                <a:lnTo>
                  <a:pt x="306" y="468"/>
                </a:lnTo>
                <a:lnTo>
                  <a:pt x="306" y="474"/>
                </a:lnTo>
                <a:lnTo>
                  <a:pt x="306" y="480"/>
                </a:lnTo>
                <a:lnTo>
                  <a:pt x="300" y="480"/>
                </a:lnTo>
                <a:lnTo>
                  <a:pt x="300" y="486"/>
                </a:lnTo>
                <a:lnTo>
                  <a:pt x="300" y="492"/>
                </a:lnTo>
                <a:lnTo>
                  <a:pt x="300" y="498"/>
                </a:lnTo>
                <a:lnTo>
                  <a:pt x="294" y="498"/>
                </a:lnTo>
                <a:lnTo>
                  <a:pt x="294" y="504"/>
                </a:lnTo>
                <a:lnTo>
                  <a:pt x="294" y="510"/>
                </a:lnTo>
                <a:lnTo>
                  <a:pt x="294" y="516"/>
                </a:lnTo>
                <a:lnTo>
                  <a:pt x="294" y="522"/>
                </a:lnTo>
                <a:lnTo>
                  <a:pt x="288" y="528"/>
                </a:lnTo>
                <a:lnTo>
                  <a:pt x="288" y="534"/>
                </a:lnTo>
                <a:lnTo>
                  <a:pt x="288" y="540"/>
                </a:lnTo>
                <a:lnTo>
                  <a:pt x="282" y="546"/>
                </a:lnTo>
                <a:lnTo>
                  <a:pt x="282" y="552"/>
                </a:lnTo>
                <a:lnTo>
                  <a:pt x="282" y="558"/>
                </a:lnTo>
                <a:lnTo>
                  <a:pt x="282" y="564"/>
                </a:lnTo>
                <a:lnTo>
                  <a:pt x="276" y="564"/>
                </a:lnTo>
                <a:lnTo>
                  <a:pt x="276" y="570"/>
                </a:lnTo>
                <a:lnTo>
                  <a:pt x="276" y="576"/>
                </a:lnTo>
                <a:lnTo>
                  <a:pt x="270" y="582"/>
                </a:lnTo>
                <a:lnTo>
                  <a:pt x="270" y="588"/>
                </a:lnTo>
                <a:lnTo>
                  <a:pt x="270" y="594"/>
                </a:lnTo>
                <a:lnTo>
                  <a:pt x="264" y="594"/>
                </a:lnTo>
                <a:lnTo>
                  <a:pt x="264" y="600"/>
                </a:lnTo>
                <a:lnTo>
                  <a:pt x="264" y="606"/>
                </a:lnTo>
                <a:lnTo>
                  <a:pt x="264" y="612"/>
                </a:lnTo>
                <a:lnTo>
                  <a:pt x="258" y="612"/>
                </a:lnTo>
                <a:lnTo>
                  <a:pt x="258" y="618"/>
                </a:lnTo>
                <a:lnTo>
                  <a:pt x="258" y="624"/>
                </a:lnTo>
                <a:lnTo>
                  <a:pt x="258" y="630"/>
                </a:lnTo>
                <a:lnTo>
                  <a:pt x="258" y="636"/>
                </a:lnTo>
                <a:lnTo>
                  <a:pt x="258" y="642"/>
                </a:lnTo>
                <a:lnTo>
                  <a:pt x="252" y="648"/>
                </a:lnTo>
                <a:lnTo>
                  <a:pt x="252" y="654"/>
                </a:lnTo>
                <a:lnTo>
                  <a:pt x="252" y="660"/>
                </a:lnTo>
                <a:lnTo>
                  <a:pt x="252" y="666"/>
                </a:lnTo>
                <a:lnTo>
                  <a:pt x="246" y="672"/>
                </a:lnTo>
                <a:lnTo>
                  <a:pt x="246" y="678"/>
                </a:lnTo>
                <a:lnTo>
                  <a:pt x="246" y="684"/>
                </a:lnTo>
                <a:lnTo>
                  <a:pt x="246" y="690"/>
                </a:lnTo>
                <a:lnTo>
                  <a:pt x="240" y="690"/>
                </a:lnTo>
                <a:lnTo>
                  <a:pt x="240" y="696"/>
                </a:lnTo>
                <a:lnTo>
                  <a:pt x="240" y="690"/>
                </a:lnTo>
                <a:lnTo>
                  <a:pt x="246" y="696"/>
                </a:lnTo>
                <a:lnTo>
                  <a:pt x="240" y="696"/>
                </a:lnTo>
                <a:lnTo>
                  <a:pt x="240" y="702"/>
                </a:lnTo>
                <a:lnTo>
                  <a:pt x="240" y="708"/>
                </a:lnTo>
                <a:lnTo>
                  <a:pt x="234" y="708"/>
                </a:lnTo>
                <a:lnTo>
                  <a:pt x="234" y="714"/>
                </a:lnTo>
                <a:lnTo>
                  <a:pt x="234" y="720"/>
                </a:lnTo>
                <a:lnTo>
                  <a:pt x="228" y="720"/>
                </a:lnTo>
                <a:lnTo>
                  <a:pt x="228" y="726"/>
                </a:lnTo>
                <a:lnTo>
                  <a:pt x="228" y="732"/>
                </a:lnTo>
                <a:lnTo>
                  <a:pt x="228" y="738"/>
                </a:lnTo>
                <a:lnTo>
                  <a:pt x="222" y="744"/>
                </a:lnTo>
                <a:lnTo>
                  <a:pt x="222" y="750"/>
                </a:lnTo>
                <a:lnTo>
                  <a:pt x="222" y="756"/>
                </a:lnTo>
                <a:lnTo>
                  <a:pt x="216" y="756"/>
                </a:lnTo>
                <a:lnTo>
                  <a:pt x="216" y="762"/>
                </a:lnTo>
                <a:lnTo>
                  <a:pt x="216" y="768"/>
                </a:lnTo>
                <a:lnTo>
                  <a:pt x="216" y="762"/>
                </a:lnTo>
                <a:lnTo>
                  <a:pt x="210" y="762"/>
                </a:lnTo>
                <a:lnTo>
                  <a:pt x="210" y="768"/>
                </a:lnTo>
                <a:lnTo>
                  <a:pt x="204" y="768"/>
                </a:lnTo>
                <a:lnTo>
                  <a:pt x="204" y="774"/>
                </a:lnTo>
                <a:lnTo>
                  <a:pt x="198" y="774"/>
                </a:lnTo>
                <a:lnTo>
                  <a:pt x="192" y="774"/>
                </a:lnTo>
                <a:lnTo>
                  <a:pt x="192" y="780"/>
                </a:lnTo>
                <a:lnTo>
                  <a:pt x="192" y="774"/>
                </a:lnTo>
                <a:lnTo>
                  <a:pt x="192" y="780"/>
                </a:lnTo>
                <a:lnTo>
                  <a:pt x="192" y="774"/>
                </a:lnTo>
                <a:lnTo>
                  <a:pt x="186" y="774"/>
                </a:lnTo>
                <a:lnTo>
                  <a:pt x="180" y="774"/>
                </a:lnTo>
                <a:lnTo>
                  <a:pt x="174" y="774"/>
                </a:lnTo>
                <a:lnTo>
                  <a:pt x="174" y="780"/>
                </a:lnTo>
                <a:lnTo>
                  <a:pt x="168" y="780"/>
                </a:lnTo>
                <a:lnTo>
                  <a:pt x="162" y="780"/>
                </a:lnTo>
                <a:lnTo>
                  <a:pt x="156" y="786"/>
                </a:lnTo>
                <a:lnTo>
                  <a:pt x="150" y="786"/>
                </a:lnTo>
                <a:lnTo>
                  <a:pt x="144" y="792"/>
                </a:lnTo>
                <a:lnTo>
                  <a:pt x="138" y="792"/>
                </a:lnTo>
                <a:lnTo>
                  <a:pt x="138" y="798"/>
                </a:lnTo>
                <a:lnTo>
                  <a:pt x="132" y="798"/>
                </a:lnTo>
                <a:lnTo>
                  <a:pt x="126" y="804"/>
                </a:lnTo>
                <a:lnTo>
                  <a:pt x="120" y="804"/>
                </a:lnTo>
                <a:lnTo>
                  <a:pt x="114" y="804"/>
                </a:lnTo>
                <a:lnTo>
                  <a:pt x="108" y="804"/>
                </a:lnTo>
                <a:lnTo>
                  <a:pt x="108" y="798"/>
                </a:lnTo>
                <a:lnTo>
                  <a:pt x="102" y="798"/>
                </a:lnTo>
                <a:lnTo>
                  <a:pt x="96" y="798"/>
                </a:lnTo>
                <a:lnTo>
                  <a:pt x="96" y="792"/>
                </a:lnTo>
                <a:lnTo>
                  <a:pt x="90" y="786"/>
                </a:lnTo>
                <a:lnTo>
                  <a:pt x="84" y="786"/>
                </a:lnTo>
                <a:lnTo>
                  <a:pt x="78" y="786"/>
                </a:lnTo>
                <a:lnTo>
                  <a:pt x="72" y="786"/>
                </a:lnTo>
                <a:lnTo>
                  <a:pt x="72" y="780"/>
                </a:lnTo>
                <a:lnTo>
                  <a:pt x="72" y="786"/>
                </a:lnTo>
                <a:lnTo>
                  <a:pt x="72" y="780"/>
                </a:lnTo>
                <a:lnTo>
                  <a:pt x="66" y="780"/>
                </a:lnTo>
                <a:lnTo>
                  <a:pt x="60" y="780"/>
                </a:lnTo>
                <a:lnTo>
                  <a:pt x="60" y="774"/>
                </a:lnTo>
                <a:lnTo>
                  <a:pt x="54" y="774"/>
                </a:lnTo>
                <a:lnTo>
                  <a:pt x="54" y="768"/>
                </a:lnTo>
                <a:lnTo>
                  <a:pt x="48" y="768"/>
                </a:lnTo>
                <a:lnTo>
                  <a:pt x="48" y="762"/>
                </a:lnTo>
                <a:lnTo>
                  <a:pt x="42" y="762"/>
                </a:lnTo>
                <a:lnTo>
                  <a:pt x="42" y="756"/>
                </a:lnTo>
                <a:lnTo>
                  <a:pt x="42" y="750"/>
                </a:lnTo>
                <a:lnTo>
                  <a:pt x="42" y="744"/>
                </a:lnTo>
                <a:lnTo>
                  <a:pt x="36" y="738"/>
                </a:lnTo>
                <a:lnTo>
                  <a:pt x="36" y="732"/>
                </a:lnTo>
                <a:lnTo>
                  <a:pt x="30" y="732"/>
                </a:lnTo>
                <a:lnTo>
                  <a:pt x="24" y="726"/>
                </a:lnTo>
                <a:lnTo>
                  <a:pt x="24" y="720"/>
                </a:lnTo>
                <a:lnTo>
                  <a:pt x="24" y="714"/>
                </a:lnTo>
                <a:lnTo>
                  <a:pt x="24" y="708"/>
                </a:lnTo>
                <a:lnTo>
                  <a:pt x="24" y="702"/>
                </a:lnTo>
                <a:lnTo>
                  <a:pt x="24" y="696"/>
                </a:lnTo>
                <a:lnTo>
                  <a:pt x="24" y="690"/>
                </a:lnTo>
                <a:lnTo>
                  <a:pt x="24" y="684"/>
                </a:lnTo>
                <a:lnTo>
                  <a:pt x="24" y="678"/>
                </a:lnTo>
                <a:lnTo>
                  <a:pt x="30" y="678"/>
                </a:lnTo>
                <a:lnTo>
                  <a:pt x="30" y="672"/>
                </a:lnTo>
                <a:lnTo>
                  <a:pt x="30" y="678"/>
                </a:lnTo>
                <a:lnTo>
                  <a:pt x="30" y="672"/>
                </a:lnTo>
                <a:lnTo>
                  <a:pt x="30" y="666"/>
                </a:lnTo>
                <a:lnTo>
                  <a:pt x="24" y="666"/>
                </a:lnTo>
                <a:lnTo>
                  <a:pt x="24" y="660"/>
                </a:lnTo>
                <a:lnTo>
                  <a:pt x="24" y="654"/>
                </a:lnTo>
                <a:lnTo>
                  <a:pt x="24" y="648"/>
                </a:lnTo>
                <a:lnTo>
                  <a:pt x="18" y="648"/>
                </a:lnTo>
                <a:lnTo>
                  <a:pt x="18" y="642"/>
                </a:lnTo>
                <a:lnTo>
                  <a:pt x="12" y="642"/>
                </a:lnTo>
                <a:lnTo>
                  <a:pt x="12" y="636"/>
                </a:lnTo>
                <a:lnTo>
                  <a:pt x="6" y="636"/>
                </a:lnTo>
                <a:lnTo>
                  <a:pt x="6" y="630"/>
                </a:lnTo>
                <a:lnTo>
                  <a:pt x="6" y="624"/>
                </a:lnTo>
                <a:lnTo>
                  <a:pt x="6" y="618"/>
                </a:lnTo>
                <a:lnTo>
                  <a:pt x="6" y="612"/>
                </a:lnTo>
                <a:lnTo>
                  <a:pt x="0" y="606"/>
                </a:lnTo>
                <a:lnTo>
                  <a:pt x="0" y="600"/>
                </a:lnTo>
                <a:close/>
                <a:moveTo>
                  <a:pt x="276" y="72"/>
                </a:moveTo>
                <a:lnTo>
                  <a:pt x="282" y="72"/>
                </a:lnTo>
                <a:lnTo>
                  <a:pt x="282" y="66"/>
                </a:lnTo>
                <a:lnTo>
                  <a:pt x="282" y="72"/>
                </a:lnTo>
                <a:lnTo>
                  <a:pt x="282" y="66"/>
                </a:lnTo>
                <a:lnTo>
                  <a:pt x="282" y="72"/>
                </a:lnTo>
                <a:lnTo>
                  <a:pt x="282" y="78"/>
                </a:lnTo>
                <a:lnTo>
                  <a:pt x="288" y="78"/>
                </a:lnTo>
                <a:lnTo>
                  <a:pt x="282" y="78"/>
                </a:lnTo>
                <a:lnTo>
                  <a:pt x="288" y="78"/>
                </a:lnTo>
                <a:lnTo>
                  <a:pt x="282" y="84"/>
                </a:lnTo>
                <a:lnTo>
                  <a:pt x="282" y="78"/>
                </a:lnTo>
                <a:lnTo>
                  <a:pt x="282" y="84"/>
                </a:lnTo>
                <a:lnTo>
                  <a:pt x="282" y="78"/>
                </a:lnTo>
                <a:lnTo>
                  <a:pt x="276" y="78"/>
                </a:lnTo>
                <a:lnTo>
                  <a:pt x="276" y="72"/>
                </a:lnTo>
                <a:close/>
                <a:moveTo>
                  <a:pt x="366" y="294"/>
                </a:moveTo>
                <a:lnTo>
                  <a:pt x="366" y="288"/>
                </a:lnTo>
                <a:lnTo>
                  <a:pt x="372" y="288"/>
                </a:lnTo>
                <a:lnTo>
                  <a:pt x="372" y="282"/>
                </a:lnTo>
                <a:lnTo>
                  <a:pt x="372" y="276"/>
                </a:lnTo>
                <a:lnTo>
                  <a:pt x="378" y="276"/>
                </a:lnTo>
                <a:lnTo>
                  <a:pt x="378" y="270"/>
                </a:lnTo>
                <a:lnTo>
                  <a:pt x="378" y="276"/>
                </a:lnTo>
                <a:lnTo>
                  <a:pt x="378" y="282"/>
                </a:lnTo>
                <a:lnTo>
                  <a:pt x="372" y="282"/>
                </a:lnTo>
                <a:lnTo>
                  <a:pt x="372" y="288"/>
                </a:lnTo>
                <a:lnTo>
                  <a:pt x="372" y="294"/>
                </a:lnTo>
                <a:lnTo>
                  <a:pt x="366" y="294"/>
                </a:lnTo>
                <a:close/>
                <a:moveTo>
                  <a:pt x="240" y="144"/>
                </a:moveTo>
                <a:lnTo>
                  <a:pt x="246" y="144"/>
                </a:lnTo>
                <a:lnTo>
                  <a:pt x="246" y="150"/>
                </a:lnTo>
                <a:lnTo>
                  <a:pt x="240" y="150"/>
                </a:lnTo>
                <a:lnTo>
                  <a:pt x="240" y="144"/>
                </a:lnTo>
                <a:close/>
                <a:moveTo>
                  <a:pt x="294" y="48"/>
                </a:moveTo>
                <a:lnTo>
                  <a:pt x="300" y="48"/>
                </a:lnTo>
                <a:lnTo>
                  <a:pt x="300" y="54"/>
                </a:lnTo>
                <a:lnTo>
                  <a:pt x="294" y="54"/>
                </a:lnTo>
                <a:lnTo>
                  <a:pt x="294" y="48"/>
                </a:lnTo>
                <a:close/>
                <a:moveTo>
                  <a:pt x="282" y="84"/>
                </a:moveTo>
                <a:lnTo>
                  <a:pt x="288" y="84"/>
                </a:lnTo>
                <a:lnTo>
                  <a:pt x="282" y="84"/>
                </a:lnTo>
                <a:close/>
                <a:moveTo>
                  <a:pt x="252" y="114"/>
                </a:moveTo>
                <a:lnTo>
                  <a:pt x="258" y="114"/>
                </a:lnTo>
                <a:lnTo>
                  <a:pt x="258" y="120"/>
                </a:lnTo>
                <a:lnTo>
                  <a:pt x="252" y="120"/>
                </a:lnTo>
                <a:lnTo>
                  <a:pt x="252" y="114"/>
                </a:lnTo>
                <a:close/>
              </a:path>
            </a:pathLst>
          </a:custGeom>
          <a:solidFill>
            <a:srgbClr val="007FDE"/>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0" name="Freeform 44">
            <a:extLst>
              <a:ext uri="{FF2B5EF4-FFF2-40B4-BE49-F238E27FC236}">
                <a16:creationId xmlns:a16="http://schemas.microsoft.com/office/drawing/2014/main" id="{F6BAE883-4508-5947-9913-355866914A4C}"/>
              </a:ext>
            </a:extLst>
          </p:cNvPr>
          <p:cNvSpPr>
            <a:spLocks noEditPoints="1"/>
          </p:cNvSpPr>
          <p:nvPr>
            <p:custDataLst>
              <p:tags r:id="rId38"/>
            </p:custDataLst>
          </p:nvPr>
        </p:nvSpPr>
        <p:spPr bwMode="gray">
          <a:xfrm>
            <a:off x="5723626" y="4319196"/>
            <a:ext cx="510956" cy="446166"/>
          </a:xfrm>
          <a:custGeom>
            <a:avLst/>
            <a:gdLst>
              <a:gd name="T0" fmla="*/ 8728 w 444"/>
              <a:gd name="T1" fmla="*/ 0 h 516"/>
              <a:gd name="T2" fmla="*/ 23275 w 444"/>
              <a:gd name="T3" fmla="*/ 0 h 516"/>
              <a:gd name="T4" fmla="*/ 37821 w 444"/>
              <a:gd name="T5" fmla="*/ 0 h 516"/>
              <a:gd name="T6" fmla="*/ 46549 w 444"/>
              <a:gd name="T7" fmla="*/ 3893 h 516"/>
              <a:gd name="T8" fmla="*/ 62065 w 444"/>
              <a:gd name="T9" fmla="*/ 3893 h 516"/>
              <a:gd name="T10" fmla="*/ 72733 w 444"/>
              <a:gd name="T11" fmla="*/ 12651 h 516"/>
              <a:gd name="T12" fmla="*/ 83400 w 444"/>
              <a:gd name="T13" fmla="*/ 19463 h 516"/>
              <a:gd name="T14" fmla="*/ 96007 w 444"/>
              <a:gd name="T15" fmla="*/ 21410 h 516"/>
              <a:gd name="T16" fmla="*/ 106675 w 444"/>
              <a:gd name="T17" fmla="*/ 21410 h 516"/>
              <a:gd name="T18" fmla="*/ 115403 w 444"/>
              <a:gd name="T19" fmla="*/ 17517 h 516"/>
              <a:gd name="T20" fmla="*/ 128010 w 444"/>
              <a:gd name="T21" fmla="*/ 10704 h 516"/>
              <a:gd name="T22" fmla="*/ 136738 w 444"/>
              <a:gd name="T23" fmla="*/ 8758 h 516"/>
              <a:gd name="T24" fmla="*/ 147405 w 444"/>
              <a:gd name="T25" fmla="*/ 12651 h 516"/>
              <a:gd name="T26" fmla="*/ 156134 w 444"/>
              <a:gd name="T27" fmla="*/ 17517 h 516"/>
              <a:gd name="T28" fmla="*/ 147405 w 444"/>
              <a:gd name="T29" fmla="*/ 30168 h 516"/>
              <a:gd name="T30" fmla="*/ 138677 w 444"/>
              <a:gd name="T31" fmla="*/ 44765 h 516"/>
              <a:gd name="T32" fmla="*/ 138677 w 444"/>
              <a:gd name="T33" fmla="*/ 60335 h 516"/>
              <a:gd name="T34" fmla="*/ 138677 w 444"/>
              <a:gd name="T35" fmla="*/ 74933 h 516"/>
              <a:gd name="T36" fmla="*/ 138677 w 444"/>
              <a:gd name="T37" fmla="*/ 90503 h 516"/>
              <a:gd name="T38" fmla="*/ 138677 w 444"/>
              <a:gd name="T39" fmla="*/ 105100 h 516"/>
              <a:gd name="T40" fmla="*/ 147405 w 444"/>
              <a:gd name="T41" fmla="*/ 117751 h 516"/>
              <a:gd name="T42" fmla="*/ 147405 w 444"/>
              <a:gd name="T43" fmla="*/ 128456 h 516"/>
              <a:gd name="T44" fmla="*/ 138677 w 444"/>
              <a:gd name="T45" fmla="*/ 131375 h 516"/>
              <a:gd name="T46" fmla="*/ 138677 w 444"/>
              <a:gd name="T47" fmla="*/ 131375 h 516"/>
              <a:gd name="T48" fmla="*/ 138677 w 444"/>
              <a:gd name="T49" fmla="*/ 137214 h 516"/>
              <a:gd name="T50" fmla="*/ 134799 w 444"/>
              <a:gd name="T51" fmla="*/ 137214 h 516"/>
              <a:gd name="T52" fmla="*/ 128010 w 444"/>
              <a:gd name="T53" fmla="*/ 142080 h 516"/>
              <a:gd name="T54" fmla="*/ 124131 w 444"/>
              <a:gd name="T55" fmla="*/ 152785 h 516"/>
              <a:gd name="T56" fmla="*/ 120252 w 444"/>
              <a:gd name="T57" fmla="*/ 158623 h 516"/>
              <a:gd name="T58" fmla="*/ 117342 w 444"/>
              <a:gd name="T59" fmla="*/ 165436 h 516"/>
              <a:gd name="T60" fmla="*/ 111524 w 444"/>
              <a:gd name="T61" fmla="*/ 172247 h 516"/>
              <a:gd name="T62" fmla="*/ 108615 w 444"/>
              <a:gd name="T63" fmla="*/ 181979 h 516"/>
              <a:gd name="T64" fmla="*/ 104735 w 444"/>
              <a:gd name="T65" fmla="*/ 181979 h 516"/>
              <a:gd name="T66" fmla="*/ 97947 w 444"/>
              <a:gd name="T67" fmla="*/ 181006 h 516"/>
              <a:gd name="T68" fmla="*/ 87280 w 444"/>
              <a:gd name="T69" fmla="*/ 174194 h 516"/>
              <a:gd name="T70" fmla="*/ 76612 w 444"/>
              <a:gd name="T71" fmla="*/ 163489 h 516"/>
              <a:gd name="T72" fmla="*/ 74672 w 444"/>
              <a:gd name="T73" fmla="*/ 156677 h 516"/>
              <a:gd name="T74" fmla="*/ 64005 w 444"/>
              <a:gd name="T75" fmla="*/ 145972 h 516"/>
              <a:gd name="T76" fmla="*/ 53337 w 444"/>
              <a:gd name="T77" fmla="*/ 142080 h 516"/>
              <a:gd name="T78" fmla="*/ 44610 w 444"/>
              <a:gd name="T79" fmla="*/ 135268 h 516"/>
              <a:gd name="T80" fmla="*/ 30063 w 444"/>
              <a:gd name="T81" fmla="*/ 128456 h 516"/>
              <a:gd name="T82" fmla="*/ 21335 w 444"/>
              <a:gd name="T83" fmla="*/ 122617 h 516"/>
              <a:gd name="T84" fmla="*/ 10667 w 444"/>
              <a:gd name="T85" fmla="*/ 115805 h 516"/>
              <a:gd name="T86" fmla="*/ 1940 w 444"/>
              <a:gd name="T87" fmla="*/ 111912 h 516"/>
              <a:gd name="T88" fmla="*/ 0 w 444"/>
              <a:gd name="T89" fmla="*/ 98288 h 516"/>
              <a:gd name="T90" fmla="*/ 1940 w 444"/>
              <a:gd name="T91" fmla="*/ 86610 h 516"/>
              <a:gd name="T92" fmla="*/ 6788 w 444"/>
              <a:gd name="T93" fmla="*/ 79799 h 516"/>
              <a:gd name="T94" fmla="*/ 12607 w 444"/>
              <a:gd name="T95" fmla="*/ 71040 h 516"/>
              <a:gd name="T96" fmla="*/ 19395 w 444"/>
              <a:gd name="T97" fmla="*/ 62282 h 516"/>
              <a:gd name="T98" fmla="*/ 19395 w 444"/>
              <a:gd name="T99" fmla="*/ 49631 h 516"/>
              <a:gd name="T100" fmla="*/ 17456 w 444"/>
              <a:gd name="T101" fmla="*/ 36979 h 516"/>
              <a:gd name="T102" fmla="*/ 10667 w 444"/>
              <a:gd name="T103" fmla="*/ 28221 h 516"/>
              <a:gd name="T104" fmla="*/ 8728 w 444"/>
              <a:gd name="T105" fmla="*/ 19463 h 516"/>
              <a:gd name="T106" fmla="*/ 6788 w 444"/>
              <a:gd name="T107" fmla="*/ 14597 h 516"/>
              <a:gd name="T108" fmla="*/ 1940 w 444"/>
              <a:gd name="T109" fmla="*/ 8758 h 516"/>
              <a:gd name="T110" fmla="*/ 136738 w 444"/>
              <a:gd name="T111" fmla="*/ 137214 h 516"/>
              <a:gd name="T112" fmla="*/ 113464 w 444"/>
              <a:gd name="T113" fmla="*/ 174194 h 516"/>
              <a:gd name="T114" fmla="*/ 108615 w 444"/>
              <a:gd name="T115" fmla="*/ 184898 h 516"/>
              <a:gd name="T116" fmla="*/ 149345 w 444"/>
              <a:gd name="T117" fmla="*/ 128456 h 516"/>
              <a:gd name="T118" fmla="*/ 104735 w 444"/>
              <a:gd name="T119" fmla="*/ 184898 h 5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4" h="516">
                <a:moveTo>
                  <a:pt x="0" y="24"/>
                </a:moveTo>
                <a:lnTo>
                  <a:pt x="6" y="24"/>
                </a:lnTo>
                <a:lnTo>
                  <a:pt x="6" y="18"/>
                </a:lnTo>
                <a:lnTo>
                  <a:pt x="12" y="12"/>
                </a:lnTo>
                <a:lnTo>
                  <a:pt x="18" y="6"/>
                </a:lnTo>
                <a:lnTo>
                  <a:pt x="24" y="6"/>
                </a:lnTo>
                <a:lnTo>
                  <a:pt x="24" y="0"/>
                </a:lnTo>
                <a:lnTo>
                  <a:pt x="30" y="0"/>
                </a:lnTo>
                <a:lnTo>
                  <a:pt x="36" y="0"/>
                </a:lnTo>
                <a:lnTo>
                  <a:pt x="42" y="0"/>
                </a:lnTo>
                <a:lnTo>
                  <a:pt x="48" y="0"/>
                </a:lnTo>
                <a:lnTo>
                  <a:pt x="54" y="0"/>
                </a:lnTo>
                <a:lnTo>
                  <a:pt x="60" y="0"/>
                </a:lnTo>
                <a:lnTo>
                  <a:pt x="66" y="0"/>
                </a:lnTo>
                <a:lnTo>
                  <a:pt x="72" y="0"/>
                </a:lnTo>
                <a:lnTo>
                  <a:pt x="78" y="0"/>
                </a:lnTo>
                <a:lnTo>
                  <a:pt x="84" y="0"/>
                </a:lnTo>
                <a:lnTo>
                  <a:pt x="90" y="0"/>
                </a:lnTo>
                <a:lnTo>
                  <a:pt x="96" y="0"/>
                </a:lnTo>
                <a:lnTo>
                  <a:pt x="102" y="0"/>
                </a:lnTo>
                <a:lnTo>
                  <a:pt x="108" y="0"/>
                </a:lnTo>
                <a:lnTo>
                  <a:pt x="114" y="0"/>
                </a:lnTo>
                <a:lnTo>
                  <a:pt x="114" y="6"/>
                </a:lnTo>
                <a:lnTo>
                  <a:pt x="114" y="12"/>
                </a:lnTo>
                <a:lnTo>
                  <a:pt x="120" y="12"/>
                </a:lnTo>
                <a:lnTo>
                  <a:pt x="126" y="12"/>
                </a:lnTo>
                <a:lnTo>
                  <a:pt x="126" y="6"/>
                </a:lnTo>
                <a:lnTo>
                  <a:pt x="132" y="12"/>
                </a:lnTo>
                <a:lnTo>
                  <a:pt x="138" y="12"/>
                </a:lnTo>
                <a:lnTo>
                  <a:pt x="144" y="12"/>
                </a:lnTo>
                <a:lnTo>
                  <a:pt x="150" y="12"/>
                </a:lnTo>
                <a:lnTo>
                  <a:pt x="156" y="12"/>
                </a:lnTo>
                <a:lnTo>
                  <a:pt x="162" y="12"/>
                </a:lnTo>
                <a:lnTo>
                  <a:pt x="168" y="12"/>
                </a:lnTo>
                <a:lnTo>
                  <a:pt x="174" y="12"/>
                </a:lnTo>
                <a:lnTo>
                  <a:pt x="174" y="18"/>
                </a:lnTo>
                <a:lnTo>
                  <a:pt x="180" y="18"/>
                </a:lnTo>
                <a:lnTo>
                  <a:pt x="186" y="24"/>
                </a:lnTo>
                <a:lnTo>
                  <a:pt x="192" y="24"/>
                </a:lnTo>
                <a:lnTo>
                  <a:pt x="198" y="30"/>
                </a:lnTo>
                <a:lnTo>
                  <a:pt x="198" y="36"/>
                </a:lnTo>
                <a:lnTo>
                  <a:pt x="204" y="36"/>
                </a:lnTo>
                <a:lnTo>
                  <a:pt x="210" y="42"/>
                </a:lnTo>
                <a:lnTo>
                  <a:pt x="216" y="42"/>
                </a:lnTo>
                <a:lnTo>
                  <a:pt x="216" y="48"/>
                </a:lnTo>
                <a:lnTo>
                  <a:pt x="222" y="48"/>
                </a:lnTo>
                <a:lnTo>
                  <a:pt x="228" y="48"/>
                </a:lnTo>
                <a:lnTo>
                  <a:pt x="228" y="54"/>
                </a:lnTo>
                <a:lnTo>
                  <a:pt x="234" y="54"/>
                </a:lnTo>
                <a:lnTo>
                  <a:pt x="240" y="54"/>
                </a:lnTo>
                <a:lnTo>
                  <a:pt x="246" y="54"/>
                </a:lnTo>
                <a:lnTo>
                  <a:pt x="252" y="54"/>
                </a:lnTo>
                <a:lnTo>
                  <a:pt x="258" y="54"/>
                </a:lnTo>
                <a:lnTo>
                  <a:pt x="264" y="54"/>
                </a:lnTo>
                <a:lnTo>
                  <a:pt x="264" y="60"/>
                </a:lnTo>
                <a:lnTo>
                  <a:pt x="270" y="60"/>
                </a:lnTo>
                <a:lnTo>
                  <a:pt x="276" y="60"/>
                </a:lnTo>
                <a:lnTo>
                  <a:pt x="282" y="60"/>
                </a:lnTo>
                <a:lnTo>
                  <a:pt x="288" y="60"/>
                </a:lnTo>
                <a:lnTo>
                  <a:pt x="294" y="60"/>
                </a:lnTo>
                <a:lnTo>
                  <a:pt x="294" y="66"/>
                </a:lnTo>
                <a:lnTo>
                  <a:pt x="300" y="66"/>
                </a:lnTo>
                <a:lnTo>
                  <a:pt x="300" y="60"/>
                </a:lnTo>
                <a:lnTo>
                  <a:pt x="300" y="66"/>
                </a:lnTo>
                <a:lnTo>
                  <a:pt x="306" y="66"/>
                </a:lnTo>
                <a:lnTo>
                  <a:pt x="312" y="66"/>
                </a:lnTo>
                <a:lnTo>
                  <a:pt x="318" y="60"/>
                </a:lnTo>
                <a:lnTo>
                  <a:pt x="318" y="54"/>
                </a:lnTo>
                <a:lnTo>
                  <a:pt x="324" y="54"/>
                </a:lnTo>
                <a:lnTo>
                  <a:pt x="324" y="48"/>
                </a:lnTo>
                <a:lnTo>
                  <a:pt x="330" y="42"/>
                </a:lnTo>
                <a:lnTo>
                  <a:pt x="336" y="36"/>
                </a:lnTo>
                <a:lnTo>
                  <a:pt x="342" y="36"/>
                </a:lnTo>
                <a:lnTo>
                  <a:pt x="348" y="36"/>
                </a:lnTo>
                <a:lnTo>
                  <a:pt x="348" y="30"/>
                </a:lnTo>
                <a:lnTo>
                  <a:pt x="354" y="30"/>
                </a:lnTo>
                <a:lnTo>
                  <a:pt x="360" y="30"/>
                </a:lnTo>
                <a:lnTo>
                  <a:pt x="360" y="24"/>
                </a:lnTo>
                <a:lnTo>
                  <a:pt x="366" y="24"/>
                </a:lnTo>
                <a:lnTo>
                  <a:pt x="372" y="24"/>
                </a:lnTo>
                <a:lnTo>
                  <a:pt x="378" y="24"/>
                </a:lnTo>
                <a:lnTo>
                  <a:pt x="378" y="18"/>
                </a:lnTo>
                <a:lnTo>
                  <a:pt x="384" y="18"/>
                </a:lnTo>
                <a:lnTo>
                  <a:pt x="384" y="24"/>
                </a:lnTo>
                <a:lnTo>
                  <a:pt x="390" y="24"/>
                </a:lnTo>
                <a:lnTo>
                  <a:pt x="390" y="30"/>
                </a:lnTo>
                <a:lnTo>
                  <a:pt x="396" y="30"/>
                </a:lnTo>
                <a:lnTo>
                  <a:pt x="396" y="36"/>
                </a:lnTo>
                <a:lnTo>
                  <a:pt x="402" y="36"/>
                </a:lnTo>
                <a:lnTo>
                  <a:pt x="408" y="36"/>
                </a:lnTo>
                <a:lnTo>
                  <a:pt x="414" y="36"/>
                </a:lnTo>
                <a:lnTo>
                  <a:pt x="420" y="36"/>
                </a:lnTo>
                <a:lnTo>
                  <a:pt x="426" y="36"/>
                </a:lnTo>
                <a:lnTo>
                  <a:pt x="432" y="36"/>
                </a:lnTo>
                <a:lnTo>
                  <a:pt x="438" y="36"/>
                </a:lnTo>
                <a:lnTo>
                  <a:pt x="444" y="36"/>
                </a:lnTo>
                <a:lnTo>
                  <a:pt x="438" y="42"/>
                </a:lnTo>
                <a:lnTo>
                  <a:pt x="438" y="48"/>
                </a:lnTo>
                <a:lnTo>
                  <a:pt x="432" y="48"/>
                </a:lnTo>
                <a:lnTo>
                  <a:pt x="432" y="54"/>
                </a:lnTo>
                <a:lnTo>
                  <a:pt x="426" y="60"/>
                </a:lnTo>
                <a:lnTo>
                  <a:pt x="420" y="66"/>
                </a:lnTo>
                <a:lnTo>
                  <a:pt x="420" y="72"/>
                </a:lnTo>
                <a:lnTo>
                  <a:pt x="414" y="78"/>
                </a:lnTo>
                <a:lnTo>
                  <a:pt x="414" y="84"/>
                </a:lnTo>
                <a:lnTo>
                  <a:pt x="408" y="84"/>
                </a:lnTo>
                <a:lnTo>
                  <a:pt x="402" y="90"/>
                </a:lnTo>
                <a:lnTo>
                  <a:pt x="396" y="96"/>
                </a:lnTo>
                <a:lnTo>
                  <a:pt x="390" y="102"/>
                </a:lnTo>
                <a:lnTo>
                  <a:pt x="390" y="108"/>
                </a:lnTo>
                <a:lnTo>
                  <a:pt x="390" y="114"/>
                </a:lnTo>
                <a:lnTo>
                  <a:pt x="390" y="126"/>
                </a:lnTo>
                <a:lnTo>
                  <a:pt x="390" y="132"/>
                </a:lnTo>
                <a:lnTo>
                  <a:pt x="390" y="138"/>
                </a:lnTo>
                <a:lnTo>
                  <a:pt x="390" y="144"/>
                </a:lnTo>
                <a:lnTo>
                  <a:pt x="390" y="150"/>
                </a:lnTo>
                <a:lnTo>
                  <a:pt x="390" y="156"/>
                </a:lnTo>
                <a:lnTo>
                  <a:pt x="390" y="162"/>
                </a:lnTo>
                <a:lnTo>
                  <a:pt x="390" y="168"/>
                </a:lnTo>
                <a:lnTo>
                  <a:pt x="390" y="174"/>
                </a:lnTo>
                <a:lnTo>
                  <a:pt x="390" y="180"/>
                </a:lnTo>
                <a:lnTo>
                  <a:pt x="390" y="186"/>
                </a:lnTo>
                <a:lnTo>
                  <a:pt x="390" y="192"/>
                </a:lnTo>
                <a:lnTo>
                  <a:pt x="390" y="198"/>
                </a:lnTo>
                <a:lnTo>
                  <a:pt x="390" y="204"/>
                </a:lnTo>
                <a:lnTo>
                  <a:pt x="390" y="210"/>
                </a:lnTo>
                <a:lnTo>
                  <a:pt x="390" y="216"/>
                </a:lnTo>
                <a:lnTo>
                  <a:pt x="390" y="222"/>
                </a:lnTo>
                <a:lnTo>
                  <a:pt x="390" y="228"/>
                </a:lnTo>
                <a:lnTo>
                  <a:pt x="390" y="234"/>
                </a:lnTo>
                <a:lnTo>
                  <a:pt x="390" y="240"/>
                </a:lnTo>
                <a:lnTo>
                  <a:pt x="390" y="246"/>
                </a:lnTo>
                <a:lnTo>
                  <a:pt x="390" y="252"/>
                </a:lnTo>
                <a:lnTo>
                  <a:pt x="390" y="258"/>
                </a:lnTo>
                <a:lnTo>
                  <a:pt x="390" y="264"/>
                </a:lnTo>
                <a:lnTo>
                  <a:pt x="390" y="270"/>
                </a:lnTo>
                <a:lnTo>
                  <a:pt x="390" y="276"/>
                </a:lnTo>
                <a:lnTo>
                  <a:pt x="390" y="282"/>
                </a:lnTo>
                <a:lnTo>
                  <a:pt x="390" y="288"/>
                </a:lnTo>
                <a:lnTo>
                  <a:pt x="390" y="294"/>
                </a:lnTo>
                <a:lnTo>
                  <a:pt x="390" y="300"/>
                </a:lnTo>
                <a:lnTo>
                  <a:pt x="390" y="306"/>
                </a:lnTo>
                <a:lnTo>
                  <a:pt x="396" y="306"/>
                </a:lnTo>
                <a:lnTo>
                  <a:pt x="396" y="312"/>
                </a:lnTo>
                <a:lnTo>
                  <a:pt x="402" y="318"/>
                </a:lnTo>
                <a:lnTo>
                  <a:pt x="408" y="324"/>
                </a:lnTo>
                <a:lnTo>
                  <a:pt x="414" y="330"/>
                </a:lnTo>
                <a:lnTo>
                  <a:pt x="414" y="336"/>
                </a:lnTo>
                <a:lnTo>
                  <a:pt x="420" y="336"/>
                </a:lnTo>
                <a:lnTo>
                  <a:pt x="420" y="342"/>
                </a:lnTo>
                <a:lnTo>
                  <a:pt x="426" y="348"/>
                </a:lnTo>
                <a:lnTo>
                  <a:pt x="420" y="354"/>
                </a:lnTo>
                <a:lnTo>
                  <a:pt x="420" y="360"/>
                </a:lnTo>
                <a:lnTo>
                  <a:pt x="414" y="360"/>
                </a:lnTo>
                <a:lnTo>
                  <a:pt x="414" y="366"/>
                </a:lnTo>
                <a:lnTo>
                  <a:pt x="408" y="366"/>
                </a:lnTo>
                <a:lnTo>
                  <a:pt x="402" y="366"/>
                </a:lnTo>
                <a:lnTo>
                  <a:pt x="396" y="366"/>
                </a:lnTo>
                <a:lnTo>
                  <a:pt x="396" y="372"/>
                </a:lnTo>
                <a:lnTo>
                  <a:pt x="390" y="372"/>
                </a:lnTo>
                <a:lnTo>
                  <a:pt x="390" y="366"/>
                </a:lnTo>
                <a:lnTo>
                  <a:pt x="396" y="366"/>
                </a:lnTo>
                <a:lnTo>
                  <a:pt x="390" y="366"/>
                </a:lnTo>
                <a:lnTo>
                  <a:pt x="390" y="372"/>
                </a:lnTo>
                <a:lnTo>
                  <a:pt x="390" y="366"/>
                </a:lnTo>
                <a:lnTo>
                  <a:pt x="384" y="366"/>
                </a:lnTo>
                <a:lnTo>
                  <a:pt x="384" y="372"/>
                </a:lnTo>
                <a:lnTo>
                  <a:pt x="390" y="366"/>
                </a:lnTo>
                <a:lnTo>
                  <a:pt x="390" y="372"/>
                </a:lnTo>
                <a:lnTo>
                  <a:pt x="384" y="372"/>
                </a:lnTo>
                <a:lnTo>
                  <a:pt x="390" y="372"/>
                </a:lnTo>
                <a:lnTo>
                  <a:pt x="390" y="378"/>
                </a:lnTo>
                <a:lnTo>
                  <a:pt x="390" y="384"/>
                </a:lnTo>
                <a:lnTo>
                  <a:pt x="390" y="378"/>
                </a:lnTo>
                <a:lnTo>
                  <a:pt x="390" y="384"/>
                </a:lnTo>
                <a:lnTo>
                  <a:pt x="390" y="378"/>
                </a:lnTo>
                <a:lnTo>
                  <a:pt x="390" y="384"/>
                </a:lnTo>
                <a:lnTo>
                  <a:pt x="384" y="384"/>
                </a:lnTo>
                <a:lnTo>
                  <a:pt x="378" y="384"/>
                </a:lnTo>
                <a:lnTo>
                  <a:pt x="384" y="384"/>
                </a:lnTo>
                <a:lnTo>
                  <a:pt x="384" y="390"/>
                </a:lnTo>
                <a:lnTo>
                  <a:pt x="378" y="384"/>
                </a:lnTo>
                <a:lnTo>
                  <a:pt x="384" y="390"/>
                </a:lnTo>
                <a:lnTo>
                  <a:pt x="378" y="390"/>
                </a:lnTo>
                <a:lnTo>
                  <a:pt x="378" y="396"/>
                </a:lnTo>
                <a:lnTo>
                  <a:pt x="372" y="396"/>
                </a:lnTo>
                <a:lnTo>
                  <a:pt x="372" y="402"/>
                </a:lnTo>
                <a:lnTo>
                  <a:pt x="366" y="396"/>
                </a:lnTo>
                <a:lnTo>
                  <a:pt x="360" y="396"/>
                </a:lnTo>
                <a:lnTo>
                  <a:pt x="360" y="402"/>
                </a:lnTo>
                <a:lnTo>
                  <a:pt x="354" y="402"/>
                </a:lnTo>
                <a:lnTo>
                  <a:pt x="354" y="408"/>
                </a:lnTo>
                <a:lnTo>
                  <a:pt x="348" y="408"/>
                </a:lnTo>
                <a:lnTo>
                  <a:pt x="348" y="414"/>
                </a:lnTo>
                <a:lnTo>
                  <a:pt x="348" y="420"/>
                </a:lnTo>
                <a:lnTo>
                  <a:pt x="348" y="426"/>
                </a:lnTo>
                <a:lnTo>
                  <a:pt x="348" y="420"/>
                </a:lnTo>
                <a:lnTo>
                  <a:pt x="348" y="426"/>
                </a:lnTo>
                <a:lnTo>
                  <a:pt x="348" y="432"/>
                </a:lnTo>
                <a:lnTo>
                  <a:pt x="342" y="432"/>
                </a:lnTo>
                <a:lnTo>
                  <a:pt x="342" y="438"/>
                </a:lnTo>
                <a:lnTo>
                  <a:pt x="342" y="444"/>
                </a:lnTo>
                <a:lnTo>
                  <a:pt x="336" y="444"/>
                </a:lnTo>
                <a:lnTo>
                  <a:pt x="336" y="450"/>
                </a:lnTo>
                <a:lnTo>
                  <a:pt x="330" y="456"/>
                </a:lnTo>
                <a:lnTo>
                  <a:pt x="330" y="462"/>
                </a:lnTo>
                <a:lnTo>
                  <a:pt x="330" y="456"/>
                </a:lnTo>
                <a:lnTo>
                  <a:pt x="324" y="456"/>
                </a:lnTo>
                <a:lnTo>
                  <a:pt x="324" y="462"/>
                </a:lnTo>
                <a:lnTo>
                  <a:pt x="330" y="462"/>
                </a:lnTo>
                <a:lnTo>
                  <a:pt x="330" y="468"/>
                </a:lnTo>
                <a:lnTo>
                  <a:pt x="324" y="474"/>
                </a:lnTo>
                <a:lnTo>
                  <a:pt x="324" y="480"/>
                </a:lnTo>
                <a:lnTo>
                  <a:pt x="324" y="486"/>
                </a:lnTo>
                <a:lnTo>
                  <a:pt x="318" y="486"/>
                </a:lnTo>
                <a:lnTo>
                  <a:pt x="318" y="480"/>
                </a:lnTo>
                <a:lnTo>
                  <a:pt x="312" y="480"/>
                </a:lnTo>
                <a:lnTo>
                  <a:pt x="312" y="486"/>
                </a:lnTo>
                <a:lnTo>
                  <a:pt x="318" y="486"/>
                </a:lnTo>
                <a:lnTo>
                  <a:pt x="318" y="492"/>
                </a:lnTo>
                <a:lnTo>
                  <a:pt x="312" y="492"/>
                </a:lnTo>
                <a:lnTo>
                  <a:pt x="312" y="498"/>
                </a:lnTo>
                <a:lnTo>
                  <a:pt x="312" y="504"/>
                </a:lnTo>
                <a:lnTo>
                  <a:pt x="306" y="510"/>
                </a:lnTo>
                <a:lnTo>
                  <a:pt x="306" y="516"/>
                </a:lnTo>
                <a:lnTo>
                  <a:pt x="300" y="516"/>
                </a:lnTo>
                <a:lnTo>
                  <a:pt x="300" y="510"/>
                </a:lnTo>
                <a:lnTo>
                  <a:pt x="300" y="516"/>
                </a:lnTo>
                <a:lnTo>
                  <a:pt x="300" y="510"/>
                </a:lnTo>
                <a:lnTo>
                  <a:pt x="300" y="516"/>
                </a:lnTo>
                <a:lnTo>
                  <a:pt x="294" y="510"/>
                </a:lnTo>
                <a:lnTo>
                  <a:pt x="294" y="516"/>
                </a:lnTo>
                <a:lnTo>
                  <a:pt x="300" y="516"/>
                </a:lnTo>
                <a:lnTo>
                  <a:pt x="294" y="516"/>
                </a:lnTo>
                <a:lnTo>
                  <a:pt x="288" y="516"/>
                </a:lnTo>
                <a:lnTo>
                  <a:pt x="282" y="510"/>
                </a:lnTo>
                <a:lnTo>
                  <a:pt x="276" y="510"/>
                </a:lnTo>
                <a:lnTo>
                  <a:pt x="276" y="504"/>
                </a:lnTo>
                <a:lnTo>
                  <a:pt x="270" y="504"/>
                </a:lnTo>
                <a:lnTo>
                  <a:pt x="270" y="498"/>
                </a:lnTo>
                <a:lnTo>
                  <a:pt x="264" y="498"/>
                </a:lnTo>
                <a:lnTo>
                  <a:pt x="258" y="492"/>
                </a:lnTo>
                <a:lnTo>
                  <a:pt x="252" y="492"/>
                </a:lnTo>
                <a:lnTo>
                  <a:pt x="252" y="486"/>
                </a:lnTo>
                <a:lnTo>
                  <a:pt x="246" y="486"/>
                </a:lnTo>
                <a:lnTo>
                  <a:pt x="246" y="480"/>
                </a:lnTo>
                <a:lnTo>
                  <a:pt x="240" y="480"/>
                </a:lnTo>
                <a:lnTo>
                  <a:pt x="234" y="474"/>
                </a:lnTo>
                <a:lnTo>
                  <a:pt x="228" y="468"/>
                </a:lnTo>
                <a:lnTo>
                  <a:pt x="222" y="468"/>
                </a:lnTo>
                <a:lnTo>
                  <a:pt x="216" y="462"/>
                </a:lnTo>
                <a:lnTo>
                  <a:pt x="216" y="456"/>
                </a:lnTo>
                <a:lnTo>
                  <a:pt x="210" y="456"/>
                </a:lnTo>
                <a:lnTo>
                  <a:pt x="210" y="450"/>
                </a:lnTo>
                <a:lnTo>
                  <a:pt x="204" y="456"/>
                </a:lnTo>
                <a:lnTo>
                  <a:pt x="204" y="450"/>
                </a:lnTo>
                <a:lnTo>
                  <a:pt x="204" y="444"/>
                </a:lnTo>
                <a:lnTo>
                  <a:pt x="210" y="444"/>
                </a:lnTo>
                <a:lnTo>
                  <a:pt x="210" y="438"/>
                </a:lnTo>
                <a:lnTo>
                  <a:pt x="210" y="432"/>
                </a:lnTo>
                <a:lnTo>
                  <a:pt x="210" y="426"/>
                </a:lnTo>
                <a:lnTo>
                  <a:pt x="204" y="426"/>
                </a:lnTo>
                <a:lnTo>
                  <a:pt x="198" y="420"/>
                </a:lnTo>
                <a:lnTo>
                  <a:pt x="192" y="420"/>
                </a:lnTo>
                <a:lnTo>
                  <a:pt x="186" y="414"/>
                </a:lnTo>
                <a:lnTo>
                  <a:pt x="180" y="408"/>
                </a:lnTo>
                <a:lnTo>
                  <a:pt x="174" y="408"/>
                </a:lnTo>
                <a:lnTo>
                  <a:pt x="168" y="408"/>
                </a:lnTo>
                <a:lnTo>
                  <a:pt x="168" y="402"/>
                </a:lnTo>
                <a:lnTo>
                  <a:pt x="162" y="402"/>
                </a:lnTo>
                <a:lnTo>
                  <a:pt x="156" y="402"/>
                </a:lnTo>
                <a:lnTo>
                  <a:pt x="156" y="396"/>
                </a:lnTo>
                <a:lnTo>
                  <a:pt x="150" y="396"/>
                </a:lnTo>
                <a:lnTo>
                  <a:pt x="150" y="390"/>
                </a:lnTo>
                <a:lnTo>
                  <a:pt x="144" y="390"/>
                </a:lnTo>
                <a:lnTo>
                  <a:pt x="138" y="390"/>
                </a:lnTo>
                <a:lnTo>
                  <a:pt x="138" y="384"/>
                </a:lnTo>
                <a:lnTo>
                  <a:pt x="132" y="384"/>
                </a:lnTo>
                <a:lnTo>
                  <a:pt x="126" y="384"/>
                </a:lnTo>
                <a:lnTo>
                  <a:pt x="126" y="378"/>
                </a:lnTo>
                <a:lnTo>
                  <a:pt x="120" y="378"/>
                </a:lnTo>
                <a:lnTo>
                  <a:pt x="114" y="372"/>
                </a:lnTo>
                <a:lnTo>
                  <a:pt x="108" y="372"/>
                </a:lnTo>
                <a:lnTo>
                  <a:pt x="102" y="366"/>
                </a:lnTo>
                <a:lnTo>
                  <a:pt x="96" y="366"/>
                </a:lnTo>
                <a:lnTo>
                  <a:pt x="90" y="360"/>
                </a:lnTo>
                <a:lnTo>
                  <a:pt x="84" y="360"/>
                </a:lnTo>
                <a:lnTo>
                  <a:pt x="84" y="354"/>
                </a:lnTo>
                <a:lnTo>
                  <a:pt x="78" y="354"/>
                </a:lnTo>
                <a:lnTo>
                  <a:pt x="72" y="354"/>
                </a:lnTo>
                <a:lnTo>
                  <a:pt x="72" y="348"/>
                </a:lnTo>
                <a:lnTo>
                  <a:pt x="66" y="348"/>
                </a:lnTo>
                <a:lnTo>
                  <a:pt x="60" y="348"/>
                </a:lnTo>
                <a:lnTo>
                  <a:pt x="60" y="342"/>
                </a:lnTo>
                <a:lnTo>
                  <a:pt x="54" y="342"/>
                </a:lnTo>
                <a:lnTo>
                  <a:pt x="48" y="336"/>
                </a:lnTo>
                <a:lnTo>
                  <a:pt x="42" y="336"/>
                </a:lnTo>
                <a:lnTo>
                  <a:pt x="42" y="330"/>
                </a:lnTo>
                <a:lnTo>
                  <a:pt x="36" y="330"/>
                </a:lnTo>
                <a:lnTo>
                  <a:pt x="30" y="330"/>
                </a:lnTo>
                <a:lnTo>
                  <a:pt x="30" y="324"/>
                </a:lnTo>
                <a:lnTo>
                  <a:pt x="24" y="324"/>
                </a:lnTo>
                <a:lnTo>
                  <a:pt x="18" y="318"/>
                </a:lnTo>
                <a:lnTo>
                  <a:pt x="12" y="318"/>
                </a:lnTo>
                <a:lnTo>
                  <a:pt x="12" y="312"/>
                </a:lnTo>
                <a:lnTo>
                  <a:pt x="6" y="312"/>
                </a:lnTo>
                <a:lnTo>
                  <a:pt x="6" y="318"/>
                </a:lnTo>
                <a:lnTo>
                  <a:pt x="6" y="312"/>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6" y="246"/>
                </a:lnTo>
                <a:lnTo>
                  <a:pt x="6" y="240"/>
                </a:lnTo>
                <a:lnTo>
                  <a:pt x="6" y="234"/>
                </a:lnTo>
                <a:lnTo>
                  <a:pt x="12" y="234"/>
                </a:lnTo>
                <a:lnTo>
                  <a:pt x="6" y="234"/>
                </a:lnTo>
                <a:lnTo>
                  <a:pt x="12" y="234"/>
                </a:lnTo>
                <a:lnTo>
                  <a:pt x="12" y="228"/>
                </a:lnTo>
                <a:lnTo>
                  <a:pt x="12" y="222"/>
                </a:lnTo>
                <a:lnTo>
                  <a:pt x="18" y="222"/>
                </a:lnTo>
                <a:lnTo>
                  <a:pt x="18" y="216"/>
                </a:lnTo>
                <a:lnTo>
                  <a:pt x="24" y="216"/>
                </a:lnTo>
                <a:lnTo>
                  <a:pt x="24" y="210"/>
                </a:lnTo>
                <a:lnTo>
                  <a:pt x="30" y="210"/>
                </a:lnTo>
                <a:lnTo>
                  <a:pt x="30" y="204"/>
                </a:lnTo>
                <a:lnTo>
                  <a:pt x="30" y="198"/>
                </a:lnTo>
                <a:lnTo>
                  <a:pt x="36" y="198"/>
                </a:lnTo>
                <a:lnTo>
                  <a:pt x="36" y="192"/>
                </a:lnTo>
                <a:lnTo>
                  <a:pt x="42" y="192"/>
                </a:lnTo>
                <a:lnTo>
                  <a:pt x="48" y="192"/>
                </a:lnTo>
                <a:lnTo>
                  <a:pt x="48" y="186"/>
                </a:lnTo>
                <a:lnTo>
                  <a:pt x="48" y="180"/>
                </a:lnTo>
                <a:lnTo>
                  <a:pt x="48" y="174"/>
                </a:lnTo>
                <a:lnTo>
                  <a:pt x="54" y="174"/>
                </a:lnTo>
                <a:lnTo>
                  <a:pt x="54" y="168"/>
                </a:lnTo>
                <a:lnTo>
                  <a:pt x="60" y="168"/>
                </a:lnTo>
                <a:lnTo>
                  <a:pt x="60" y="162"/>
                </a:lnTo>
                <a:lnTo>
                  <a:pt x="60" y="156"/>
                </a:lnTo>
                <a:lnTo>
                  <a:pt x="60" y="150"/>
                </a:lnTo>
                <a:lnTo>
                  <a:pt x="60" y="144"/>
                </a:lnTo>
                <a:lnTo>
                  <a:pt x="54" y="138"/>
                </a:lnTo>
                <a:lnTo>
                  <a:pt x="54" y="132"/>
                </a:lnTo>
                <a:lnTo>
                  <a:pt x="54" y="126"/>
                </a:lnTo>
                <a:lnTo>
                  <a:pt x="54" y="120"/>
                </a:lnTo>
                <a:lnTo>
                  <a:pt x="54" y="114"/>
                </a:lnTo>
                <a:lnTo>
                  <a:pt x="48" y="114"/>
                </a:lnTo>
                <a:lnTo>
                  <a:pt x="48" y="108"/>
                </a:lnTo>
                <a:lnTo>
                  <a:pt x="48" y="102"/>
                </a:lnTo>
                <a:lnTo>
                  <a:pt x="42" y="102"/>
                </a:lnTo>
                <a:lnTo>
                  <a:pt x="42" y="96"/>
                </a:lnTo>
                <a:lnTo>
                  <a:pt x="36" y="96"/>
                </a:lnTo>
                <a:lnTo>
                  <a:pt x="36" y="90"/>
                </a:lnTo>
                <a:lnTo>
                  <a:pt x="36" y="84"/>
                </a:lnTo>
                <a:lnTo>
                  <a:pt x="30" y="84"/>
                </a:lnTo>
                <a:lnTo>
                  <a:pt x="30" y="78"/>
                </a:lnTo>
                <a:lnTo>
                  <a:pt x="30" y="72"/>
                </a:lnTo>
                <a:lnTo>
                  <a:pt x="24" y="72"/>
                </a:lnTo>
                <a:lnTo>
                  <a:pt x="24" y="66"/>
                </a:lnTo>
                <a:lnTo>
                  <a:pt x="24" y="60"/>
                </a:lnTo>
                <a:lnTo>
                  <a:pt x="30" y="60"/>
                </a:lnTo>
                <a:lnTo>
                  <a:pt x="30" y="54"/>
                </a:lnTo>
                <a:lnTo>
                  <a:pt x="24" y="54"/>
                </a:lnTo>
                <a:lnTo>
                  <a:pt x="24" y="48"/>
                </a:lnTo>
                <a:lnTo>
                  <a:pt x="18" y="48"/>
                </a:lnTo>
                <a:lnTo>
                  <a:pt x="18" y="54"/>
                </a:lnTo>
                <a:lnTo>
                  <a:pt x="18" y="48"/>
                </a:lnTo>
                <a:lnTo>
                  <a:pt x="12" y="48"/>
                </a:lnTo>
                <a:lnTo>
                  <a:pt x="12" y="42"/>
                </a:lnTo>
                <a:lnTo>
                  <a:pt x="18" y="42"/>
                </a:lnTo>
                <a:lnTo>
                  <a:pt x="12" y="42"/>
                </a:lnTo>
                <a:lnTo>
                  <a:pt x="6" y="42"/>
                </a:lnTo>
                <a:lnTo>
                  <a:pt x="12" y="42"/>
                </a:lnTo>
                <a:lnTo>
                  <a:pt x="12" y="36"/>
                </a:lnTo>
                <a:lnTo>
                  <a:pt x="6" y="36"/>
                </a:lnTo>
                <a:lnTo>
                  <a:pt x="6" y="30"/>
                </a:lnTo>
                <a:lnTo>
                  <a:pt x="6" y="24"/>
                </a:lnTo>
                <a:lnTo>
                  <a:pt x="0" y="24"/>
                </a:lnTo>
                <a:close/>
                <a:moveTo>
                  <a:pt x="390" y="372"/>
                </a:moveTo>
                <a:lnTo>
                  <a:pt x="402" y="372"/>
                </a:lnTo>
                <a:lnTo>
                  <a:pt x="402" y="378"/>
                </a:lnTo>
                <a:lnTo>
                  <a:pt x="390" y="378"/>
                </a:lnTo>
                <a:lnTo>
                  <a:pt x="390" y="372"/>
                </a:lnTo>
                <a:close/>
                <a:moveTo>
                  <a:pt x="384" y="384"/>
                </a:moveTo>
                <a:lnTo>
                  <a:pt x="390" y="384"/>
                </a:lnTo>
                <a:lnTo>
                  <a:pt x="390" y="390"/>
                </a:lnTo>
                <a:lnTo>
                  <a:pt x="384" y="390"/>
                </a:lnTo>
                <a:lnTo>
                  <a:pt x="384" y="384"/>
                </a:lnTo>
                <a:close/>
                <a:moveTo>
                  <a:pt x="318" y="480"/>
                </a:moveTo>
                <a:lnTo>
                  <a:pt x="318" y="486"/>
                </a:lnTo>
                <a:lnTo>
                  <a:pt x="319" y="486"/>
                </a:lnTo>
                <a:lnTo>
                  <a:pt x="318" y="480"/>
                </a:lnTo>
                <a:close/>
                <a:moveTo>
                  <a:pt x="402" y="366"/>
                </a:moveTo>
                <a:lnTo>
                  <a:pt x="402" y="372"/>
                </a:lnTo>
                <a:lnTo>
                  <a:pt x="403" y="372"/>
                </a:lnTo>
                <a:lnTo>
                  <a:pt x="402" y="366"/>
                </a:lnTo>
                <a:close/>
                <a:moveTo>
                  <a:pt x="300" y="516"/>
                </a:moveTo>
                <a:lnTo>
                  <a:pt x="306" y="516"/>
                </a:lnTo>
                <a:lnTo>
                  <a:pt x="300" y="516"/>
                </a:lnTo>
                <a:close/>
                <a:moveTo>
                  <a:pt x="408" y="366"/>
                </a:moveTo>
                <a:lnTo>
                  <a:pt x="408" y="372"/>
                </a:lnTo>
                <a:lnTo>
                  <a:pt x="409" y="372"/>
                </a:lnTo>
                <a:lnTo>
                  <a:pt x="408" y="366"/>
                </a:lnTo>
                <a:close/>
                <a:moveTo>
                  <a:pt x="420" y="354"/>
                </a:moveTo>
                <a:lnTo>
                  <a:pt x="420" y="360"/>
                </a:lnTo>
                <a:lnTo>
                  <a:pt x="421" y="360"/>
                </a:lnTo>
                <a:lnTo>
                  <a:pt x="420" y="354"/>
                </a:lnTo>
                <a:close/>
                <a:moveTo>
                  <a:pt x="402" y="366"/>
                </a:moveTo>
                <a:lnTo>
                  <a:pt x="402" y="372"/>
                </a:lnTo>
                <a:lnTo>
                  <a:pt x="403" y="372"/>
                </a:lnTo>
                <a:lnTo>
                  <a:pt x="402" y="366"/>
                </a:lnTo>
                <a:close/>
                <a:moveTo>
                  <a:pt x="294" y="516"/>
                </a:moveTo>
                <a:lnTo>
                  <a:pt x="300" y="516"/>
                </a:lnTo>
                <a:lnTo>
                  <a:pt x="294" y="516"/>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1" name="Freeform 45">
            <a:extLst>
              <a:ext uri="{FF2B5EF4-FFF2-40B4-BE49-F238E27FC236}">
                <a16:creationId xmlns:a16="http://schemas.microsoft.com/office/drawing/2014/main" id="{2B68A3E1-AE23-1E4F-858E-77E133A4D96F}"/>
              </a:ext>
            </a:extLst>
          </p:cNvPr>
          <p:cNvSpPr>
            <a:spLocks noEditPoints="1"/>
          </p:cNvSpPr>
          <p:nvPr>
            <p:custDataLst>
              <p:tags r:id="rId39"/>
            </p:custDataLst>
          </p:nvPr>
        </p:nvSpPr>
        <p:spPr bwMode="gray">
          <a:xfrm>
            <a:off x="5427657" y="4588663"/>
            <a:ext cx="709743" cy="524577"/>
          </a:xfrm>
          <a:custGeom>
            <a:avLst/>
            <a:gdLst>
              <a:gd name="T0" fmla="*/ 14501 w 618"/>
              <a:gd name="T1" fmla="*/ 64371 h 606"/>
              <a:gd name="T2" fmla="*/ 23201 w 618"/>
              <a:gd name="T3" fmla="*/ 49742 h 606"/>
              <a:gd name="T4" fmla="*/ 26101 w 618"/>
              <a:gd name="T5" fmla="*/ 40964 h 606"/>
              <a:gd name="T6" fmla="*/ 23201 w 618"/>
              <a:gd name="T7" fmla="*/ 30235 h 606"/>
              <a:gd name="T8" fmla="*/ 29968 w 618"/>
              <a:gd name="T9" fmla="*/ 17556 h 606"/>
              <a:gd name="T10" fmla="*/ 23201 w 618"/>
              <a:gd name="T11" fmla="*/ 1951 h 606"/>
              <a:gd name="T12" fmla="*/ 44469 w 618"/>
              <a:gd name="T13" fmla="*/ 0 h 606"/>
              <a:gd name="T14" fmla="*/ 67670 w 618"/>
              <a:gd name="T15" fmla="*/ 0 h 606"/>
              <a:gd name="T16" fmla="*/ 90870 w 618"/>
              <a:gd name="T17" fmla="*/ 0 h 606"/>
              <a:gd name="T18" fmla="*/ 106338 w 618"/>
              <a:gd name="T19" fmla="*/ 6827 h 606"/>
              <a:gd name="T20" fmla="*/ 120838 w 618"/>
              <a:gd name="T21" fmla="*/ 17556 h 606"/>
              <a:gd name="T22" fmla="*/ 140173 w 618"/>
              <a:gd name="T23" fmla="*/ 28284 h 606"/>
              <a:gd name="T24" fmla="*/ 157573 w 618"/>
              <a:gd name="T25" fmla="*/ 37063 h 606"/>
              <a:gd name="T26" fmla="*/ 165307 w 618"/>
              <a:gd name="T27" fmla="*/ 49742 h 606"/>
              <a:gd name="T28" fmla="*/ 180774 w 618"/>
              <a:gd name="T29" fmla="*/ 64371 h 606"/>
              <a:gd name="T30" fmla="*/ 193341 w 618"/>
              <a:gd name="T31" fmla="*/ 76075 h 606"/>
              <a:gd name="T32" fmla="*/ 193341 w 618"/>
              <a:gd name="T33" fmla="*/ 81927 h 606"/>
              <a:gd name="T34" fmla="*/ 191409 w 618"/>
              <a:gd name="T35" fmla="*/ 90705 h 606"/>
              <a:gd name="T36" fmla="*/ 188508 w 618"/>
              <a:gd name="T37" fmla="*/ 103385 h 606"/>
              <a:gd name="T38" fmla="*/ 188508 w 618"/>
              <a:gd name="T39" fmla="*/ 110212 h 606"/>
              <a:gd name="T40" fmla="*/ 198175 w 618"/>
              <a:gd name="T41" fmla="*/ 117039 h 606"/>
              <a:gd name="T42" fmla="*/ 198175 w 618"/>
              <a:gd name="T43" fmla="*/ 127768 h 606"/>
              <a:gd name="T44" fmla="*/ 195275 w 618"/>
              <a:gd name="T45" fmla="*/ 137521 h 606"/>
              <a:gd name="T46" fmla="*/ 198175 w 618"/>
              <a:gd name="T47" fmla="*/ 147274 h 606"/>
              <a:gd name="T48" fmla="*/ 199142 w 618"/>
              <a:gd name="T49" fmla="*/ 158003 h 606"/>
              <a:gd name="T50" fmla="*/ 202042 w 618"/>
              <a:gd name="T51" fmla="*/ 163855 h 606"/>
              <a:gd name="T52" fmla="*/ 205909 w 618"/>
              <a:gd name="T53" fmla="*/ 174584 h 606"/>
              <a:gd name="T54" fmla="*/ 209776 w 618"/>
              <a:gd name="T55" fmla="*/ 185312 h 606"/>
              <a:gd name="T56" fmla="*/ 218476 w 618"/>
              <a:gd name="T57" fmla="*/ 190188 h 606"/>
              <a:gd name="T58" fmla="*/ 203976 w 618"/>
              <a:gd name="T59" fmla="*/ 200917 h 606"/>
              <a:gd name="T60" fmla="*/ 184641 w 618"/>
              <a:gd name="T61" fmla="*/ 207744 h 606"/>
              <a:gd name="T62" fmla="*/ 170141 w 618"/>
              <a:gd name="T63" fmla="*/ 207744 h 606"/>
              <a:gd name="T64" fmla="*/ 159507 w 618"/>
              <a:gd name="T65" fmla="*/ 215547 h 606"/>
              <a:gd name="T66" fmla="*/ 140173 w 618"/>
              <a:gd name="T67" fmla="*/ 215547 h 606"/>
              <a:gd name="T68" fmla="*/ 125672 w 618"/>
              <a:gd name="T69" fmla="*/ 213596 h 606"/>
              <a:gd name="T70" fmla="*/ 108271 w 618"/>
              <a:gd name="T71" fmla="*/ 207744 h 606"/>
              <a:gd name="T72" fmla="*/ 104404 w 618"/>
              <a:gd name="T73" fmla="*/ 197016 h 606"/>
              <a:gd name="T74" fmla="*/ 101505 w 618"/>
              <a:gd name="T75" fmla="*/ 183361 h 606"/>
              <a:gd name="T76" fmla="*/ 90870 w 618"/>
              <a:gd name="T77" fmla="*/ 174584 h 606"/>
              <a:gd name="T78" fmla="*/ 78303 w 618"/>
              <a:gd name="T79" fmla="*/ 172633 h 606"/>
              <a:gd name="T80" fmla="*/ 67670 w 618"/>
              <a:gd name="T81" fmla="*/ 167756 h 606"/>
              <a:gd name="T82" fmla="*/ 53169 w 618"/>
              <a:gd name="T83" fmla="*/ 161904 h 606"/>
              <a:gd name="T84" fmla="*/ 36735 w 618"/>
              <a:gd name="T85" fmla="*/ 153126 h 606"/>
              <a:gd name="T86" fmla="*/ 26101 w 618"/>
              <a:gd name="T87" fmla="*/ 136545 h 606"/>
              <a:gd name="T88" fmla="*/ 14501 w 618"/>
              <a:gd name="T89" fmla="*/ 118015 h 606"/>
              <a:gd name="T90" fmla="*/ 3867 w 618"/>
              <a:gd name="T91" fmla="*/ 103385 h 606"/>
              <a:gd name="T92" fmla="*/ 1933 w 618"/>
              <a:gd name="T93" fmla="*/ 86804 h 606"/>
              <a:gd name="T94" fmla="*/ 195275 w 618"/>
              <a:gd name="T95" fmla="*/ 101434 h 606"/>
              <a:gd name="T96" fmla="*/ 199142 w 618"/>
              <a:gd name="T97" fmla="*/ 103385 h 606"/>
              <a:gd name="T98" fmla="*/ 202042 w 618"/>
              <a:gd name="T99" fmla="*/ 108261 h 606"/>
              <a:gd name="T100" fmla="*/ 198175 w 618"/>
              <a:gd name="T101" fmla="*/ 106311 h 606"/>
              <a:gd name="T102" fmla="*/ 205909 w 618"/>
              <a:gd name="T103" fmla="*/ 86804 h 606"/>
              <a:gd name="T104" fmla="*/ 203976 w 618"/>
              <a:gd name="T105" fmla="*/ 79976 h 606"/>
              <a:gd name="T106" fmla="*/ 205909 w 618"/>
              <a:gd name="T107" fmla="*/ 79976 h 606"/>
              <a:gd name="T108" fmla="*/ 207843 w 618"/>
              <a:gd name="T109" fmla="*/ 79976 h 606"/>
              <a:gd name="T110" fmla="*/ 203976 w 618"/>
              <a:gd name="T111" fmla="*/ 90705 h 606"/>
              <a:gd name="T112" fmla="*/ 207843 w 618"/>
              <a:gd name="T113" fmla="*/ 136545 h 606"/>
              <a:gd name="T114" fmla="*/ 202042 w 618"/>
              <a:gd name="T115" fmla="*/ 140447 h 606"/>
              <a:gd name="T116" fmla="*/ 203976 w 618"/>
              <a:gd name="T117" fmla="*/ 87779 h 606"/>
              <a:gd name="T118" fmla="*/ 216543 w 618"/>
              <a:gd name="T119" fmla="*/ 185312 h 606"/>
              <a:gd name="T120" fmla="*/ 198175 w 618"/>
              <a:gd name="T121" fmla="*/ 136545 h 606"/>
              <a:gd name="T122" fmla="*/ 205909 w 618"/>
              <a:gd name="T123" fmla="*/ 7997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8" h="606">
                <a:moveTo>
                  <a:pt x="6" y="192"/>
                </a:moveTo>
                <a:lnTo>
                  <a:pt x="12" y="192"/>
                </a:lnTo>
                <a:lnTo>
                  <a:pt x="18" y="192"/>
                </a:lnTo>
                <a:lnTo>
                  <a:pt x="24" y="192"/>
                </a:lnTo>
                <a:lnTo>
                  <a:pt x="30" y="192"/>
                </a:lnTo>
                <a:lnTo>
                  <a:pt x="30" y="186"/>
                </a:lnTo>
                <a:lnTo>
                  <a:pt x="30" y="192"/>
                </a:lnTo>
                <a:lnTo>
                  <a:pt x="30" y="186"/>
                </a:lnTo>
                <a:lnTo>
                  <a:pt x="36" y="186"/>
                </a:lnTo>
                <a:lnTo>
                  <a:pt x="42" y="186"/>
                </a:lnTo>
                <a:lnTo>
                  <a:pt x="42" y="180"/>
                </a:lnTo>
                <a:lnTo>
                  <a:pt x="42" y="174"/>
                </a:lnTo>
                <a:lnTo>
                  <a:pt x="48" y="174"/>
                </a:lnTo>
                <a:lnTo>
                  <a:pt x="48" y="168"/>
                </a:lnTo>
                <a:lnTo>
                  <a:pt x="54" y="168"/>
                </a:lnTo>
                <a:lnTo>
                  <a:pt x="54" y="162"/>
                </a:lnTo>
                <a:lnTo>
                  <a:pt x="54" y="156"/>
                </a:lnTo>
                <a:lnTo>
                  <a:pt x="60" y="156"/>
                </a:lnTo>
                <a:lnTo>
                  <a:pt x="60" y="150"/>
                </a:lnTo>
                <a:lnTo>
                  <a:pt x="60" y="144"/>
                </a:lnTo>
                <a:lnTo>
                  <a:pt x="66" y="144"/>
                </a:lnTo>
                <a:lnTo>
                  <a:pt x="66" y="138"/>
                </a:lnTo>
                <a:lnTo>
                  <a:pt x="72" y="138"/>
                </a:lnTo>
                <a:lnTo>
                  <a:pt x="78" y="138"/>
                </a:lnTo>
                <a:lnTo>
                  <a:pt x="78" y="132"/>
                </a:lnTo>
                <a:lnTo>
                  <a:pt x="72" y="132"/>
                </a:lnTo>
                <a:lnTo>
                  <a:pt x="78" y="132"/>
                </a:lnTo>
                <a:lnTo>
                  <a:pt x="78" y="126"/>
                </a:lnTo>
                <a:lnTo>
                  <a:pt x="84" y="126"/>
                </a:lnTo>
                <a:lnTo>
                  <a:pt x="84" y="120"/>
                </a:lnTo>
                <a:lnTo>
                  <a:pt x="84" y="114"/>
                </a:lnTo>
                <a:lnTo>
                  <a:pt x="78" y="114"/>
                </a:lnTo>
                <a:lnTo>
                  <a:pt x="72" y="114"/>
                </a:lnTo>
                <a:lnTo>
                  <a:pt x="72" y="108"/>
                </a:lnTo>
                <a:lnTo>
                  <a:pt x="66" y="108"/>
                </a:lnTo>
                <a:lnTo>
                  <a:pt x="60" y="108"/>
                </a:lnTo>
                <a:lnTo>
                  <a:pt x="60" y="102"/>
                </a:lnTo>
                <a:lnTo>
                  <a:pt x="66" y="102"/>
                </a:lnTo>
                <a:lnTo>
                  <a:pt x="60" y="96"/>
                </a:lnTo>
                <a:lnTo>
                  <a:pt x="66" y="96"/>
                </a:lnTo>
                <a:lnTo>
                  <a:pt x="60" y="96"/>
                </a:lnTo>
                <a:lnTo>
                  <a:pt x="60" y="90"/>
                </a:lnTo>
                <a:lnTo>
                  <a:pt x="66" y="90"/>
                </a:lnTo>
                <a:lnTo>
                  <a:pt x="66" y="84"/>
                </a:lnTo>
                <a:lnTo>
                  <a:pt x="66" y="78"/>
                </a:lnTo>
                <a:lnTo>
                  <a:pt x="72" y="78"/>
                </a:lnTo>
                <a:lnTo>
                  <a:pt x="78" y="78"/>
                </a:lnTo>
                <a:lnTo>
                  <a:pt x="84" y="78"/>
                </a:lnTo>
                <a:lnTo>
                  <a:pt x="84" y="72"/>
                </a:lnTo>
                <a:lnTo>
                  <a:pt x="84" y="66"/>
                </a:lnTo>
                <a:lnTo>
                  <a:pt x="90" y="66"/>
                </a:lnTo>
                <a:lnTo>
                  <a:pt x="90" y="60"/>
                </a:lnTo>
                <a:lnTo>
                  <a:pt x="84" y="60"/>
                </a:lnTo>
                <a:lnTo>
                  <a:pt x="84" y="54"/>
                </a:lnTo>
                <a:lnTo>
                  <a:pt x="84" y="48"/>
                </a:lnTo>
                <a:lnTo>
                  <a:pt x="84" y="42"/>
                </a:lnTo>
                <a:lnTo>
                  <a:pt x="84" y="36"/>
                </a:lnTo>
                <a:lnTo>
                  <a:pt x="78" y="30"/>
                </a:lnTo>
                <a:lnTo>
                  <a:pt x="78" y="24"/>
                </a:lnTo>
                <a:lnTo>
                  <a:pt x="72" y="24"/>
                </a:lnTo>
                <a:lnTo>
                  <a:pt x="72" y="18"/>
                </a:lnTo>
                <a:lnTo>
                  <a:pt x="66" y="18"/>
                </a:lnTo>
                <a:lnTo>
                  <a:pt x="72" y="18"/>
                </a:lnTo>
                <a:lnTo>
                  <a:pt x="66" y="18"/>
                </a:lnTo>
                <a:lnTo>
                  <a:pt x="66" y="12"/>
                </a:lnTo>
                <a:lnTo>
                  <a:pt x="66" y="6"/>
                </a:lnTo>
                <a:lnTo>
                  <a:pt x="72" y="6"/>
                </a:lnTo>
                <a:lnTo>
                  <a:pt x="78" y="6"/>
                </a:lnTo>
                <a:lnTo>
                  <a:pt x="78" y="0"/>
                </a:lnTo>
                <a:lnTo>
                  <a:pt x="84" y="0"/>
                </a:lnTo>
                <a:lnTo>
                  <a:pt x="90" y="0"/>
                </a:lnTo>
                <a:lnTo>
                  <a:pt x="96" y="0"/>
                </a:lnTo>
                <a:lnTo>
                  <a:pt x="102" y="0"/>
                </a:lnTo>
                <a:lnTo>
                  <a:pt x="108" y="0"/>
                </a:lnTo>
                <a:lnTo>
                  <a:pt x="114" y="0"/>
                </a:lnTo>
                <a:lnTo>
                  <a:pt x="120" y="0"/>
                </a:lnTo>
                <a:lnTo>
                  <a:pt x="126" y="0"/>
                </a:lnTo>
                <a:lnTo>
                  <a:pt x="132" y="0"/>
                </a:lnTo>
                <a:lnTo>
                  <a:pt x="138" y="0"/>
                </a:lnTo>
                <a:lnTo>
                  <a:pt x="144" y="0"/>
                </a:lnTo>
                <a:lnTo>
                  <a:pt x="150" y="0"/>
                </a:lnTo>
                <a:lnTo>
                  <a:pt x="156" y="0"/>
                </a:lnTo>
                <a:lnTo>
                  <a:pt x="162" y="0"/>
                </a:lnTo>
                <a:lnTo>
                  <a:pt x="168" y="0"/>
                </a:lnTo>
                <a:lnTo>
                  <a:pt x="174" y="0"/>
                </a:lnTo>
                <a:lnTo>
                  <a:pt x="180" y="0"/>
                </a:lnTo>
                <a:lnTo>
                  <a:pt x="186" y="0"/>
                </a:lnTo>
                <a:lnTo>
                  <a:pt x="192" y="0"/>
                </a:lnTo>
                <a:lnTo>
                  <a:pt x="198" y="0"/>
                </a:lnTo>
                <a:lnTo>
                  <a:pt x="204" y="0"/>
                </a:lnTo>
                <a:lnTo>
                  <a:pt x="210" y="0"/>
                </a:lnTo>
                <a:lnTo>
                  <a:pt x="216" y="0"/>
                </a:lnTo>
                <a:lnTo>
                  <a:pt x="222" y="0"/>
                </a:lnTo>
                <a:lnTo>
                  <a:pt x="228" y="0"/>
                </a:lnTo>
                <a:lnTo>
                  <a:pt x="234" y="0"/>
                </a:lnTo>
                <a:lnTo>
                  <a:pt x="240" y="0"/>
                </a:lnTo>
                <a:lnTo>
                  <a:pt x="246" y="0"/>
                </a:lnTo>
                <a:lnTo>
                  <a:pt x="252" y="0"/>
                </a:lnTo>
                <a:lnTo>
                  <a:pt x="258" y="0"/>
                </a:lnTo>
                <a:lnTo>
                  <a:pt x="264" y="0"/>
                </a:lnTo>
                <a:lnTo>
                  <a:pt x="264" y="6"/>
                </a:lnTo>
                <a:lnTo>
                  <a:pt x="264" y="0"/>
                </a:lnTo>
                <a:lnTo>
                  <a:pt x="270" y="0"/>
                </a:lnTo>
                <a:lnTo>
                  <a:pt x="270" y="6"/>
                </a:lnTo>
                <a:lnTo>
                  <a:pt x="276" y="6"/>
                </a:lnTo>
                <a:lnTo>
                  <a:pt x="282" y="12"/>
                </a:lnTo>
                <a:lnTo>
                  <a:pt x="288" y="12"/>
                </a:lnTo>
                <a:lnTo>
                  <a:pt x="288" y="18"/>
                </a:lnTo>
                <a:lnTo>
                  <a:pt x="294" y="18"/>
                </a:lnTo>
                <a:lnTo>
                  <a:pt x="300" y="18"/>
                </a:lnTo>
                <a:lnTo>
                  <a:pt x="300" y="24"/>
                </a:lnTo>
                <a:lnTo>
                  <a:pt x="306" y="24"/>
                </a:lnTo>
                <a:lnTo>
                  <a:pt x="312" y="30"/>
                </a:lnTo>
                <a:lnTo>
                  <a:pt x="318" y="30"/>
                </a:lnTo>
                <a:lnTo>
                  <a:pt x="318" y="36"/>
                </a:lnTo>
                <a:lnTo>
                  <a:pt x="324" y="36"/>
                </a:lnTo>
                <a:lnTo>
                  <a:pt x="330" y="36"/>
                </a:lnTo>
                <a:lnTo>
                  <a:pt x="330" y="42"/>
                </a:lnTo>
                <a:lnTo>
                  <a:pt x="336" y="42"/>
                </a:lnTo>
                <a:lnTo>
                  <a:pt x="342" y="42"/>
                </a:lnTo>
                <a:lnTo>
                  <a:pt x="342" y="48"/>
                </a:lnTo>
                <a:lnTo>
                  <a:pt x="348" y="48"/>
                </a:lnTo>
                <a:lnTo>
                  <a:pt x="354" y="54"/>
                </a:lnTo>
                <a:lnTo>
                  <a:pt x="360" y="54"/>
                </a:lnTo>
                <a:lnTo>
                  <a:pt x="366" y="60"/>
                </a:lnTo>
                <a:lnTo>
                  <a:pt x="372" y="60"/>
                </a:lnTo>
                <a:lnTo>
                  <a:pt x="378" y="66"/>
                </a:lnTo>
                <a:lnTo>
                  <a:pt x="384" y="66"/>
                </a:lnTo>
                <a:lnTo>
                  <a:pt x="384" y="72"/>
                </a:lnTo>
                <a:lnTo>
                  <a:pt x="390" y="72"/>
                </a:lnTo>
                <a:lnTo>
                  <a:pt x="396" y="72"/>
                </a:lnTo>
                <a:lnTo>
                  <a:pt x="396" y="78"/>
                </a:lnTo>
                <a:lnTo>
                  <a:pt x="402" y="78"/>
                </a:lnTo>
                <a:lnTo>
                  <a:pt x="408" y="78"/>
                </a:lnTo>
                <a:lnTo>
                  <a:pt x="408" y="84"/>
                </a:lnTo>
                <a:lnTo>
                  <a:pt x="414" y="84"/>
                </a:lnTo>
                <a:lnTo>
                  <a:pt x="414" y="90"/>
                </a:lnTo>
                <a:lnTo>
                  <a:pt x="420" y="90"/>
                </a:lnTo>
                <a:lnTo>
                  <a:pt x="426" y="90"/>
                </a:lnTo>
                <a:lnTo>
                  <a:pt x="426" y="96"/>
                </a:lnTo>
                <a:lnTo>
                  <a:pt x="432" y="96"/>
                </a:lnTo>
                <a:lnTo>
                  <a:pt x="438" y="96"/>
                </a:lnTo>
                <a:lnTo>
                  <a:pt x="444" y="102"/>
                </a:lnTo>
                <a:lnTo>
                  <a:pt x="450" y="108"/>
                </a:lnTo>
                <a:lnTo>
                  <a:pt x="456" y="108"/>
                </a:lnTo>
                <a:lnTo>
                  <a:pt x="462" y="114"/>
                </a:lnTo>
                <a:lnTo>
                  <a:pt x="468" y="114"/>
                </a:lnTo>
                <a:lnTo>
                  <a:pt x="468" y="120"/>
                </a:lnTo>
                <a:lnTo>
                  <a:pt x="468" y="126"/>
                </a:lnTo>
                <a:lnTo>
                  <a:pt x="468" y="132"/>
                </a:lnTo>
                <a:lnTo>
                  <a:pt x="462" y="132"/>
                </a:lnTo>
                <a:lnTo>
                  <a:pt x="462" y="138"/>
                </a:lnTo>
                <a:lnTo>
                  <a:pt x="462" y="144"/>
                </a:lnTo>
                <a:lnTo>
                  <a:pt x="468" y="138"/>
                </a:lnTo>
                <a:lnTo>
                  <a:pt x="468" y="144"/>
                </a:lnTo>
                <a:lnTo>
                  <a:pt x="474" y="144"/>
                </a:lnTo>
                <a:lnTo>
                  <a:pt x="474" y="150"/>
                </a:lnTo>
                <a:lnTo>
                  <a:pt x="480" y="156"/>
                </a:lnTo>
                <a:lnTo>
                  <a:pt x="486" y="156"/>
                </a:lnTo>
                <a:lnTo>
                  <a:pt x="492" y="162"/>
                </a:lnTo>
                <a:lnTo>
                  <a:pt x="498" y="168"/>
                </a:lnTo>
                <a:lnTo>
                  <a:pt x="504" y="168"/>
                </a:lnTo>
                <a:lnTo>
                  <a:pt x="504" y="174"/>
                </a:lnTo>
                <a:lnTo>
                  <a:pt x="510" y="174"/>
                </a:lnTo>
                <a:lnTo>
                  <a:pt x="510" y="180"/>
                </a:lnTo>
                <a:lnTo>
                  <a:pt x="516" y="180"/>
                </a:lnTo>
                <a:lnTo>
                  <a:pt x="522" y="186"/>
                </a:lnTo>
                <a:lnTo>
                  <a:pt x="528" y="186"/>
                </a:lnTo>
                <a:lnTo>
                  <a:pt x="528" y="192"/>
                </a:lnTo>
                <a:lnTo>
                  <a:pt x="534" y="192"/>
                </a:lnTo>
                <a:lnTo>
                  <a:pt x="534" y="198"/>
                </a:lnTo>
                <a:lnTo>
                  <a:pt x="540" y="198"/>
                </a:lnTo>
                <a:lnTo>
                  <a:pt x="546" y="204"/>
                </a:lnTo>
                <a:lnTo>
                  <a:pt x="552" y="204"/>
                </a:lnTo>
                <a:lnTo>
                  <a:pt x="552" y="210"/>
                </a:lnTo>
                <a:lnTo>
                  <a:pt x="546" y="210"/>
                </a:lnTo>
                <a:lnTo>
                  <a:pt x="546" y="216"/>
                </a:lnTo>
                <a:lnTo>
                  <a:pt x="546" y="210"/>
                </a:lnTo>
                <a:lnTo>
                  <a:pt x="552" y="210"/>
                </a:lnTo>
                <a:lnTo>
                  <a:pt x="552" y="216"/>
                </a:lnTo>
                <a:lnTo>
                  <a:pt x="552" y="222"/>
                </a:lnTo>
                <a:lnTo>
                  <a:pt x="546" y="222"/>
                </a:lnTo>
                <a:lnTo>
                  <a:pt x="546" y="216"/>
                </a:lnTo>
                <a:lnTo>
                  <a:pt x="552" y="216"/>
                </a:lnTo>
                <a:lnTo>
                  <a:pt x="546" y="216"/>
                </a:lnTo>
                <a:lnTo>
                  <a:pt x="546" y="222"/>
                </a:lnTo>
                <a:lnTo>
                  <a:pt x="546" y="228"/>
                </a:lnTo>
                <a:lnTo>
                  <a:pt x="546" y="234"/>
                </a:lnTo>
                <a:lnTo>
                  <a:pt x="540" y="234"/>
                </a:lnTo>
                <a:lnTo>
                  <a:pt x="540" y="240"/>
                </a:lnTo>
                <a:lnTo>
                  <a:pt x="540" y="234"/>
                </a:lnTo>
                <a:lnTo>
                  <a:pt x="546" y="234"/>
                </a:lnTo>
                <a:lnTo>
                  <a:pt x="546" y="240"/>
                </a:lnTo>
                <a:lnTo>
                  <a:pt x="540" y="240"/>
                </a:lnTo>
                <a:lnTo>
                  <a:pt x="540" y="246"/>
                </a:lnTo>
                <a:lnTo>
                  <a:pt x="534" y="246"/>
                </a:lnTo>
                <a:lnTo>
                  <a:pt x="540" y="246"/>
                </a:lnTo>
                <a:lnTo>
                  <a:pt x="540" y="252"/>
                </a:lnTo>
                <a:lnTo>
                  <a:pt x="540" y="258"/>
                </a:lnTo>
                <a:lnTo>
                  <a:pt x="534" y="258"/>
                </a:lnTo>
                <a:lnTo>
                  <a:pt x="534" y="264"/>
                </a:lnTo>
                <a:lnTo>
                  <a:pt x="534" y="270"/>
                </a:lnTo>
                <a:lnTo>
                  <a:pt x="528" y="270"/>
                </a:lnTo>
                <a:lnTo>
                  <a:pt x="528" y="276"/>
                </a:lnTo>
                <a:lnTo>
                  <a:pt x="528" y="282"/>
                </a:lnTo>
                <a:lnTo>
                  <a:pt x="528" y="288"/>
                </a:lnTo>
                <a:lnTo>
                  <a:pt x="534" y="288"/>
                </a:lnTo>
                <a:lnTo>
                  <a:pt x="528" y="288"/>
                </a:lnTo>
                <a:lnTo>
                  <a:pt x="534" y="288"/>
                </a:lnTo>
                <a:lnTo>
                  <a:pt x="534" y="294"/>
                </a:lnTo>
                <a:lnTo>
                  <a:pt x="528" y="294"/>
                </a:lnTo>
                <a:lnTo>
                  <a:pt x="528" y="300"/>
                </a:lnTo>
                <a:lnTo>
                  <a:pt x="534" y="300"/>
                </a:lnTo>
                <a:lnTo>
                  <a:pt x="528" y="300"/>
                </a:lnTo>
                <a:lnTo>
                  <a:pt x="528" y="306"/>
                </a:lnTo>
                <a:lnTo>
                  <a:pt x="534" y="306"/>
                </a:lnTo>
                <a:lnTo>
                  <a:pt x="528" y="306"/>
                </a:lnTo>
                <a:lnTo>
                  <a:pt x="528" y="300"/>
                </a:lnTo>
                <a:lnTo>
                  <a:pt x="534" y="300"/>
                </a:lnTo>
                <a:lnTo>
                  <a:pt x="534" y="306"/>
                </a:lnTo>
                <a:lnTo>
                  <a:pt x="540" y="306"/>
                </a:lnTo>
                <a:lnTo>
                  <a:pt x="546" y="306"/>
                </a:lnTo>
                <a:lnTo>
                  <a:pt x="540" y="306"/>
                </a:lnTo>
                <a:lnTo>
                  <a:pt x="546" y="306"/>
                </a:lnTo>
                <a:lnTo>
                  <a:pt x="546" y="312"/>
                </a:lnTo>
                <a:lnTo>
                  <a:pt x="552" y="312"/>
                </a:lnTo>
                <a:lnTo>
                  <a:pt x="552" y="318"/>
                </a:lnTo>
                <a:lnTo>
                  <a:pt x="552" y="324"/>
                </a:lnTo>
                <a:lnTo>
                  <a:pt x="558" y="324"/>
                </a:lnTo>
                <a:lnTo>
                  <a:pt x="552" y="324"/>
                </a:lnTo>
                <a:lnTo>
                  <a:pt x="558" y="324"/>
                </a:lnTo>
                <a:lnTo>
                  <a:pt x="558" y="330"/>
                </a:lnTo>
                <a:lnTo>
                  <a:pt x="558" y="324"/>
                </a:lnTo>
                <a:lnTo>
                  <a:pt x="558" y="330"/>
                </a:lnTo>
                <a:lnTo>
                  <a:pt x="564" y="330"/>
                </a:lnTo>
                <a:lnTo>
                  <a:pt x="570" y="330"/>
                </a:lnTo>
                <a:lnTo>
                  <a:pt x="570" y="336"/>
                </a:lnTo>
                <a:lnTo>
                  <a:pt x="570" y="342"/>
                </a:lnTo>
                <a:lnTo>
                  <a:pt x="570" y="348"/>
                </a:lnTo>
                <a:lnTo>
                  <a:pt x="564" y="348"/>
                </a:lnTo>
                <a:lnTo>
                  <a:pt x="564" y="354"/>
                </a:lnTo>
                <a:lnTo>
                  <a:pt x="558" y="354"/>
                </a:lnTo>
                <a:lnTo>
                  <a:pt x="564" y="354"/>
                </a:lnTo>
                <a:lnTo>
                  <a:pt x="558" y="354"/>
                </a:lnTo>
                <a:lnTo>
                  <a:pt x="558" y="348"/>
                </a:lnTo>
                <a:lnTo>
                  <a:pt x="558" y="354"/>
                </a:lnTo>
                <a:lnTo>
                  <a:pt x="558" y="360"/>
                </a:lnTo>
                <a:lnTo>
                  <a:pt x="558" y="366"/>
                </a:lnTo>
                <a:lnTo>
                  <a:pt x="552" y="372"/>
                </a:lnTo>
                <a:lnTo>
                  <a:pt x="558" y="372"/>
                </a:lnTo>
                <a:lnTo>
                  <a:pt x="558" y="378"/>
                </a:lnTo>
                <a:lnTo>
                  <a:pt x="552" y="378"/>
                </a:lnTo>
                <a:lnTo>
                  <a:pt x="552" y="384"/>
                </a:lnTo>
                <a:lnTo>
                  <a:pt x="558" y="384"/>
                </a:lnTo>
                <a:lnTo>
                  <a:pt x="558" y="378"/>
                </a:lnTo>
                <a:lnTo>
                  <a:pt x="564" y="378"/>
                </a:lnTo>
                <a:lnTo>
                  <a:pt x="564" y="384"/>
                </a:lnTo>
                <a:lnTo>
                  <a:pt x="564" y="390"/>
                </a:lnTo>
                <a:lnTo>
                  <a:pt x="558" y="390"/>
                </a:lnTo>
                <a:lnTo>
                  <a:pt x="564" y="390"/>
                </a:lnTo>
                <a:lnTo>
                  <a:pt x="564" y="396"/>
                </a:lnTo>
                <a:lnTo>
                  <a:pt x="564" y="402"/>
                </a:lnTo>
                <a:lnTo>
                  <a:pt x="558" y="402"/>
                </a:lnTo>
                <a:lnTo>
                  <a:pt x="558" y="408"/>
                </a:lnTo>
                <a:lnTo>
                  <a:pt x="552" y="408"/>
                </a:lnTo>
                <a:lnTo>
                  <a:pt x="558" y="414"/>
                </a:lnTo>
                <a:lnTo>
                  <a:pt x="558" y="420"/>
                </a:lnTo>
                <a:lnTo>
                  <a:pt x="558" y="426"/>
                </a:lnTo>
                <a:lnTo>
                  <a:pt x="558" y="420"/>
                </a:lnTo>
                <a:lnTo>
                  <a:pt x="558" y="426"/>
                </a:lnTo>
                <a:lnTo>
                  <a:pt x="558" y="432"/>
                </a:lnTo>
                <a:lnTo>
                  <a:pt x="564" y="432"/>
                </a:lnTo>
                <a:lnTo>
                  <a:pt x="564" y="438"/>
                </a:lnTo>
                <a:lnTo>
                  <a:pt x="570" y="438"/>
                </a:lnTo>
                <a:lnTo>
                  <a:pt x="564" y="438"/>
                </a:lnTo>
                <a:lnTo>
                  <a:pt x="570" y="438"/>
                </a:lnTo>
                <a:lnTo>
                  <a:pt x="570" y="444"/>
                </a:lnTo>
                <a:lnTo>
                  <a:pt x="564" y="444"/>
                </a:lnTo>
                <a:lnTo>
                  <a:pt x="564" y="450"/>
                </a:lnTo>
                <a:lnTo>
                  <a:pt x="570" y="450"/>
                </a:lnTo>
                <a:lnTo>
                  <a:pt x="564" y="456"/>
                </a:lnTo>
                <a:lnTo>
                  <a:pt x="570" y="456"/>
                </a:lnTo>
                <a:lnTo>
                  <a:pt x="570" y="450"/>
                </a:lnTo>
                <a:lnTo>
                  <a:pt x="576" y="450"/>
                </a:lnTo>
                <a:lnTo>
                  <a:pt x="576" y="456"/>
                </a:lnTo>
                <a:lnTo>
                  <a:pt x="570" y="456"/>
                </a:lnTo>
                <a:lnTo>
                  <a:pt x="576" y="456"/>
                </a:lnTo>
                <a:lnTo>
                  <a:pt x="576" y="462"/>
                </a:lnTo>
                <a:lnTo>
                  <a:pt x="576" y="468"/>
                </a:lnTo>
                <a:lnTo>
                  <a:pt x="576" y="474"/>
                </a:lnTo>
                <a:lnTo>
                  <a:pt x="570" y="474"/>
                </a:lnTo>
                <a:lnTo>
                  <a:pt x="576" y="474"/>
                </a:lnTo>
                <a:lnTo>
                  <a:pt x="576" y="480"/>
                </a:lnTo>
                <a:lnTo>
                  <a:pt x="582" y="480"/>
                </a:lnTo>
                <a:lnTo>
                  <a:pt x="576" y="480"/>
                </a:lnTo>
                <a:lnTo>
                  <a:pt x="582" y="480"/>
                </a:lnTo>
                <a:lnTo>
                  <a:pt x="582" y="486"/>
                </a:lnTo>
                <a:lnTo>
                  <a:pt x="582" y="492"/>
                </a:lnTo>
                <a:lnTo>
                  <a:pt x="576" y="492"/>
                </a:lnTo>
                <a:lnTo>
                  <a:pt x="582" y="492"/>
                </a:lnTo>
                <a:lnTo>
                  <a:pt x="582" y="498"/>
                </a:lnTo>
                <a:lnTo>
                  <a:pt x="582" y="504"/>
                </a:lnTo>
                <a:lnTo>
                  <a:pt x="576" y="504"/>
                </a:lnTo>
                <a:lnTo>
                  <a:pt x="582" y="504"/>
                </a:lnTo>
                <a:lnTo>
                  <a:pt x="588" y="504"/>
                </a:lnTo>
                <a:lnTo>
                  <a:pt x="588" y="510"/>
                </a:lnTo>
                <a:lnTo>
                  <a:pt x="594" y="510"/>
                </a:lnTo>
                <a:lnTo>
                  <a:pt x="594" y="516"/>
                </a:lnTo>
                <a:lnTo>
                  <a:pt x="594" y="510"/>
                </a:lnTo>
                <a:lnTo>
                  <a:pt x="594" y="516"/>
                </a:lnTo>
                <a:lnTo>
                  <a:pt x="600" y="516"/>
                </a:lnTo>
                <a:lnTo>
                  <a:pt x="600" y="522"/>
                </a:lnTo>
                <a:lnTo>
                  <a:pt x="606" y="522"/>
                </a:lnTo>
                <a:lnTo>
                  <a:pt x="612" y="522"/>
                </a:lnTo>
                <a:lnTo>
                  <a:pt x="606" y="522"/>
                </a:lnTo>
                <a:lnTo>
                  <a:pt x="606" y="516"/>
                </a:lnTo>
                <a:lnTo>
                  <a:pt x="612" y="522"/>
                </a:lnTo>
                <a:lnTo>
                  <a:pt x="612" y="528"/>
                </a:lnTo>
                <a:lnTo>
                  <a:pt x="618" y="528"/>
                </a:lnTo>
                <a:lnTo>
                  <a:pt x="618" y="522"/>
                </a:lnTo>
                <a:lnTo>
                  <a:pt x="618" y="528"/>
                </a:lnTo>
                <a:lnTo>
                  <a:pt x="618" y="534"/>
                </a:lnTo>
                <a:lnTo>
                  <a:pt x="612" y="540"/>
                </a:lnTo>
                <a:lnTo>
                  <a:pt x="606" y="540"/>
                </a:lnTo>
                <a:lnTo>
                  <a:pt x="600" y="546"/>
                </a:lnTo>
                <a:lnTo>
                  <a:pt x="600" y="552"/>
                </a:lnTo>
                <a:lnTo>
                  <a:pt x="594" y="552"/>
                </a:lnTo>
                <a:lnTo>
                  <a:pt x="588" y="552"/>
                </a:lnTo>
                <a:lnTo>
                  <a:pt x="582" y="558"/>
                </a:lnTo>
                <a:lnTo>
                  <a:pt x="576" y="558"/>
                </a:lnTo>
                <a:lnTo>
                  <a:pt x="570" y="558"/>
                </a:lnTo>
                <a:lnTo>
                  <a:pt x="570" y="564"/>
                </a:lnTo>
                <a:lnTo>
                  <a:pt x="564" y="564"/>
                </a:lnTo>
                <a:lnTo>
                  <a:pt x="558" y="564"/>
                </a:lnTo>
                <a:lnTo>
                  <a:pt x="558" y="570"/>
                </a:lnTo>
                <a:lnTo>
                  <a:pt x="552" y="570"/>
                </a:lnTo>
                <a:lnTo>
                  <a:pt x="546" y="570"/>
                </a:lnTo>
                <a:lnTo>
                  <a:pt x="540" y="570"/>
                </a:lnTo>
                <a:lnTo>
                  <a:pt x="534" y="570"/>
                </a:lnTo>
                <a:lnTo>
                  <a:pt x="528" y="576"/>
                </a:lnTo>
                <a:lnTo>
                  <a:pt x="522" y="576"/>
                </a:lnTo>
                <a:lnTo>
                  <a:pt x="516" y="576"/>
                </a:lnTo>
                <a:lnTo>
                  <a:pt x="516" y="582"/>
                </a:lnTo>
                <a:lnTo>
                  <a:pt x="510" y="582"/>
                </a:lnTo>
                <a:lnTo>
                  <a:pt x="510" y="588"/>
                </a:lnTo>
                <a:lnTo>
                  <a:pt x="510" y="582"/>
                </a:lnTo>
                <a:lnTo>
                  <a:pt x="504" y="582"/>
                </a:lnTo>
                <a:lnTo>
                  <a:pt x="498" y="582"/>
                </a:lnTo>
                <a:lnTo>
                  <a:pt x="498" y="576"/>
                </a:lnTo>
                <a:lnTo>
                  <a:pt x="492" y="576"/>
                </a:lnTo>
                <a:lnTo>
                  <a:pt x="486" y="576"/>
                </a:lnTo>
                <a:lnTo>
                  <a:pt x="480" y="576"/>
                </a:lnTo>
                <a:lnTo>
                  <a:pt x="480" y="582"/>
                </a:lnTo>
                <a:lnTo>
                  <a:pt x="474" y="582"/>
                </a:lnTo>
                <a:lnTo>
                  <a:pt x="474" y="588"/>
                </a:lnTo>
                <a:lnTo>
                  <a:pt x="474" y="594"/>
                </a:lnTo>
                <a:lnTo>
                  <a:pt x="468" y="594"/>
                </a:lnTo>
                <a:lnTo>
                  <a:pt x="468" y="600"/>
                </a:lnTo>
                <a:lnTo>
                  <a:pt x="462" y="600"/>
                </a:lnTo>
                <a:lnTo>
                  <a:pt x="456" y="600"/>
                </a:lnTo>
                <a:lnTo>
                  <a:pt x="456" y="606"/>
                </a:lnTo>
                <a:lnTo>
                  <a:pt x="450" y="606"/>
                </a:lnTo>
                <a:lnTo>
                  <a:pt x="450" y="600"/>
                </a:lnTo>
                <a:lnTo>
                  <a:pt x="444" y="600"/>
                </a:lnTo>
                <a:lnTo>
                  <a:pt x="438" y="600"/>
                </a:lnTo>
                <a:lnTo>
                  <a:pt x="432" y="600"/>
                </a:lnTo>
                <a:lnTo>
                  <a:pt x="432" y="594"/>
                </a:lnTo>
                <a:lnTo>
                  <a:pt x="426" y="594"/>
                </a:lnTo>
                <a:lnTo>
                  <a:pt x="420" y="594"/>
                </a:lnTo>
                <a:lnTo>
                  <a:pt x="414" y="600"/>
                </a:lnTo>
                <a:lnTo>
                  <a:pt x="408" y="600"/>
                </a:lnTo>
                <a:lnTo>
                  <a:pt x="402" y="606"/>
                </a:lnTo>
                <a:lnTo>
                  <a:pt x="402" y="600"/>
                </a:lnTo>
                <a:lnTo>
                  <a:pt x="396" y="600"/>
                </a:lnTo>
                <a:lnTo>
                  <a:pt x="390" y="600"/>
                </a:lnTo>
                <a:lnTo>
                  <a:pt x="384" y="600"/>
                </a:lnTo>
                <a:lnTo>
                  <a:pt x="384" y="594"/>
                </a:lnTo>
                <a:lnTo>
                  <a:pt x="378" y="594"/>
                </a:lnTo>
                <a:lnTo>
                  <a:pt x="372" y="588"/>
                </a:lnTo>
                <a:lnTo>
                  <a:pt x="366" y="588"/>
                </a:lnTo>
                <a:lnTo>
                  <a:pt x="366" y="582"/>
                </a:lnTo>
                <a:lnTo>
                  <a:pt x="360" y="582"/>
                </a:lnTo>
                <a:lnTo>
                  <a:pt x="360" y="588"/>
                </a:lnTo>
                <a:lnTo>
                  <a:pt x="354" y="588"/>
                </a:lnTo>
                <a:lnTo>
                  <a:pt x="354" y="594"/>
                </a:lnTo>
                <a:lnTo>
                  <a:pt x="348" y="594"/>
                </a:lnTo>
                <a:lnTo>
                  <a:pt x="342" y="594"/>
                </a:lnTo>
                <a:lnTo>
                  <a:pt x="336" y="594"/>
                </a:lnTo>
                <a:lnTo>
                  <a:pt x="330" y="594"/>
                </a:lnTo>
                <a:lnTo>
                  <a:pt x="324" y="594"/>
                </a:lnTo>
                <a:lnTo>
                  <a:pt x="318" y="594"/>
                </a:lnTo>
                <a:lnTo>
                  <a:pt x="312" y="594"/>
                </a:lnTo>
                <a:lnTo>
                  <a:pt x="312" y="588"/>
                </a:lnTo>
                <a:lnTo>
                  <a:pt x="312" y="582"/>
                </a:lnTo>
                <a:lnTo>
                  <a:pt x="306" y="582"/>
                </a:lnTo>
                <a:lnTo>
                  <a:pt x="306" y="576"/>
                </a:lnTo>
                <a:lnTo>
                  <a:pt x="300" y="570"/>
                </a:lnTo>
                <a:lnTo>
                  <a:pt x="294" y="570"/>
                </a:lnTo>
                <a:lnTo>
                  <a:pt x="294" y="564"/>
                </a:lnTo>
                <a:lnTo>
                  <a:pt x="294" y="558"/>
                </a:lnTo>
                <a:lnTo>
                  <a:pt x="300" y="558"/>
                </a:lnTo>
                <a:lnTo>
                  <a:pt x="294" y="558"/>
                </a:lnTo>
                <a:lnTo>
                  <a:pt x="300" y="552"/>
                </a:lnTo>
                <a:lnTo>
                  <a:pt x="294" y="552"/>
                </a:lnTo>
                <a:lnTo>
                  <a:pt x="300" y="552"/>
                </a:lnTo>
                <a:lnTo>
                  <a:pt x="300" y="546"/>
                </a:lnTo>
                <a:lnTo>
                  <a:pt x="294" y="546"/>
                </a:lnTo>
                <a:lnTo>
                  <a:pt x="294" y="540"/>
                </a:lnTo>
                <a:lnTo>
                  <a:pt x="294" y="534"/>
                </a:lnTo>
                <a:lnTo>
                  <a:pt x="294" y="528"/>
                </a:lnTo>
                <a:lnTo>
                  <a:pt x="294" y="522"/>
                </a:lnTo>
                <a:lnTo>
                  <a:pt x="294" y="516"/>
                </a:lnTo>
                <a:lnTo>
                  <a:pt x="294" y="510"/>
                </a:lnTo>
                <a:lnTo>
                  <a:pt x="288" y="510"/>
                </a:lnTo>
                <a:lnTo>
                  <a:pt x="294" y="510"/>
                </a:lnTo>
                <a:lnTo>
                  <a:pt x="288" y="510"/>
                </a:lnTo>
                <a:lnTo>
                  <a:pt x="294" y="510"/>
                </a:lnTo>
                <a:lnTo>
                  <a:pt x="288" y="510"/>
                </a:lnTo>
                <a:lnTo>
                  <a:pt x="288" y="504"/>
                </a:lnTo>
                <a:lnTo>
                  <a:pt x="288" y="498"/>
                </a:lnTo>
                <a:lnTo>
                  <a:pt x="282" y="498"/>
                </a:lnTo>
                <a:lnTo>
                  <a:pt x="282" y="492"/>
                </a:lnTo>
                <a:lnTo>
                  <a:pt x="276" y="492"/>
                </a:lnTo>
                <a:lnTo>
                  <a:pt x="270" y="480"/>
                </a:lnTo>
                <a:lnTo>
                  <a:pt x="264" y="480"/>
                </a:lnTo>
                <a:lnTo>
                  <a:pt x="264" y="474"/>
                </a:lnTo>
                <a:lnTo>
                  <a:pt x="264" y="480"/>
                </a:lnTo>
                <a:lnTo>
                  <a:pt x="258" y="480"/>
                </a:lnTo>
                <a:lnTo>
                  <a:pt x="258" y="486"/>
                </a:lnTo>
                <a:lnTo>
                  <a:pt x="252" y="486"/>
                </a:lnTo>
                <a:lnTo>
                  <a:pt x="252" y="480"/>
                </a:lnTo>
                <a:lnTo>
                  <a:pt x="246" y="480"/>
                </a:lnTo>
                <a:lnTo>
                  <a:pt x="246" y="486"/>
                </a:lnTo>
                <a:lnTo>
                  <a:pt x="246" y="480"/>
                </a:lnTo>
                <a:lnTo>
                  <a:pt x="240" y="480"/>
                </a:lnTo>
                <a:lnTo>
                  <a:pt x="234" y="480"/>
                </a:lnTo>
                <a:lnTo>
                  <a:pt x="234" y="486"/>
                </a:lnTo>
                <a:lnTo>
                  <a:pt x="228" y="486"/>
                </a:lnTo>
                <a:lnTo>
                  <a:pt x="228" y="480"/>
                </a:lnTo>
                <a:lnTo>
                  <a:pt x="222" y="480"/>
                </a:lnTo>
                <a:lnTo>
                  <a:pt x="222" y="474"/>
                </a:lnTo>
                <a:lnTo>
                  <a:pt x="216" y="474"/>
                </a:lnTo>
                <a:lnTo>
                  <a:pt x="216" y="480"/>
                </a:lnTo>
                <a:lnTo>
                  <a:pt x="216" y="474"/>
                </a:lnTo>
                <a:lnTo>
                  <a:pt x="210" y="474"/>
                </a:lnTo>
                <a:lnTo>
                  <a:pt x="204" y="474"/>
                </a:lnTo>
                <a:lnTo>
                  <a:pt x="204" y="468"/>
                </a:lnTo>
                <a:lnTo>
                  <a:pt x="204" y="474"/>
                </a:lnTo>
                <a:lnTo>
                  <a:pt x="204" y="468"/>
                </a:lnTo>
                <a:lnTo>
                  <a:pt x="198" y="468"/>
                </a:lnTo>
                <a:lnTo>
                  <a:pt x="192" y="468"/>
                </a:lnTo>
                <a:lnTo>
                  <a:pt x="192" y="462"/>
                </a:lnTo>
                <a:lnTo>
                  <a:pt x="186" y="462"/>
                </a:lnTo>
                <a:lnTo>
                  <a:pt x="180" y="462"/>
                </a:lnTo>
                <a:lnTo>
                  <a:pt x="174" y="456"/>
                </a:lnTo>
                <a:lnTo>
                  <a:pt x="180" y="456"/>
                </a:lnTo>
                <a:lnTo>
                  <a:pt x="174" y="456"/>
                </a:lnTo>
                <a:lnTo>
                  <a:pt x="168" y="456"/>
                </a:lnTo>
                <a:lnTo>
                  <a:pt x="162" y="456"/>
                </a:lnTo>
                <a:lnTo>
                  <a:pt x="162" y="450"/>
                </a:lnTo>
                <a:lnTo>
                  <a:pt x="156" y="450"/>
                </a:lnTo>
                <a:lnTo>
                  <a:pt x="150" y="450"/>
                </a:lnTo>
                <a:lnTo>
                  <a:pt x="144" y="450"/>
                </a:lnTo>
                <a:lnTo>
                  <a:pt x="144" y="444"/>
                </a:lnTo>
                <a:lnTo>
                  <a:pt x="138" y="444"/>
                </a:lnTo>
                <a:lnTo>
                  <a:pt x="132" y="444"/>
                </a:lnTo>
                <a:lnTo>
                  <a:pt x="126" y="438"/>
                </a:lnTo>
                <a:lnTo>
                  <a:pt x="126" y="432"/>
                </a:lnTo>
                <a:lnTo>
                  <a:pt x="120" y="432"/>
                </a:lnTo>
                <a:lnTo>
                  <a:pt x="120" y="426"/>
                </a:lnTo>
                <a:lnTo>
                  <a:pt x="114" y="426"/>
                </a:lnTo>
                <a:lnTo>
                  <a:pt x="108" y="426"/>
                </a:lnTo>
                <a:lnTo>
                  <a:pt x="102" y="426"/>
                </a:lnTo>
                <a:lnTo>
                  <a:pt x="96" y="426"/>
                </a:lnTo>
                <a:lnTo>
                  <a:pt x="90" y="420"/>
                </a:lnTo>
                <a:lnTo>
                  <a:pt x="90" y="414"/>
                </a:lnTo>
                <a:lnTo>
                  <a:pt x="84" y="408"/>
                </a:lnTo>
                <a:lnTo>
                  <a:pt x="84" y="402"/>
                </a:lnTo>
                <a:lnTo>
                  <a:pt x="78" y="402"/>
                </a:lnTo>
                <a:lnTo>
                  <a:pt x="78" y="396"/>
                </a:lnTo>
                <a:lnTo>
                  <a:pt x="78" y="390"/>
                </a:lnTo>
                <a:lnTo>
                  <a:pt x="72" y="390"/>
                </a:lnTo>
                <a:lnTo>
                  <a:pt x="72" y="384"/>
                </a:lnTo>
                <a:lnTo>
                  <a:pt x="72" y="378"/>
                </a:lnTo>
                <a:lnTo>
                  <a:pt x="66" y="372"/>
                </a:lnTo>
                <a:lnTo>
                  <a:pt x="66" y="366"/>
                </a:lnTo>
                <a:lnTo>
                  <a:pt x="66" y="360"/>
                </a:lnTo>
                <a:lnTo>
                  <a:pt x="60" y="360"/>
                </a:lnTo>
                <a:lnTo>
                  <a:pt x="60" y="354"/>
                </a:lnTo>
                <a:lnTo>
                  <a:pt x="60" y="348"/>
                </a:lnTo>
                <a:lnTo>
                  <a:pt x="54" y="342"/>
                </a:lnTo>
                <a:lnTo>
                  <a:pt x="54" y="336"/>
                </a:lnTo>
                <a:lnTo>
                  <a:pt x="48" y="336"/>
                </a:lnTo>
                <a:lnTo>
                  <a:pt x="48" y="330"/>
                </a:lnTo>
                <a:lnTo>
                  <a:pt x="42" y="330"/>
                </a:lnTo>
                <a:lnTo>
                  <a:pt x="42" y="324"/>
                </a:lnTo>
                <a:lnTo>
                  <a:pt x="36" y="324"/>
                </a:lnTo>
                <a:lnTo>
                  <a:pt x="36" y="318"/>
                </a:lnTo>
                <a:lnTo>
                  <a:pt x="30" y="318"/>
                </a:lnTo>
                <a:lnTo>
                  <a:pt x="24" y="312"/>
                </a:lnTo>
                <a:lnTo>
                  <a:pt x="24" y="306"/>
                </a:lnTo>
                <a:lnTo>
                  <a:pt x="18" y="306"/>
                </a:lnTo>
                <a:lnTo>
                  <a:pt x="18" y="300"/>
                </a:lnTo>
                <a:lnTo>
                  <a:pt x="18" y="294"/>
                </a:lnTo>
                <a:lnTo>
                  <a:pt x="18" y="288"/>
                </a:lnTo>
                <a:lnTo>
                  <a:pt x="12" y="288"/>
                </a:lnTo>
                <a:lnTo>
                  <a:pt x="12" y="282"/>
                </a:lnTo>
                <a:lnTo>
                  <a:pt x="12" y="276"/>
                </a:lnTo>
                <a:lnTo>
                  <a:pt x="18" y="276"/>
                </a:lnTo>
                <a:lnTo>
                  <a:pt x="18" y="270"/>
                </a:lnTo>
                <a:lnTo>
                  <a:pt x="18" y="264"/>
                </a:lnTo>
                <a:lnTo>
                  <a:pt x="18" y="258"/>
                </a:lnTo>
                <a:lnTo>
                  <a:pt x="12" y="258"/>
                </a:lnTo>
                <a:lnTo>
                  <a:pt x="12" y="252"/>
                </a:lnTo>
                <a:lnTo>
                  <a:pt x="12" y="246"/>
                </a:lnTo>
                <a:lnTo>
                  <a:pt x="12" y="240"/>
                </a:lnTo>
                <a:lnTo>
                  <a:pt x="6" y="240"/>
                </a:lnTo>
                <a:lnTo>
                  <a:pt x="6" y="234"/>
                </a:lnTo>
                <a:lnTo>
                  <a:pt x="6" y="228"/>
                </a:lnTo>
                <a:lnTo>
                  <a:pt x="6" y="222"/>
                </a:lnTo>
                <a:lnTo>
                  <a:pt x="0" y="222"/>
                </a:lnTo>
                <a:lnTo>
                  <a:pt x="0" y="216"/>
                </a:lnTo>
                <a:lnTo>
                  <a:pt x="0" y="210"/>
                </a:lnTo>
                <a:lnTo>
                  <a:pt x="0" y="204"/>
                </a:lnTo>
                <a:lnTo>
                  <a:pt x="6" y="198"/>
                </a:lnTo>
                <a:lnTo>
                  <a:pt x="6" y="192"/>
                </a:lnTo>
                <a:close/>
                <a:moveTo>
                  <a:pt x="552" y="288"/>
                </a:moveTo>
                <a:lnTo>
                  <a:pt x="552" y="282"/>
                </a:lnTo>
                <a:lnTo>
                  <a:pt x="552" y="276"/>
                </a:lnTo>
                <a:lnTo>
                  <a:pt x="552" y="270"/>
                </a:lnTo>
                <a:lnTo>
                  <a:pt x="558" y="270"/>
                </a:lnTo>
                <a:lnTo>
                  <a:pt x="558" y="264"/>
                </a:lnTo>
                <a:lnTo>
                  <a:pt x="558" y="270"/>
                </a:lnTo>
                <a:lnTo>
                  <a:pt x="558" y="276"/>
                </a:lnTo>
                <a:lnTo>
                  <a:pt x="558" y="282"/>
                </a:lnTo>
                <a:lnTo>
                  <a:pt x="564" y="282"/>
                </a:lnTo>
                <a:lnTo>
                  <a:pt x="564" y="288"/>
                </a:lnTo>
                <a:lnTo>
                  <a:pt x="564" y="294"/>
                </a:lnTo>
                <a:lnTo>
                  <a:pt x="564" y="288"/>
                </a:lnTo>
                <a:lnTo>
                  <a:pt x="564" y="294"/>
                </a:lnTo>
                <a:lnTo>
                  <a:pt x="564" y="288"/>
                </a:lnTo>
                <a:lnTo>
                  <a:pt x="564" y="294"/>
                </a:lnTo>
                <a:lnTo>
                  <a:pt x="564" y="288"/>
                </a:lnTo>
                <a:lnTo>
                  <a:pt x="570" y="288"/>
                </a:lnTo>
                <a:lnTo>
                  <a:pt x="570" y="294"/>
                </a:lnTo>
                <a:lnTo>
                  <a:pt x="570" y="288"/>
                </a:lnTo>
                <a:lnTo>
                  <a:pt x="564" y="288"/>
                </a:lnTo>
                <a:lnTo>
                  <a:pt x="570" y="288"/>
                </a:lnTo>
                <a:lnTo>
                  <a:pt x="570" y="294"/>
                </a:lnTo>
                <a:lnTo>
                  <a:pt x="570" y="300"/>
                </a:lnTo>
                <a:lnTo>
                  <a:pt x="570" y="306"/>
                </a:lnTo>
                <a:lnTo>
                  <a:pt x="564" y="306"/>
                </a:lnTo>
                <a:lnTo>
                  <a:pt x="564" y="300"/>
                </a:lnTo>
                <a:lnTo>
                  <a:pt x="564" y="294"/>
                </a:lnTo>
                <a:lnTo>
                  <a:pt x="564" y="300"/>
                </a:lnTo>
                <a:lnTo>
                  <a:pt x="558" y="300"/>
                </a:lnTo>
                <a:lnTo>
                  <a:pt x="564" y="300"/>
                </a:lnTo>
                <a:lnTo>
                  <a:pt x="558" y="300"/>
                </a:lnTo>
                <a:lnTo>
                  <a:pt x="558" y="294"/>
                </a:lnTo>
                <a:lnTo>
                  <a:pt x="558" y="300"/>
                </a:lnTo>
                <a:lnTo>
                  <a:pt x="558" y="294"/>
                </a:lnTo>
                <a:lnTo>
                  <a:pt x="558" y="300"/>
                </a:lnTo>
                <a:lnTo>
                  <a:pt x="552" y="300"/>
                </a:lnTo>
                <a:lnTo>
                  <a:pt x="552" y="294"/>
                </a:lnTo>
                <a:lnTo>
                  <a:pt x="552" y="288"/>
                </a:lnTo>
                <a:close/>
                <a:moveTo>
                  <a:pt x="576" y="246"/>
                </a:moveTo>
                <a:lnTo>
                  <a:pt x="576" y="240"/>
                </a:lnTo>
                <a:lnTo>
                  <a:pt x="576" y="246"/>
                </a:lnTo>
                <a:lnTo>
                  <a:pt x="576" y="240"/>
                </a:lnTo>
                <a:lnTo>
                  <a:pt x="582" y="240"/>
                </a:lnTo>
                <a:lnTo>
                  <a:pt x="576" y="240"/>
                </a:lnTo>
                <a:lnTo>
                  <a:pt x="582" y="240"/>
                </a:lnTo>
                <a:lnTo>
                  <a:pt x="582" y="234"/>
                </a:lnTo>
                <a:lnTo>
                  <a:pt x="582" y="240"/>
                </a:lnTo>
                <a:lnTo>
                  <a:pt x="576" y="234"/>
                </a:lnTo>
                <a:lnTo>
                  <a:pt x="582" y="234"/>
                </a:lnTo>
                <a:lnTo>
                  <a:pt x="576" y="234"/>
                </a:lnTo>
                <a:lnTo>
                  <a:pt x="582" y="234"/>
                </a:lnTo>
                <a:lnTo>
                  <a:pt x="576" y="234"/>
                </a:lnTo>
                <a:lnTo>
                  <a:pt x="576" y="228"/>
                </a:lnTo>
                <a:lnTo>
                  <a:pt x="582" y="228"/>
                </a:lnTo>
                <a:lnTo>
                  <a:pt x="576" y="228"/>
                </a:lnTo>
                <a:lnTo>
                  <a:pt x="576" y="222"/>
                </a:lnTo>
                <a:lnTo>
                  <a:pt x="576" y="228"/>
                </a:lnTo>
                <a:lnTo>
                  <a:pt x="576" y="222"/>
                </a:lnTo>
                <a:lnTo>
                  <a:pt x="576" y="228"/>
                </a:lnTo>
                <a:lnTo>
                  <a:pt x="576" y="222"/>
                </a:lnTo>
                <a:lnTo>
                  <a:pt x="582" y="222"/>
                </a:lnTo>
                <a:lnTo>
                  <a:pt x="576" y="222"/>
                </a:lnTo>
                <a:lnTo>
                  <a:pt x="576" y="216"/>
                </a:lnTo>
                <a:lnTo>
                  <a:pt x="576" y="222"/>
                </a:lnTo>
                <a:lnTo>
                  <a:pt x="582" y="222"/>
                </a:lnTo>
                <a:lnTo>
                  <a:pt x="576" y="222"/>
                </a:lnTo>
                <a:lnTo>
                  <a:pt x="582" y="222"/>
                </a:lnTo>
                <a:lnTo>
                  <a:pt x="582" y="216"/>
                </a:lnTo>
                <a:lnTo>
                  <a:pt x="582" y="222"/>
                </a:lnTo>
                <a:lnTo>
                  <a:pt x="588" y="222"/>
                </a:lnTo>
                <a:lnTo>
                  <a:pt x="582" y="222"/>
                </a:lnTo>
                <a:lnTo>
                  <a:pt x="588" y="222"/>
                </a:lnTo>
                <a:lnTo>
                  <a:pt x="588" y="216"/>
                </a:lnTo>
                <a:lnTo>
                  <a:pt x="588" y="222"/>
                </a:lnTo>
                <a:lnTo>
                  <a:pt x="588" y="228"/>
                </a:lnTo>
                <a:lnTo>
                  <a:pt x="588" y="222"/>
                </a:lnTo>
                <a:lnTo>
                  <a:pt x="588" y="228"/>
                </a:lnTo>
                <a:lnTo>
                  <a:pt x="588" y="222"/>
                </a:lnTo>
                <a:lnTo>
                  <a:pt x="588" y="228"/>
                </a:lnTo>
                <a:lnTo>
                  <a:pt x="588" y="234"/>
                </a:lnTo>
                <a:lnTo>
                  <a:pt x="588" y="228"/>
                </a:lnTo>
                <a:lnTo>
                  <a:pt x="588" y="234"/>
                </a:lnTo>
                <a:lnTo>
                  <a:pt x="588" y="240"/>
                </a:lnTo>
                <a:lnTo>
                  <a:pt x="582" y="240"/>
                </a:lnTo>
                <a:lnTo>
                  <a:pt x="588" y="240"/>
                </a:lnTo>
                <a:lnTo>
                  <a:pt x="582" y="240"/>
                </a:lnTo>
                <a:lnTo>
                  <a:pt x="582" y="246"/>
                </a:lnTo>
                <a:lnTo>
                  <a:pt x="582" y="252"/>
                </a:lnTo>
                <a:lnTo>
                  <a:pt x="576" y="252"/>
                </a:lnTo>
                <a:lnTo>
                  <a:pt x="576" y="246"/>
                </a:lnTo>
                <a:close/>
                <a:moveTo>
                  <a:pt x="570" y="390"/>
                </a:moveTo>
                <a:lnTo>
                  <a:pt x="576" y="390"/>
                </a:lnTo>
                <a:lnTo>
                  <a:pt x="576" y="384"/>
                </a:lnTo>
                <a:lnTo>
                  <a:pt x="582" y="384"/>
                </a:lnTo>
                <a:lnTo>
                  <a:pt x="576" y="384"/>
                </a:lnTo>
                <a:lnTo>
                  <a:pt x="582" y="384"/>
                </a:lnTo>
                <a:lnTo>
                  <a:pt x="582" y="378"/>
                </a:lnTo>
                <a:lnTo>
                  <a:pt x="588" y="378"/>
                </a:lnTo>
                <a:lnTo>
                  <a:pt x="582" y="378"/>
                </a:lnTo>
                <a:lnTo>
                  <a:pt x="588" y="378"/>
                </a:lnTo>
                <a:lnTo>
                  <a:pt x="588" y="372"/>
                </a:lnTo>
                <a:lnTo>
                  <a:pt x="588" y="378"/>
                </a:lnTo>
                <a:lnTo>
                  <a:pt x="588" y="384"/>
                </a:lnTo>
                <a:lnTo>
                  <a:pt x="588" y="390"/>
                </a:lnTo>
                <a:lnTo>
                  <a:pt x="582" y="390"/>
                </a:lnTo>
                <a:lnTo>
                  <a:pt x="582" y="384"/>
                </a:lnTo>
                <a:lnTo>
                  <a:pt x="582" y="390"/>
                </a:lnTo>
                <a:lnTo>
                  <a:pt x="582" y="384"/>
                </a:lnTo>
                <a:lnTo>
                  <a:pt x="582" y="390"/>
                </a:lnTo>
                <a:lnTo>
                  <a:pt x="576" y="390"/>
                </a:lnTo>
                <a:lnTo>
                  <a:pt x="570" y="390"/>
                </a:lnTo>
                <a:close/>
                <a:moveTo>
                  <a:pt x="582" y="390"/>
                </a:moveTo>
                <a:lnTo>
                  <a:pt x="582" y="396"/>
                </a:lnTo>
                <a:lnTo>
                  <a:pt x="583" y="396"/>
                </a:lnTo>
                <a:lnTo>
                  <a:pt x="582" y="390"/>
                </a:lnTo>
                <a:close/>
                <a:moveTo>
                  <a:pt x="564" y="444"/>
                </a:moveTo>
                <a:lnTo>
                  <a:pt x="570" y="444"/>
                </a:lnTo>
                <a:lnTo>
                  <a:pt x="570" y="450"/>
                </a:lnTo>
                <a:lnTo>
                  <a:pt x="564" y="450"/>
                </a:lnTo>
                <a:lnTo>
                  <a:pt x="564" y="444"/>
                </a:lnTo>
                <a:close/>
                <a:moveTo>
                  <a:pt x="570" y="246"/>
                </a:moveTo>
                <a:lnTo>
                  <a:pt x="576" y="246"/>
                </a:lnTo>
                <a:lnTo>
                  <a:pt x="576" y="252"/>
                </a:lnTo>
                <a:lnTo>
                  <a:pt x="570" y="252"/>
                </a:lnTo>
                <a:lnTo>
                  <a:pt x="570" y="246"/>
                </a:lnTo>
                <a:close/>
                <a:moveTo>
                  <a:pt x="576" y="222"/>
                </a:moveTo>
                <a:lnTo>
                  <a:pt x="576" y="228"/>
                </a:lnTo>
                <a:lnTo>
                  <a:pt x="577" y="228"/>
                </a:lnTo>
                <a:lnTo>
                  <a:pt x="576" y="222"/>
                </a:lnTo>
                <a:close/>
                <a:moveTo>
                  <a:pt x="558" y="360"/>
                </a:moveTo>
                <a:lnTo>
                  <a:pt x="564" y="360"/>
                </a:lnTo>
                <a:lnTo>
                  <a:pt x="558" y="360"/>
                </a:lnTo>
                <a:close/>
                <a:moveTo>
                  <a:pt x="612" y="516"/>
                </a:moveTo>
                <a:lnTo>
                  <a:pt x="612" y="522"/>
                </a:lnTo>
                <a:lnTo>
                  <a:pt x="613" y="522"/>
                </a:lnTo>
                <a:lnTo>
                  <a:pt x="612" y="516"/>
                </a:lnTo>
                <a:close/>
                <a:moveTo>
                  <a:pt x="546" y="228"/>
                </a:moveTo>
                <a:lnTo>
                  <a:pt x="546" y="234"/>
                </a:lnTo>
                <a:lnTo>
                  <a:pt x="547" y="234"/>
                </a:lnTo>
                <a:lnTo>
                  <a:pt x="546" y="228"/>
                </a:lnTo>
                <a:close/>
                <a:moveTo>
                  <a:pt x="558" y="378"/>
                </a:moveTo>
                <a:lnTo>
                  <a:pt x="558" y="384"/>
                </a:lnTo>
                <a:lnTo>
                  <a:pt x="559" y="384"/>
                </a:lnTo>
                <a:lnTo>
                  <a:pt x="558" y="378"/>
                </a:lnTo>
                <a:close/>
                <a:moveTo>
                  <a:pt x="582" y="246"/>
                </a:moveTo>
                <a:lnTo>
                  <a:pt x="582" y="252"/>
                </a:lnTo>
                <a:lnTo>
                  <a:pt x="583" y="252"/>
                </a:lnTo>
                <a:lnTo>
                  <a:pt x="582" y="246"/>
                </a:lnTo>
                <a:close/>
                <a:moveTo>
                  <a:pt x="576" y="228"/>
                </a:moveTo>
                <a:lnTo>
                  <a:pt x="576" y="234"/>
                </a:lnTo>
                <a:lnTo>
                  <a:pt x="577" y="234"/>
                </a:lnTo>
                <a:lnTo>
                  <a:pt x="576" y="228"/>
                </a:lnTo>
                <a:close/>
                <a:moveTo>
                  <a:pt x="582" y="222"/>
                </a:moveTo>
                <a:lnTo>
                  <a:pt x="588" y="222"/>
                </a:lnTo>
                <a:lnTo>
                  <a:pt x="582" y="222"/>
                </a:lnTo>
                <a:close/>
                <a:moveTo>
                  <a:pt x="570" y="240"/>
                </a:moveTo>
                <a:lnTo>
                  <a:pt x="576" y="240"/>
                </a:lnTo>
                <a:lnTo>
                  <a:pt x="570" y="240"/>
                </a:lnTo>
                <a:close/>
                <a:moveTo>
                  <a:pt x="570" y="408"/>
                </a:moveTo>
                <a:lnTo>
                  <a:pt x="576" y="408"/>
                </a:lnTo>
                <a:lnTo>
                  <a:pt x="570" y="408"/>
                </a:lnTo>
                <a:close/>
                <a:moveTo>
                  <a:pt x="552" y="384"/>
                </a:moveTo>
                <a:lnTo>
                  <a:pt x="558" y="384"/>
                </a:lnTo>
                <a:lnTo>
                  <a:pt x="552" y="384"/>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2" name="Freeform 46">
            <a:extLst>
              <a:ext uri="{FF2B5EF4-FFF2-40B4-BE49-F238E27FC236}">
                <a16:creationId xmlns:a16="http://schemas.microsoft.com/office/drawing/2014/main" id="{055D8B7F-178B-0942-9921-FF71648EC35A}"/>
              </a:ext>
            </a:extLst>
          </p:cNvPr>
          <p:cNvSpPr>
            <a:spLocks/>
          </p:cNvSpPr>
          <p:nvPr>
            <p:custDataLst>
              <p:tags r:id="rId40"/>
            </p:custDataLst>
          </p:nvPr>
        </p:nvSpPr>
        <p:spPr bwMode="gray">
          <a:xfrm>
            <a:off x="5407039" y="4651622"/>
            <a:ext cx="117800" cy="103811"/>
          </a:xfrm>
          <a:custGeom>
            <a:avLst/>
            <a:gdLst>
              <a:gd name="T0" fmla="*/ 8787 w 102"/>
              <a:gd name="T1" fmla="*/ 41010 h 120"/>
              <a:gd name="T2" fmla="*/ 8787 w 102"/>
              <a:gd name="T3" fmla="*/ 37104 h 120"/>
              <a:gd name="T4" fmla="*/ 6835 w 102"/>
              <a:gd name="T5" fmla="*/ 34175 h 120"/>
              <a:gd name="T6" fmla="*/ 3906 w 102"/>
              <a:gd name="T7" fmla="*/ 32222 h 120"/>
              <a:gd name="T8" fmla="*/ 3906 w 102"/>
              <a:gd name="T9" fmla="*/ 28317 h 120"/>
              <a:gd name="T10" fmla="*/ 3906 w 102"/>
              <a:gd name="T11" fmla="*/ 23434 h 120"/>
              <a:gd name="T12" fmla="*/ 3906 w 102"/>
              <a:gd name="T13" fmla="*/ 19529 h 120"/>
              <a:gd name="T14" fmla="*/ 3906 w 102"/>
              <a:gd name="T15" fmla="*/ 15623 h 120"/>
              <a:gd name="T16" fmla="*/ 1953 w 102"/>
              <a:gd name="T17" fmla="*/ 12694 h 120"/>
              <a:gd name="T18" fmla="*/ 0 w 102"/>
              <a:gd name="T19" fmla="*/ 10741 h 120"/>
              <a:gd name="T20" fmla="*/ 1953 w 102"/>
              <a:gd name="T21" fmla="*/ 8788 h 120"/>
              <a:gd name="T22" fmla="*/ 3906 w 102"/>
              <a:gd name="T23" fmla="*/ 6835 h 120"/>
              <a:gd name="T24" fmla="*/ 6835 w 102"/>
              <a:gd name="T25" fmla="*/ 8788 h 120"/>
              <a:gd name="T26" fmla="*/ 8787 w 102"/>
              <a:gd name="T27" fmla="*/ 10741 h 120"/>
              <a:gd name="T28" fmla="*/ 12693 w 102"/>
              <a:gd name="T29" fmla="*/ 10741 h 120"/>
              <a:gd name="T30" fmla="*/ 17576 w 102"/>
              <a:gd name="T31" fmla="*/ 10741 h 120"/>
              <a:gd name="T32" fmla="*/ 19529 w 102"/>
              <a:gd name="T33" fmla="*/ 8788 h 120"/>
              <a:gd name="T34" fmla="*/ 19529 w 102"/>
              <a:gd name="T35" fmla="*/ 3906 h 120"/>
              <a:gd name="T36" fmla="*/ 19529 w 102"/>
              <a:gd name="T37" fmla="*/ 0 h 120"/>
              <a:gd name="T38" fmla="*/ 21481 w 102"/>
              <a:gd name="T39" fmla="*/ 1953 h 120"/>
              <a:gd name="T40" fmla="*/ 23434 w 102"/>
              <a:gd name="T41" fmla="*/ 1953 h 120"/>
              <a:gd name="T42" fmla="*/ 28316 w 102"/>
              <a:gd name="T43" fmla="*/ 1953 h 120"/>
              <a:gd name="T44" fmla="*/ 28316 w 102"/>
              <a:gd name="T45" fmla="*/ 1953 h 120"/>
              <a:gd name="T46" fmla="*/ 30269 w 102"/>
              <a:gd name="T47" fmla="*/ 0 h 120"/>
              <a:gd name="T48" fmla="*/ 32222 w 102"/>
              <a:gd name="T49" fmla="*/ 1953 h 120"/>
              <a:gd name="T50" fmla="*/ 30269 w 102"/>
              <a:gd name="T51" fmla="*/ 3906 h 120"/>
              <a:gd name="T52" fmla="*/ 28316 w 102"/>
              <a:gd name="T53" fmla="*/ 6835 h 120"/>
              <a:gd name="T54" fmla="*/ 30269 w 102"/>
              <a:gd name="T55" fmla="*/ 8788 h 120"/>
              <a:gd name="T56" fmla="*/ 30269 w 102"/>
              <a:gd name="T57" fmla="*/ 10741 h 120"/>
              <a:gd name="T58" fmla="*/ 28316 w 102"/>
              <a:gd name="T59" fmla="*/ 12694 h 120"/>
              <a:gd name="T60" fmla="*/ 32222 w 102"/>
              <a:gd name="T61" fmla="*/ 12694 h 120"/>
              <a:gd name="T62" fmla="*/ 34175 w 102"/>
              <a:gd name="T63" fmla="*/ 15623 h 120"/>
              <a:gd name="T64" fmla="*/ 37104 w 102"/>
              <a:gd name="T65" fmla="*/ 17576 h 120"/>
              <a:gd name="T66" fmla="*/ 34175 w 102"/>
              <a:gd name="T67" fmla="*/ 19529 h 120"/>
              <a:gd name="T68" fmla="*/ 32222 w 102"/>
              <a:gd name="T69" fmla="*/ 22458 h 120"/>
              <a:gd name="T70" fmla="*/ 34175 w 102"/>
              <a:gd name="T71" fmla="*/ 23434 h 120"/>
              <a:gd name="T72" fmla="*/ 30269 w 102"/>
              <a:gd name="T73" fmla="*/ 23434 h 120"/>
              <a:gd name="T74" fmla="*/ 28316 w 102"/>
              <a:gd name="T75" fmla="*/ 26364 h 120"/>
              <a:gd name="T76" fmla="*/ 28316 w 102"/>
              <a:gd name="T77" fmla="*/ 30270 h 120"/>
              <a:gd name="T78" fmla="*/ 26363 w 102"/>
              <a:gd name="T79" fmla="*/ 32222 h 120"/>
              <a:gd name="T80" fmla="*/ 23434 w 102"/>
              <a:gd name="T81" fmla="*/ 34175 h 120"/>
              <a:gd name="T82" fmla="*/ 21481 w 102"/>
              <a:gd name="T83" fmla="*/ 37104 h 120"/>
              <a:gd name="T84" fmla="*/ 21481 w 102"/>
              <a:gd name="T85" fmla="*/ 41010 h 120"/>
              <a:gd name="T86" fmla="*/ 17576 w 102"/>
              <a:gd name="T87" fmla="*/ 41010 h 120"/>
              <a:gd name="T88" fmla="*/ 17576 w 102"/>
              <a:gd name="T89" fmla="*/ 41010 h 120"/>
              <a:gd name="T90" fmla="*/ 15623 w 102"/>
              <a:gd name="T91" fmla="*/ 42963 h 120"/>
              <a:gd name="T92" fmla="*/ 10740 w 102"/>
              <a:gd name="T93" fmla="*/ 42963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2" h="120">
                <a:moveTo>
                  <a:pt x="24" y="120"/>
                </a:moveTo>
                <a:lnTo>
                  <a:pt x="24" y="114"/>
                </a:lnTo>
                <a:lnTo>
                  <a:pt x="24" y="108"/>
                </a:lnTo>
                <a:lnTo>
                  <a:pt x="24" y="102"/>
                </a:lnTo>
                <a:lnTo>
                  <a:pt x="18" y="102"/>
                </a:lnTo>
                <a:lnTo>
                  <a:pt x="18" y="96"/>
                </a:lnTo>
                <a:lnTo>
                  <a:pt x="18" y="90"/>
                </a:lnTo>
                <a:lnTo>
                  <a:pt x="12" y="90"/>
                </a:lnTo>
                <a:lnTo>
                  <a:pt x="12" y="84"/>
                </a:lnTo>
                <a:lnTo>
                  <a:pt x="12" y="78"/>
                </a:lnTo>
                <a:lnTo>
                  <a:pt x="12" y="72"/>
                </a:lnTo>
                <a:lnTo>
                  <a:pt x="12" y="66"/>
                </a:lnTo>
                <a:lnTo>
                  <a:pt x="12" y="60"/>
                </a:lnTo>
                <a:lnTo>
                  <a:pt x="12" y="54"/>
                </a:lnTo>
                <a:lnTo>
                  <a:pt x="12" y="48"/>
                </a:lnTo>
                <a:lnTo>
                  <a:pt x="12" y="42"/>
                </a:lnTo>
                <a:lnTo>
                  <a:pt x="12" y="36"/>
                </a:lnTo>
                <a:lnTo>
                  <a:pt x="6" y="36"/>
                </a:lnTo>
                <a:lnTo>
                  <a:pt x="6" y="30"/>
                </a:lnTo>
                <a:lnTo>
                  <a:pt x="0" y="30"/>
                </a:lnTo>
                <a:lnTo>
                  <a:pt x="0" y="24"/>
                </a:lnTo>
                <a:lnTo>
                  <a:pt x="6" y="24"/>
                </a:lnTo>
                <a:lnTo>
                  <a:pt x="6" y="18"/>
                </a:lnTo>
                <a:lnTo>
                  <a:pt x="12" y="18"/>
                </a:lnTo>
                <a:lnTo>
                  <a:pt x="18" y="18"/>
                </a:lnTo>
                <a:lnTo>
                  <a:pt x="18" y="24"/>
                </a:lnTo>
                <a:lnTo>
                  <a:pt x="18" y="30"/>
                </a:lnTo>
                <a:lnTo>
                  <a:pt x="24" y="30"/>
                </a:lnTo>
                <a:lnTo>
                  <a:pt x="30" y="30"/>
                </a:lnTo>
                <a:lnTo>
                  <a:pt x="36" y="30"/>
                </a:lnTo>
                <a:lnTo>
                  <a:pt x="42" y="30"/>
                </a:lnTo>
                <a:lnTo>
                  <a:pt x="48" y="30"/>
                </a:lnTo>
                <a:lnTo>
                  <a:pt x="48" y="24"/>
                </a:lnTo>
                <a:lnTo>
                  <a:pt x="54" y="24"/>
                </a:lnTo>
                <a:lnTo>
                  <a:pt x="54" y="18"/>
                </a:lnTo>
                <a:lnTo>
                  <a:pt x="54" y="12"/>
                </a:lnTo>
                <a:lnTo>
                  <a:pt x="54" y="6"/>
                </a:lnTo>
                <a:lnTo>
                  <a:pt x="54" y="0"/>
                </a:lnTo>
                <a:lnTo>
                  <a:pt x="54" y="6"/>
                </a:lnTo>
                <a:lnTo>
                  <a:pt x="60" y="6"/>
                </a:lnTo>
                <a:lnTo>
                  <a:pt x="66" y="12"/>
                </a:lnTo>
                <a:lnTo>
                  <a:pt x="66" y="6"/>
                </a:lnTo>
                <a:lnTo>
                  <a:pt x="72" y="6"/>
                </a:lnTo>
                <a:lnTo>
                  <a:pt x="78" y="6"/>
                </a:lnTo>
                <a:lnTo>
                  <a:pt x="78" y="0"/>
                </a:lnTo>
                <a:lnTo>
                  <a:pt x="78" y="6"/>
                </a:lnTo>
                <a:lnTo>
                  <a:pt x="78" y="0"/>
                </a:lnTo>
                <a:lnTo>
                  <a:pt x="84" y="0"/>
                </a:lnTo>
                <a:lnTo>
                  <a:pt x="84" y="6"/>
                </a:lnTo>
                <a:lnTo>
                  <a:pt x="90" y="6"/>
                </a:lnTo>
                <a:lnTo>
                  <a:pt x="84" y="6"/>
                </a:lnTo>
                <a:lnTo>
                  <a:pt x="84" y="12"/>
                </a:lnTo>
                <a:lnTo>
                  <a:pt x="84" y="18"/>
                </a:lnTo>
                <a:lnTo>
                  <a:pt x="78" y="18"/>
                </a:lnTo>
                <a:lnTo>
                  <a:pt x="78" y="24"/>
                </a:lnTo>
                <a:lnTo>
                  <a:pt x="84" y="24"/>
                </a:lnTo>
                <a:lnTo>
                  <a:pt x="78" y="24"/>
                </a:lnTo>
                <a:lnTo>
                  <a:pt x="84" y="30"/>
                </a:lnTo>
                <a:lnTo>
                  <a:pt x="78" y="30"/>
                </a:lnTo>
                <a:lnTo>
                  <a:pt x="78" y="36"/>
                </a:lnTo>
                <a:lnTo>
                  <a:pt x="84" y="36"/>
                </a:lnTo>
                <a:lnTo>
                  <a:pt x="90" y="36"/>
                </a:lnTo>
                <a:lnTo>
                  <a:pt x="90" y="42"/>
                </a:lnTo>
                <a:lnTo>
                  <a:pt x="96" y="42"/>
                </a:lnTo>
                <a:lnTo>
                  <a:pt x="102" y="42"/>
                </a:lnTo>
                <a:lnTo>
                  <a:pt x="102" y="48"/>
                </a:lnTo>
                <a:lnTo>
                  <a:pt x="102" y="54"/>
                </a:lnTo>
                <a:lnTo>
                  <a:pt x="96" y="54"/>
                </a:lnTo>
                <a:lnTo>
                  <a:pt x="96" y="60"/>
                </a:lnTo>
                <a:lnTo>
                  <a:pt x="90" y="60"/>
                </a:lnTo>
                <a:lnTo>
                  <a:pt x="96" y="60"/>
                </a:lnTo>
                <a:lnTo>
                  <a:pt x="96" y="66"/>
                </a:lnTo>
                <a:lnTo>
                  <a:pt x="90" y="66"/>
                </a:lnTo>
                <a:lnTo>
                  <a:pt x="84" y="66"/>
                </a:lnTo>
                <a:lnTo>
                  <a:pt x="84" y="72"/>
                </a:lnTo>
                <a:lnTo>
                  <a:pt x="78" y="72"/>
                </a:lnTo>
                <a:lnTo>
                  <a:pt x="78" y="78"/>
                </a:lnTo>
                <a:lnTo>
                  <a:pt x="78" y="84"/>
                </a:lnTo>
                <a:lnTo>
                  <a:pt x="72" y="84"/>
                </a:lnTo>
                <a:lnTo>
                  <a:pt x="72" y="90"/>
                </a:lnTo>
                <a:lnTo>
                  <a:pt x="72" y="96"/>
                </a:lnTo>
                <a:lnTo>
                  <a:pt x="66" y="96"/>
                </a:lnTo>
                <a:lnTo>
                  <a:pt x="66" y="102"/>
                </a:lnTo>
                <a:lnTo>
                  <a:pt x="60" y="102"/>
                </a:lnTo>
                <a:lnTo>
                  <a:pt x="60" y="108"/>
                </a:lnTo>
                <a:lnTo>
                  <a:pt x="60" y="114"/>
                </a:lnTo>
                <a:lnTo>
                  <a:pt x="54" y="114"/>
                </a:lnTo>
                <a:lnTo>
                  <a:pt x="48" y="114"/>
                </a:lnTo>
                <a:lnTo>
                  <a:pt x="48" y="120"/>
                </a:lnTo>
                <a:lnTo>
                  <a:pt x="48" y="114"/>
                </a:lnTo>
                <a:lnTo>
                  <a:pt x="48" y="120"/>
                </a:lnTo>
                <a:lnTo>
                  <a:pt x="42" y="120"/>
                </a:lnTo>
                <a:lnTo>
                  <a:pt x="36" y="120"/>
                </a:lnTo>
                <a:lnTo>
                  <a:pt x="30" y="120"/>
                </a:lnTo>
                <a:lnTo>
                  <a:pt x="24" y="120"/>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3" name="Freeform 47">
            <a:extLst>
              <a:ext uri="{FF2B5EF4-FFF2-40B4-BE49-F238E27FC236}">
                <a16:creationId xmlns:a16="http://schemas.microsoft.com/office/drawing/2014/main" id="{2A333AC4-86F8-A243-8E39-EB71088737FA}"/>
              </a:ext>
            </a:extLst>
          </p:cNvPr>
          <p:cNvSpPr>
            <a:spLocks/>
          </p:cNvSpPr>
          <p:nvPr>
            <p:custDataLst>
              <p:tags r:id="rId41"/>
            </p:custDataLst>
          </p:nvPr>
        </p:nvSpPr>
        <p:spPr bwMode="gray">
          <a:xfrm>
            <a:off x="5398212" y="4594184"/>
            <a:ext cx="131053" cy="82829"/>
          </a:xfrm>
          <a:custGeom>
            <a:avLst/>
            <a:gdLst>
              <a:gd name="T0" fmla="*/ 31937 w 114"/>
              <a:gd name="T1" fmla="*/ 26113 h 96"/>
              <a:gd name="T2" fmla="*/ 30002 w 114"/>
              <a:gd name="T3" fmla="*/ 23212 h 96"/>
              <a:gd name="T4" fmla="*/ 30002 w 114"/>
              <a:gd name="T5" fmla="*/ 23212 h 96"/>
              <a:gd name="T6" fmla="*/ 27098 w 114"/>
              <a:gd name="T7" fmla="*/ 26113 h 96"/>
              <a:gd name="T8" fmla="*/ 26131 w 114"/>
              <a:gd name="T9" fmla="*/ 27080 h 96"/>
              <a:gd name="T10" fmla="*/ 21291 w 114"/>
              <a:gd name="T11" fmla="*/ 26113 h 96"/>
              <a:gd name="T12" fmla="*/ 21291 w 114"/>
              <a:gd name="T13" fmla="*/ 26113 h 96"/>
              <a:gd name="T14" fmla="*/ 21291 w 114"/>
              <a:gd name="T15" fmla="*/ 29982 h 96"/>
              <a:gd name="T16" fmla="*/ 19356 w 114"/>
              <a:gd name="T17" fmla="*/ 31916 h 96"/>
              <a:gd name="T18" fmla="*/ 17421 w 114"/>
              <a:gd name="T19" fmla="*/ 33851 h 96"/>
              <a:gd name="T20" fmla="*/ 12581 w 114"/>
              <a:gd name="T21" fmla="*/ 33851 h 96"/>
              <a:gd name="T22" fmla="*/ 8710 w 114"/>
              <a:gd name="T23" fmla="*/ 33851 h 96"/>
              <a:gd name="T24" fmla="*/ 8710 w 114"/>
              <a:gd name="T25" fmla="*/ 29982 h 96"/>
              <a:gd name="T26" fmla="*/ 3872 w 114"/>
              <a:gd name="T27" fmla="*/ 29982 h 96"/>
              <a:gd name="T28" fmla="*/ 1935 w 114"/>
              <a:gd name="T29" fmla="*/ 31916 h 96"/>
              <a:gd name="T30" fmla="*/ 0 w 114"/>
              <a:gd name="T31" fmla="*/ 29982 h 96"/>
              <a:gd name="T32" fmla="*/ 0 w 114"/>
              <a:gd name="T33" fmla="*/ 26113 h 96"/>
              <a:gd name="T34" fmla="*/ 1935 w 114"/>
              <a:gd name="T35" fmla="*/ 23212 h 96"/>
              <a:gd name="T36" fmla="*/ 6775 w 114"/>
              <a:gd name="T37" fmla="*/ 21277 h 96"/>
              <a:gd name="T38" fmla="*/ 3872 w 114"/>
              <a:gd name="T39" fmla="*/ 17409 h 96"/>
              <a:gd name="T40" fmla="*/ 6775 w 114"/>
              <a:gd name="T41" fmla="*/ 14508 h 96"/>
              <a:gd name="T42" fmla="*/ 6775 w 114"/>
              <a:gd name="T43" fmla="*/ 10639 h 96"/>
              <a:gd name="T44" fmla="*/ 8710 w 114"/>
              <a:gd name="T45" fmla="*/ 8705 h 96"/>
              <a:gd name="T46" fmla="*/ 12581 w 114"/>
              <a:gd name="T47" fmla="*/ 8705 h 96"/>
              <a:gd name="T48" fmla="*/ 14517 w 114"/>
              <a:gd name="T49" fmla="*/ 6770 h 96"/>
              <a:gd name="T50" fmla="*/ 17421 w 114"/>
              <a:gd name="T51" fmla="*/ 6770 h 96"/>
              <a:gd name="T52" fmla="*/ 19356 w 114"/>
              <a:gd name="T53" fmla="*/ 6770 h 96"/>
              <a:gd name="T54" fmla="*/ 21291 w 114"/>
              <a:gd name="T55" fmla="*/ 6770 h 96"/>
              <a:gd name="T56" fmla="*/ 26131 w 114"/>
              <a:gd name="T57" fmla="*/ 6770 h 96"/>
              <a:gd name="T58" fmla="*/ 26131 w 114"/>
              <a:gd name="T59" fmla="*/ 6770 h 96"/>
              <a:gd name="T60" fmla="*/ 27098 w 114"/>
              <a:gd name="T61" fmla="*/ 3869 h 96"/>
              <a:gd name="T62" fmla="*/ 27098 w 114"/>
              <a:gd name="T63" fmla="*/ 0 h 96"/>
              <a:gd name="T64" fmla="*/ 31937 w 114"/>
              <a:gd name="T65" fmla="*/ 0 h 96"/>
              <a:gd name="T66" fmla="*/ 31937 w 114"/>
              <a:gd name="T67" fmla="*/ 3869 h 96"/>
              <a:gd name="T68" fmla="*/ 31937 w 114"/>
              <a:gd name="T69" fmla="*/ 3869 h 96"/>
              <a:gd name="T70" fmla="*/ 33873 w 114"/>
              <a:gd name="T71" fmla="*/ 6770 h 96"/>
              <a:gd name="T72" fmla="*/ 36777 w 114"/>
              <a:gd name="T73" fmla="*/ 8705 h 96"/>
              <a:gd name="T74" fmla="*/ 37744 w 114"/>
              <a:gd name="T75" fmla="*/ 12573 h 96"/>
              <a:gd name="T76" fmla="*/ 37744 w 114"/>
              <a:gd name="T77" fmla="*/ 17409 h 96"/>
              <a:gd name="T78" fmla="*/ 40647 w 114"/>
              <a:gd name="T79" fmla="*/ 19343 h 96"/>
              <a:gd name="T80" fmla="*/ 37744 w 114"/>
              <a:gd name="T81" fmla="*/ 21277 h 96"/>
              <a:gd name="T82" fmla="*/ 37744 w 114"/>
              <a:gd name="T83" fmla="*/ 26113 h 96"/>
              <a:gd name="T84" fmla="*/ 33873 w 114"/>
              <a:gd name="T85" fmla="*/ 26113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4" h="96">
                <a:moveTo>
                  <a:pt x="96" y="72"/>
                </a:moveTo>
                <a:lnTo>
                  <a:pt x="90" y="72"/>
                </a:lnTo>
                <a:lnTo>
                  <a:pt x="90" y="66"/>
                </a:lnTo>
                <a:lnTo>
                  <a:pt x="84" y="66"/>
                </a:lnTo>
                <a:lnTo>
                  <a:pt x="84" y="72"/>
                </a:lnTo>
                <a:lnTo>
                  <a:pt x="84" y="66"/>
                </a:lnTo>
                <a:lnTo>
                  <a:pt x="84" y="72"/>
                </a:lnTo>
                <a:lnTo>
                  <a:pt x="78" y="72"/>
                </a:lnTo>
                <a:lnTo>
                  <a:pt x="72" y="72"/>
                </a:lnTo>
                <a:lnTo>
                  <a:pt x="72" y="78"/>
                </a:lnTo>
                <a:lnTo>
                  <a:pt x="66" y="72"/>
                </a:lnTo>
                <a:lnTo>
                  <a:pt x="60" y="72"/>
                </a:lnTo>
                <a:lnTo>
                  <a:pt x="60" y="66"/>
                </a:lnTo>
                <a:lnTo>
                  <a:pt x="60" y="72"/>
                </a:lnTo>
                <a:lnTo>
                  <a:pt x="60" y="78"/>
                </a:lnTo>
                <a:lnTo>
                  <a:pt x="60" y="84"/>
                </a:lnTo>
                <a:lnTo>
                  <a:pt x="60" y="90"/>
                </a:lnTo>
                <a:lnTo>
                  <a:pt x="54" y="90"/>
                </a:lnTo>
                <a:lnTo>
                  <a:pt x="54" y="96"/>
                </a:lnTo>
                <a:lnTo>
                  <a:pt x="48" y="96"/>
                </a:lnTo>
                <a:lnTo>
                  <a:pt x="42" y="96"/>
                </a:lnTo>
                <a:lnTo>
                  <a:pt x="36" y="96"/>
                </a:lnTo>
                <a:lnTo>
                  <a:pt x="30" y="96"/>
                </a:lnTo>
                <a:lnTo>
                  <a:pt x="24" y="96"/>
                </a:lnTo>
                <a:lnTo>
                  <a:pt x="24" y="90"/>
                </a:lnTo>
                <a:lnTo>
                  <a:pt x="24" y="84"/>
                </a:lnTo>
                <a:lnTo>
                  <a:pt x="18" y="84"/>
                </a:lnTo>
                <a:lnTo>
                  <a:pt x="12" y="84"/>
                </a:lnTo>
                <a:lnTo>
                  <a:pt x="12" y="90"/>
                </a:lnTo>
                <a:lnTo>
                  <a:pt x="6" y="90"/>
                </a:lnTo>
                <a:lnTo>
                  <a:pt x="0" y="90"/>
                </a:lnTo>
                <a:lnTo>
                  <a:pt x="0" y="84"/>
                </a:lnTo>
                <a:lnTo>
                  <a:pt x="0" y="78"/>
                </a:lnTo>
                <a:lnTo>
                  <a:pt x="0" y="72"/>
                </a:lnTo>
                <a:lnTo>
                  <a:pt x="6" y="72"/>
                </a:lnTo>
                <a:lnTo>
                  <a:pt x="6" y="66"/>
                </a:lnTo>
                <a:lnTo>
                  <a:pt x="12" y="66"/>
                </a:lnTo>
                <a:lnTo>
                  <a:pt x="18" y="60"/>
                </a:lnTo>
                <a:lnTo>
                  <a:pt x="18" y="54"/>
                </a:lnTo>
                <a:lnTo>
                  <a:pt x="12" y="48"/>
                </a:lnTo>
                <a:lnTo>
                  <a:pt x="12" y="42"/>
                </a:lnTo>
                <a:lnTo>
                  <a:pt x="18" y="42"/>
                </a:lnTo>
                <a:lnTo>
                  <a:pt x="18" y="36"/>
                </a:lnTo>
                <a:lnTo>
                  <a:pt x="18" y="30"/>
                </a:lnTo>
                <a:lnTo>
                  <a:pt x="24" y="30"/>
                </a:lnTo>
                <a:lnTo>
                  <a:pt x="24" y="24"/>
                </a:lnTo>
                <a:lnTo>
                  <a:pt x="30" y="24"/>
                </a:lnTo>
                <a:lnTo>
                  <a:pt x="36" y="24"/>
                </a:lnTo>
                <a:lnTo>
                  <a:pt x="36" y="18"/>
                </a:lnTo>
                <a:lnTo>
                  <a:pt x="42" y="18"/>
                </a:lnTo>
                <a:lnTo>
                  <a:pt x="48" y="12"/>
                </a:lnTo>
                <a:lnTo>
                  <a:pt x="48" y="18"/>
                </a:lnTo>
                <a:lnTo>
                  <a:pt x="54" y="12"/>
                </a:lnTo>
                <a:lnTo>
                  <a:pt x="54" y="18"/>
                </a:lnTo>
                <a:lnTo>
                  <a:pt x="60" y="24"/>
                </a:lnTo>
                <a:lnTo>
                  <a:pt x="60" y="18"/>
                </a:lnTo>
                <a:lnTo>
                  <a:pt x="66" y="18"/>
                </a:lnTo>
                <a:lnTo>
                  <a:pt x="72" y="18"/>
                </a:lnTo>
                <a:lnTo>
                  <a:pt x="72" y="12"/>
                </a:lnTo>
                <a:lnTo>
                  <a:pt x="72" y="18"/>
                </a:lnTo>
                <a:lnTo>
                  <a:pt x="72" y="12"/>
                </a:lnTo>
                <a:lnTo>
                  <a:pt x="78" y="12"/>
                </a:lnTo>
                <a:lnTo>
                  <a:pt x="78" y="6"/>
                </a:lnTo>
                <a:lnTo>
                  <a:pt x="78" y="0"/>
                </a:lnTo>
                <a:lnTo>
                  <a:pt x="84" y="0"/>
                </a:lnTo>
                <a:lnTo>
                  <a:pt x="90" y="0"/>
                </a:lnTo>
                <a:lnTo>
                  <a:pt x="90" y="6"/>
                </a:lnTo>
                <a:lnTo>
                  <a:pt x="90" y="12"/>
                </a:lnTo>
                <a:lnTo>
                  <a:pt x="96" y="12"/>
                </a:lnTo>
                <a:lnTo>
                  <a:pt x="90" y="12"/>
                </a:lnTo>
                <a:lnTo>
                  <a:pt x="96" y="12"/>
                </a:lnTo>
                <a:lnTo>
                  <a:pt x="96" y="18"/>
                </a:lnTo>
                <a:lnTo>
                  <a:pt x="102" y="18"/>
                </a:lnTo>
                <a:lnTo>
                  <a:pt x="102" y="24"/>
                </a:lnTo>
                <a:lnTo>
                  <a:pt x="108" y="30"/>
                </a:lnTo>
                <a:lnTo>
                  <a:pt x="108" y="36"/>
                </a:lnTo>
                <a:lnTo>
                  <a:pt x="108" y="42"/>
                </a:lnTo>
                <a:lnTo>
                  <a:pt x="108" y="48"/>
                </a:lnTo>
                <a:lnTo>
                  <a:pt x="108" y="54"/>
                </a:lnTo>
                <a:lnTo>
                  <a:pt x="114" y="54"/>
                </a:lnTo>
                <a:lnTo>
                  <a:pt x="114" y="60"/>
                </a:lnTo>
                <a:lnTo>
                  <a:pt x="108" y="60"/>
                </a:lnTo>
                <a:lnTo>
                  <a:pt x="108" y="66"/>
                </a:lnTo>
                <a:lnTo>
                  <a:pt x="108" y="72"/>
                </a:lnTo>
                <a:lnTo>
                  <a:pt x="102" y="72"/>
                </a:lnTo>
                <a:lnTo>
                  <a:pt x="96" y="72"/>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4" name="Freeform 48">
            <a:extLst>
              <a:ext uri="{FF2B5EF4-FFF2-40B4-BE49-F238E27FC236}">
                <a16:creationId xmlns:a16="http://schemas.microsoft.com/office/drawing/2014/main" id="{A846562C-7DD6-D347-A0CB-C32095D0EDE2}"/>
              </a:ext>
            </a:extLst>
          </p:cNvPr>
          <p:cNvSpPr>
            <a:spLocks noEditPoints="1"/>
          </p:cNvSpPr>
          <p:nvPr>
            <p:custDataLst>
              <p:tags r:id="rId42"/>
            </p:custDataLst>
          </p:nvPr>
        </p:nvSpPr>
        <p:spPr bwMode="gray">
          <a:xfrm>
            <a:off x="4329172" y="4282751"/>
            <a:ext cx="1229534" cy="913316"/>
          </a:xfrm>
          <a:custGeom>
            <a:avLst/>
            <a:gdLst>
              <a:gd name="T0" fmla="*/ 335643 w 1068"/>
              <a:gd name="T1" fmla="*/ 276204 h 1056"/>
              <a:gd name="T2" fmla="*/ 320122 w 1068"/>
              <a:gd name="T3" fmla="*/ 295655 h 1056"/>
              <a:gd name="T4" fmla="*/ 324003 w 1068"/>
              <a:gd name="T5" fmla="*/ 313160 h 1056"/>
              <a:gd name="T6" fmla="*/ 323032 w 1068"/>
              <a:gd name="T7" fmla="*/ 338447 h 1056"/>
              <a:gd name="T8" fmla="*/ 339524 w 1068"/>
              <a:gd name="T9" fmla="*/ 355952 h 1056"/>
              <a:gd name="T10" fmla="*/ 350194 w 1068"/>
              <a:gd name="T11" fmla="*/ 368595 h 1056"/>
              <a:gd name="T12" fmla="*/ 335643 w 1068"/>
              <a:gd name="T13" fmla="*/ 374431 h 1056"/>
              <a:gd name="T14" fmla="*/ 323032 w 1068"/>
              <a:gd name="T15" fmla="*/ 362760 h 1056"/>
              <a:gd name="T16" fmla="*/ 305572 w 1068"/>
              <a:gd name="T17" fmla="*/ 354008 h 1056"/>
              <a:gd name="T18" fmla="*/ 292961 w 1068"/>
              <a:gd name="T19" fmla="*/ 345254 h 1056"/>
              <a:gd name="T20" fmla="*/ 271619 w 1068"/>
              <a:gd name="T21" fmla="*/ 343309 h 1056"/>
              <a:gd name="T22" fmla="*/ 256098 w 1068"/>
              <a:gd name="T23" fmla="*/ 332611 h 1056"/>
              <a:gd name="T24" fmla="*/ 236697 w 1068"/>
              <a:gd name="T25" fmla="*/ 327749 h 1056"/>
              <a:gd name="T26" fmla="*/ 218265 w 1068"/>
              <a:gd name="T27" fmla="*/ 329693 h 1056"/>
              <a:gd name="T28" fmla="*/ 198864 w 1068"/>
              <a:gd name="T29" fmla="*/ 325804 h 1056"/>
              <a:gd name="T30" fmla="*/ 194983 w 1068"/>
              <a:gd name="T31" fmla="*/ 299545 h 1056"/>
              <a:gd name="T32" fmla="*/ 194983 w 1068"/>
              <a:gd name="T33" fmla="*/ 279121 h 1056"/>
              <a:gd name="T34" fmla="*/ 192073 w 1068"/>
              <a:gd name="T35" fmla="*/ 254808 h 1056"/>
              <a:gd name="T36" fmla="*/ 166851 w 1068"/>
              <a:gd name="T37" fmla="*/ 245082 h 1056"/>
              <a:gd name="T38" fmla="*/ 145510 w 1068"/>
              <a:gd name="T39" fmla="*/ 256753 h 1056"/>
              <a:gd name="T40" fmla="*/ 121259 w 1068"/>
              <a:gd name="T41" fmla="*/ 265505 h 1056"/>
              <a:gd name="T42" fmla="*/ 104767 w 1068"/>
              <a:gd name="T43" fmla="*/ 263560 h 1056"/>
              <a:gd name="T44" fmla="*/ 94096 w 1068"/>
              <a:gd name="T45" fmla="*/ 248972 h 1056"/>
              <a:gd name="T46" fmla="*/ 90216 w 1068"/>
              <a:gd name="T47" fmla="*/ 229521 h 1056"/>
              <a:gd name="T48" fmla="*/ 72755 w 1068"/>
              <a:gd name="T49" fmla="*/ 225631 h 1056"/>
              <a:gd name="T50" fmla="*/ 40743 w 1068"/>
              <a:gd name="T51" fmla="*/ 225631 h 1056"/>
              <a:gd name="T52" fmla="*/ 17462 w 1068"/>
              <a:gd name="T53" fmla="*/ 222714 h 1056"/>
              <a:gd name="T54" fmla="*/ 0 w 1068"/>
              <a:gd name="T55" fmla="*/ 220768 h 1056"/>
              <a:gd name="T56" fmla="*/ 14551 w 1068"/>
              <a:gd name="T57" fmla="*/ 201317 h 1056"/>
              <a:gd name="T58" fmla="*/ 30072 w 1068"/>
              <a:gd name="T59" fmla="*/ 197427 h 1056"/>
              <a:gd name="T60" fmla="*/ 44623 w 1068"/>
              <a:gd name="T61" fmla="*/ 199372 h 1056"/>
              <a:gd name="T62" fmla="*/ 62084 w 1068"/>
              <a:gd name="T63" fmla="*/ 192564 h 1056"/>
              <a:gd name="T64" fmla="*/ 78575 w 1068"/>
              <a:gd name="T65" fmla="*/ 176031 h 1056"/>
              <a:gd name="T66" fmla="*/ 78575 w 1068"/>
              <a:gd name="T67" fmla="*/ 150745 h 1056"/>
              <a:gd name="T68" fmla="*/ 96037 w 1068"/>
              <a:gd name="T69" fmla="*/ 128376 h 1056"/>
              <a:gd name="T70" fmla="*/ 110587 w 1068"/>
              <a:gd name="T71" fmla="*/ 105035 h 1056"/>
              <a:gd name="T72" fmla="*/ 115438 w 1068"/>
              <a:gd name="T73" fmla="*/ 79749 h 1056"/>
              <a:gd name="T74" fmla="*/ 124169 w 1068"/>
              <a:gd name="T75" fmla="*/ 51545 h 1056"/>
              <a:gd name="T76" fmla="*/ 126108 w 1068"/>
              <a:gd name="T77" fmla="*/ 23341 h 1056"/>
              <a:gd name="T78" fmla="*/ 143570 w 1068"/>
              <a:gd name="T79" fmla="*/ 3890 h 1056"/>
              <a:gd name="T80" fmla="*/ 166851 w 1068"/>
              <a:gd name="T81" fmla="*/ 19451 h 1056"/>
              <a:gd name="T82" fmla="*/ 195954 w 1068"/>
              <a:gd name="T83" fmla="*/ 23341 h 1056"/>
              <a:gd name="T84" fmla="*/ 211475 w 1068"/>
              <a:gd name="T85" fmla="*/ 10698 h 1056"/>
              <a:gd name="T86" fmla="*/ 234756 w 1068"/>
              <a:gd name="T87" fmla="*/ 10698 h 1056"/>
              <a:gd name="T88" fmla="*/ 249308 w 1068"/>
              <a:gd name="T89" fmla="*/ 8753 h 1056"/>
              <a:gd name="T90" fmla="*/ 266768 w 1068"/>
              <a:gd name="T91" fmla="*/ 0 h 1056"/>
              <a:gd name="T92" fmla="*/ 275499 w 1068"/>
              <a:gd name="T93" fmla="*/ 3890 h 1056"/>
              <a:gd name="T94" fmla="*/ 290050 w 1068"/>
              <a:gd name="T95" fmla="*/ 6808 h 1056"/>
              <a:gd name="T96" fmla="*/ 309452 w 1068"/>
              <a:gd name="T97" fmla="*/ 12643 h 1056"/>
              <a:gd name="T98" fmla="*/ 324003 w 1068"/>
              <a:gd name="T99" fmla="*/ 19451 h 1056"/>
              <a:gd name="T100" fmla="*/ 343404 w 1068"/>
              <a:gd name="T101" fmla="*/ 14588 h 1056"/>
              <a:gd name="T102" fmla="*/ 354074 w 1068"/>
              <a:gd name="T103" fmla="*/ 26259 h 1056"/>
              <a:gd name="T104" fmla="*/ 371536 w 1068"/>
              <a:gd name="T105" fmla="*/ 37929 h 1056"/>
              <a:gd name="T106" fmla="*/ 367656 w 1068"/>
              <a:gd name="T107" fmla="*/ 56408 h 1056"/>
              <a:gd name="T108" fmla="*/ 371536 w 1068"/>
              <a:gd name="T109" fmla="*/ 74886 h 1056"/>
              <a:gd name="T110" fmla="*/ 352135 w 1068"/>
              <a:gd name="T111" fmla="*/ 92392 h 1056"/>
              <a:gd name="T112" fmla="*/ 346314 w 1068"/>
              <a:gd name="T113" fmla="*/ 121568 h 1056"/>
              <a:gd name="T114" fmla="*/ 337584 w 1068"/>
              <a:gd name="T115" fmla="*/ 141019 h 1056"/>
              <a:gd name="T116" fmla="*/ 335643 w 1068"/>
              <a:gd name="T117" fmla="*/ 165333 h 1056"/>
              <a:gd name="T118" fmla="*/ 342434 w 1068"/>
              <a:gd name="T119" fmla="*/ 192564 h 1056"/>
              <a:gd name="T120" fmla="*/ 346314 w 1068"/>
              <a:gd name="T121" fmla="*/ 220768 h 1056"/>
              <a:gd name="T122" fmla="*/ 354074 w 1068"/>
              <a:gd name="T123" fmla="*/ 245082 h 1056"/>
              <a:gd name="T124" fmla="*/ 367656 w 1068"/>
              <a:gd name="T125" fmla="*/ 270368 h 10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8" h="1056">
                <a:moveTo>
                  <a:pt x="1038" y="756"/>
                </a:moveTo>
                <a:lnTo>
                  <a:pt x="1032" y="762"/>
                </a:lnTo>
                <a:lnTo>
                  <a:pt x="1026" y="762"/>
                </a:lnTo>
                <a:lnTo>
                  <a:pt x="1020" y="762"/>
                </a:lnTo>
                <a:lnTo>
                  <a:pt x="1014" y="762"/>
                </a:lnTo>
                <a:lnTo>
                  <a:pt x="1008" y="762"/>
                </a:lnTo>
                <a:lnTo>
                  <a:pt x="1002" y="762"/>
                </a:lnTo>
                <a:lnTo>
                  <a:pt x="990" y="762"/>
                </a:lnTo>
                <a:lnTo>
                  <a:pt x="984" y="768"/>
                </a:lnTo>
                <a:lnTo>
                  <a:pt x="978" y="768"/>
                </a:lnTo>
                <a:lnTo>
                  <a:pt x="972" y="768"/>
                </a:lnTo>
                <a:lnTo>
                  <a:pt x="966" y="768"/>
                </a:lnTo>
                <a:lnTo>
                  <a:pt x="960" y="768"/>
                </a:lnTo>
                <a:lnTo>
                  <a:pt x="954" y="768"/>
                </a:lnTo>
                <a:lnTo>
                  <a:pt x="948" y="768"/>
                </a:lnTo>
                <a:lnTo>
                  <a:pt x="942" y="774"/>
                </a:lnTo>
                <a:lnTo>
                  <a:pt x="936" y="774"/>
                </a:lnTo>
                <a:lnTo>
                  <a:pt x="930" y="774"/>
                </a:lnTo>
                <a:lnTo>
                  <a:pt x="936" y="780"/>
                </a:lnTo>
                <a:lnTo>
                  <a:pt x="936" y="786"/>
                </a:lnTo>
                <a:lnTo>
                  <a:pt x="930" y="786"/>
                </a:lnTo>
                <a:lnTo>
                  <a:pt x="930" y="792"/>
                </a:lnTo>
                <a:lnTo>
                  <a:pt x="924" y="798"/>
                </a:lnTo>
                <a:lnTo>
                  <a:pt x="924" y="804"/>
                </a:lnTo>
                <a:lnTo>
                  <a:pt x="918" y="804"/>
                </a:lnTo>
                <a:lnTo>
                  <a:pt x="918" y="810"/>
                </a:lnTo>
                <a:lnTo>
                  <a:pt x="912" y="810"/>
                </a:lnTo>
                <a:lnTo>
                  <a:pt x="906" y="810"/>
                </a:lnTo>
                <a:lnTo>
                  <a:pt x="906" y="816"/>
                </a:lnTo>
                <a:lnTo>
                  <a:pt x="900" y="816"/>
                </a:lnTo>
                <a:lnTo>
                  <a:pt x="900" y="822"/>
                </a:lnTo>
                <a:lnTo>
                  <a:pt x="900" y="828"/>
                </a:lnTo>
                <a:lnTo>
                  <a:pt x="906" y="828"/>
                </a:lnTo>
                <a:lnTo>
                  <a:pt x="906" y="822"/>
                </a:lnTo>
                <a:lnTo>
                  <a:pt x="912" y="822"/>
                </a:lnTo>
                <a:lnTo>
                  <a:pt x="912" y="828"/>
                </a:lnTo>
                <a:lnTo>
                  <a:pt x="912" y="834"/>
                </a:lnTo>
                <a:lnTo>
                  <a:pt x="918" y="834"/>
                </a:lnTo>
                <a:lnTo>
                  <a:pt x="912" y="834"/>
                </a:lnTo>
                <a:lnTo>
                  <a:pt x="918" y="834"/>
                </a:lnTo>
                <a:lnTo>
                  <a:pt x="918" y="840"/>
                </a:lnTo>
                <a:lnTo>
                  <a:pt x="918" y="846"/>
                </a:lnTo>
                <a:lnTo>
                  <a:pt x="918" y="852"/>
                </a:lnTo>
                <a:lnTo>
                  <a:pt x="918" y="858"/>
                </a:lnTo>
                <a:lnTo>
                  <a:pt x="918" y="864"/>
                </a:lnTo>
                <a:lnTo>
                  <a:pt x="918" y="870"/>
                </a:lnTo>
                <a:lnTo>
                  <a:pt x="912" y="870"/>
                </a:lnTo>
                <a:lnTo>
                  <a:pt x="912" y="876"/>
                </a:lnTo>
                <a:lnTo>
                  <a:pt x="918" y="876"/>
                </a:lnTo>
                <a:lnTo>
                  <a:pt x="918" y="882"/>
                </a:lnTo>
                <a:lnTo>
                  <a:pt x="918" y="888"/>
                </a:lnTo>
                <a:lnTo>
                  <a:pt x="918" y="894"/>
                </a:lnTo>
                <a:lnTo>
                  <a:pt x="918" y="900"/>
                </a:lnTo>
                <a:lnTo>
                  <a:pt x="912" y="900"/>
                </a:lnTo>
                <a:lnTo>
                  <a:pt x="912" y="906"/>
                </a:lnTo>
                <a:lnTo>
                  <a:pt x="912" y="912"/>
                </a:lnTo>
                <a:lnTo>
                  <a:pt x="912" y="918"/>
                </a:lnTo>
                <a:lnTo>
                  <a:pt x="906" y="918"/>
                </a:lnTo>
                <a:lnTo>
                  <a:pt x="906" y="924"/>
                </a:lnTo>
                <a:lnTo>
                  <a:pt x="906" y="930"/>
                </a:lnTo>
                <a:lnTo>
                  <a:pt x="906" y="936"/>
                </a:lnTo>
                <a:lnTo>
                  <a:pt x="906" y="942"/>
                </a:lnTo>
                <a:lnTo>
                  <a:pt x="900" y="948"/>
                </a:lnTo>
                <a:lnTo>
                  <a:pt x="906" y="948"/>
                </a:lnTo>
                <a:lnTo>
                  <a:pt x="906" y="954"/>
                </a:lnTo>
                <a:lnTo>
                  <a:pt x="906" y="960"/>
                </a:lnTo>
                <a:lnTo>
                  <a:pt x="906" y="966"/>
                </a:lnTo>
                <a:lnTo>
                  <a:pt x="912" y="966"/>
                </a:lnTo>
                <a:lnTo>
                  <a:pt x="918" y="966"/>
                </a:lnTo>
                <a:lnTo>
                  <a:pt x="918" y="972"/>
                </a:lnTo>
                <a:lnTo>
                  <a:pt x="924" y="972"/>
                </a:lnTo>
                <a:lnTo>
                  <a:pt x="924" y="978"/>
                </a:lnTo>
                <a:lnTo>
                  <a:pt x="930" y="978"/>
                </a:lnTo>
                <a:lnTo>
                  <a:pt x="930" y="984"/>
                </a:lnTo>
                <a:lnTo>
                  <a:pt x="936" y="984"/>
                </a:lnTo>
                <a:lnTo>
                  <a:pt x="936" y="990"/>
                </a:lnTo>
                <a:lnTo>
                  <a:pt x="936" y="996"/>
                </a:lnTo>
                <a:lnTo>
                  <a:pt x="942" y="996"/>
                </a:lnTo>
                <a:lnTo>
                  <a:pt x="948" y="996"/>
                </a:lnTo>
                <a:lnTo>
                  <a:pt x="954" y="996"/>
                </a:lnTo>
                <a:lnTo>
                  <a:pt x="960" y="996"/>
                </a:lnTo>
                <a:lnTo>
                  <a:pt x="966" y="1002"/>
                </a:lnTo>
                <a:lnTo>
                  <a:pt x="966" y="996"/>
                </a:lnTo>
                <a:lnTo>
                  <a:pt x="960" y="990"/>
                </a:lnTo>
                <a:lnTo>
                  <a:pt x="966" y="984"/>
                </a:lnTo>
                <a:lnTo>
                  <a:pt x="972" y="984"/>
                </a:lnTo>
                <a:lnTo>
                  <a:pt x="978" y="984"/>
                </a:lnTo>
                <a:lnTo>
                  <a:pt x="984" y="984"/>
                </a:lnTo>
                <a:lnTo>
                  <a:pt x="984" y="990"/>
                </a:lnTo>
                <a:lnTo>
                  <a:pt x="984" y="996"/>
                </a:lnTo>
                <a:lnTo>
                  <a:pt x="984" y="1002"/>
                </a:lnTo>
                <a:lnTo>
                  <a:pt x="984" y="1008"/>
                </a:lnTo>
                <a:lnTo>
                  <a:pt x="984" y="1014"/>
                </a:lnTo>
                <a:lnTo>
                  <a:pt x="984" y="1020"/>
                </a:lnTo>
                <a:lnTo>
                  <a:pt x="984" y="1026"/>
                </a:lnTo>
                <a:lnTo>
                  <a:pt x="984" y="1032"/>
                </a:lnTo>
                <a:lnTo>
                  <a:pt x="984" y="1038"/>
                </a:lnTo>
                <a:lnTo>
                  <a:pt x="984" y="1044"/>
                </a:lnTo>
                <a:lnTo>
                  <a:pt x="984" y="1050"/>
                </a:lnTo>
                <a:lnTo>
                  <a:pt x="984" y="1056"/>
                </a:lnTo>
                <a:lnTo>
                  <a:pt x="978" y="1056"/>
                </a:lnTo>
                <a:lnTo>
                  <a:pt x="972" y="1056"/>
                </a:lnTo>
                <a:lnTo>
                  <a:pt x="972" y="1050"/>
                </a:lnTo>
                <a:lnTo>
                  <a:pt x="972" y="1044"/>
                </a:lnTo>
                <a:lnTo>
                  <a:pt x="966" y="1044"/>
                </a:lnTo>
                <a:lnTo>
                  <a:pt x="960" y="1044"/>
                </a:lnTo>
                <a:lnTo>
                  <a:pt x="960" y="1050"/>
                </a:lnTo>
                <a:lnTo>
                  <a:pt x="954" y="1050"/>
                </a:lnTo>
                <a:lnTo>
                  <a:pt x="948" y="1050"/>
                </a:lnTo>
                <a:lnTo>
                  <a:pt x="948" y="1056"/>
                </a:lnTo>
                <a:lnTo>
                  <a:pt x="948" y="1050"/>
                </a:lnTo>
                <a:lnTo>
                  <a:pt x="942" y="1050"/>
                </a:lnTo>
                <a:lnTo>
                  <a:pt x="936" y="1050"/>
                </a:lnTo>
                <a:lnTo>
                  <a:pt x="936" y="1056"/>
                </a:lnTo>
                <a:lnTo>
                  <a:pt x="936" y="1050"/>
                </a:lnTo>
                <a:lnTo>
                  <a:pt x="936" y="1044"/>
                </a:lnTo>
                <a:lnTo>
                  <a:pt x="930" y="1044"/>
                </a:lnTo>
                <a:lnTo>
                  <a:pt x="930" y="1038"/>
                </a:lnTo>
                <a:lnTo>
                  <a:pt x="930" y="1032"/>
                </a:lnTo>
                <a:lnTo>
                  <a:pt x="924" y="1032"/>
                </a:lnTo>
                <a:lnTo>
                  <a:pt x="924" y="1026"/>
                </a:lnTo>
                <a:lnTo>
                  <a:pt x="924" y="1020"/>
                </a:lnTo>
                <a:lnTo>
                  <a:pt x="918" y="1020"/>
                </a:lnTo>
                <a:lnTo>
                  <a:pt x="912" y="1020"/>
                </a:lnTo>
                <a:lnTo>
                  <a:pt x="912" y="1026"/>
                </a:lnTo>
                <a:lnTo>
                  <a:pt x="912" y="1020"/>
                </a:lnTo>
                <a:lnTo>
                  <a:pt x="912" y="1014"/>
                </a:lnTo>
                <a:lnTo>
                  <a:pt x="906" y="1014"/>
                </a:lnTo>
                <a:lnTo>
                  <a:pt x="912" y="1014"/>
                </a:lnTo>
                <a:lnTo>
                  <a:pt x="912" y="1008"/>
                </a:lnTo>
                <a:lnTo>
                  <a:pt x="906" y="1008"/>
                </a:lnTo>
                <a:lnTo>
                  <a:pt x="906" y="1002"/>
                </a:lnTo>
                <a:lnTo>
                  <a:pt x="900" y="1002"/>
                </a:lnTo>
                <a:lnTo>
                  <a:pt x="900" y="996"/>
                </a:lnTo>
                <a:lnTo>
                  <a:pt x="894" y="996"/>
                </a:lnTo>
                <a:lnTo>
                  <a:pt x="888" y="996"/>
                </a:lnTo>
                <a:lnTo>
                  <a:pt x="888" y="990"/>
                </a:lnTo>
                <a:lnTo>
                  <a:pt x="882" y="990"/>
                </a:lnTo>
                <a:lnTo>
                  <a:pt x="876" y="990"/>
                </a:lnTo>
                <a:lnTo>
                  <a:pt x="876" y="984"/>
                </a:lnTo>
                <a:lnTo>
                  <a:pt x="870" y="984"/>
                </a:lnTo>
                <a:lnTo>
                  <a:pt x="870" y="990"/>
                </a:lnTo>
                <a:lnTo>
                  <a:pt x="864" y="990"/>
                </a:lnTo>
                <a:lnTo>
                  <a:pt x="858" y="990"/>
                </a:lnTo>
                <a:lnTo>
                  <a:pt x="858" y="984"/>
                </a:lnTo>
                <a:lnTo>
                  <a:pt x="852" y="984"/>
                </a:lnTo>
                <a:lnTo>
                  <a:pt x="852" y="978"/>
                </a:lnTo>
                <a:lnTo>
                  <a:pt x="852" y="972"/>
                </a:lnTo>
                <a:lnTo>
                  <a:pt x="852" y="966"/>
                </a:lnTo>
                <a:lnTo>
                  <a:pt x="846" y="966"/>
                </a:lnTo>
                <a:lnTo>
                  <a:pt x="846" y="960"/>
                </a:lnTo>
                <a:lnTo>
                  <a:pt x="840" y="960"/>
                </a:lnTo>
                <a:lnTo>
                  <a:pt x="840" y="954"/>
                </a:lnTo>
                <a:lnTo>
                  <a:pt x="840" y="948"/>
                </a:lnTo>
                <a:lnTo>
                  <a:pt x="834" y="948"/>
                </a:lnTo>
                <a:lnTo>
                  <a:pt x="828" y="948"/>
                </a:lnTo>
                <a:lnTo>
                  <a:pt x="828" y="954"/>
                </a:lnTo>
                <a:lnTo>
                  <a:pt x="828" y="960"/>
                </a:lnTo>
                <a:lnTo>
                  <a:pt x="828" y="966"/>
                </a:lnTo>
                <a:lnTo>
                  <a:pt x="822" y="966"/>
                </a:lnTo>
                <a:lnTo>
                  <a:pt x="822" y="972"/>
                </a:lnTo>
                <a:lnTo>
                  <a:pt x="816" y="972"/>
                </a:lnTo>
                <a:lnTo>
                  <a:pt x="810" y="972"/>
                </a:lnTo>
                <a:lnTo>
                  <a:pt x="804" y="972"/>
                </a:lnTo>
                <a:lnTo>
                  <a:pt x="798" y="972"/>
                </a:lnTo>
                <a:lnTo>
                  <a:pt x="798" y="966"/>
                </a:lnTo>
                <a:lnTo>
                  <a:pt x="792" y="966"/>
                </a:lnTo>
                <a:lnTo>
                  <a:pt x="792" y="972"/>
                </a:lnTo>
                <a:lnTo>
                  <a:pt x="786" y="972"/>
                </a:lnTo>
                <a:lnTo>
                  <a:pt x="780" y="966"/>
                </a:lnTo>
                <a:lnTo>
                  <a:pt x="774" y="972"/>
                </a:lnTo>
                <a:lnTo>
                  <a:pt x="768" y="966"/>
                </a:lnTo>
                <a:lnTo>
                  <a:pt x="768" y="972"/>
                </a:lnTo>
                <a:lnTo>
                  <a:pt x="768" y="966"/>
                </a:lnTo>
                <a:lnTo>
                  <a:pt x="762" y="966"/>
                </a:lnTo>
                <a:lnTo>
                  <a:pt x="762" y="960"/>
                </a:lnTo>
                <a:lnTo>
                  <a:pt x="756" y="960"/>
                </a:lnTo>
                <a:lnTo>
                  <a:pt x="750" y="960"/>
                </a:lnTo>
                <a:lnTo>
                  <a:pt x="750" y="954"/>
                </a:lnTo>
                <a:lnTo>
                  <a:pt x="750" y="960"/>
                </a:lnTo>
                <a:lnTo>
                  <a:pt x="744" y="960"/>
                </a:lnTo>
                <a:lnTo>
                  <a:pt x="744" y="954"/>
                </a:lnTo>
                <a:lnTo>
                  <a:pt x="738" y="954"/>
                </a:lnTo>
                <a:lnTo>
                  <a:pt x="732" y="954"/>
                </a:lnTo>
                <a:lnTo>
                  <a:pt x="732" y="948"/>
                </a:lnTo>
                <a:lnTo>
                  <a:pt x="732" y="942"/>
                </a:lnTo>
                <a:lnTo>
                  <a:pt x="732" y="936"/>
                </a:lnTo>
                <a:lnTo>
                  <a:pt x="732" y="930"/>
                </a:lnTo>
                <a:lnTo>
                  <a:pt x="732" y="924"/>
                </a:lnTo>
                <a:lnTo>
                  <a:pt x="732" y="930"/>
                </a:lnTo>
                <a:lnTo>
                  <a:pt x="726" y="930"/>
                </a:lnTo>
                <a:lnTo>
                  <a:pt x="720" y="930"/>
                </a:lnTo>
                <a:lnTo>
                  <a:pt x="714" y="930"/>
                </a:lnTo>
                <a:lnTo>
                  <a:pt x="708" y="930"/>
                </a:lnTo>
                <a:lnTo>
                  <a:pt x="702" y="930"/>
                </a:lnTo>
                <a:lnTo>
                  <a:pt x="702" y="936"/>
                </a:lnTo>
                <a:lnTo>
                  <a:pt x="696" y="936"/>
                </a:lnTo>
                <a:lnTo>
                  <a:pt x="690" y="942"/>
                </a:lnTo>
                <a:lnTo>
                  <a:pt x="684" y="942"/>
                </a:lnTo>
                <a:lnTo>
                  <a:pt x="678" y="942"/>
                </a:lnTo>
                <a:lnTo>
                  <a:pt x="678" y="936"/>
                </a:lnTo>
                <a:lnTo>
                  <a:pt x="672" y="936"/>
                </a:lnTo>
                <a:lnTo>
                  <a:pt x="678" y="936"/>
                </a:lnTo>
                <a:lnTo>
                  <a:pt x="678" y="930"/>
                </a:lnTo>
                <a:lnTo>
                  <a:pt x="678" y="924"/>
                </a:lnTo>
                <a:lnTo>
                  <a:pt x="678" y="918"/>
                </a:lnTo>
                <a:lnTo>
                  <a:pt x="672" y="918"/>
                </a:lnTo>
                <a:lnTo>
                  <a:pt x="666" y="918"/>
                </a:lnTo>
                <a:lnTo>
                  <a:pt x="666" y="912"/>
                </a:lnTo>
                <a:lnTo>
                  <a:pt x="660" y="912"/>
                </a:lnTo>
                <a:lnTo>
                  <a:pt x="654" y="912"/>
                </a:lnTo>
                <a:lnTo>
                  <a:pt x="654" y="918"/>
                </a:lnTo>
                <a:lnTo>
                  <a:pt x="648" y="918"/>
                </a:lnTo>
                <a:lnTo>
                  <a:pt x="642" y="918"/>
                </a:lnTo>
                <a:lnTo>
                  <a:pt x="636" y="918"/>
                </a:lnTo>
                <a:lnTo>
                  <a:pt x="636" y="912"/>
                </a:lnTo>
                <a:lnTo>
                  <a:pt x="630" y="912"/>
                </a:lnTo>
                <a:lnTo>
                  <a:pt x="624" y="912"/>
                </a:lnTo>
                <a:lnTo>
                  <a:pt x="624" y="918"/>
                </a:lnTo>
                <a:lnTo>
                  <a:pt x="618" y="918"/>
                </a:lnTo>
                <a:lnTo>
                  <a:pt x="612" y="918"/>
                </a:lnTo>
                <a:lnTo>
                  <a:pt x="612" y="924"/>
                </a:lnTo>
                <a:lnTo>
                  <a:pt x="612" y="918"/>
                </a:lnTo>
                <a:lnTo>
                  <a:pt x="612" y="924"/>
                </a:lnTo>
                <a:lnTo>
                  <a:pt x="606" y="924"/>
                </a:lnTo>
                <a:lnTo>
                  <a:pt x="600" y="924"/>
                </a:lnTo>
                <a:lnTo>
                  <a:pt x="600" y="918"/>
                </a:lnTo>
                <a:lnTo>
                  <a:pt x="594" y="918"/>
                </a:lnTo>
                <a:lnTo>
                  <a:pt x="594" y="924"/>
                </a:lnTo>
                <a:lnTo>
                  <a:pt x="588" y="924"/>
                </a:lnTo>
                <a:lnTo>
                  <a:pt x="582" y="918"/>
                </a:lnTo>
                <a:lnTo>
                  <a:pt x="576" y="918"/>
                </a:lnTo>
                <a:lnTo>
                  <a:pt x="576" y="924"/>
                </a:lnTo>
                <a:lnTo>
                  <a:pt x="570" y="924"/>
                </a:lnTo>
                <a:lnTo>
                  <a:pt x="564" y="924"/>
                </a:lnTo>
                <a:lnTo>
                  <a:pt x="564" y="930"/>
                </a:lnTo>
                <a:lnTo>
                  <a:pt x="564" y="924"/>
                </a:lnTo>
                <a:lnTo>
                  <a:pt x="558" y="924"/>
                </a:lnTo>
                <a:lnTo>
                  <a:pt x="558" y="918"/>
                </a:lnTo>
                <a:lnTo>
                  <a:pt x="558" y="912"/>
                </a:lnTo>
                <a:lnTo>
                  <a:pt x="558" y="906"/>
                </a:lnTo>
                <a:lnTo>
                  <a:pt x="564" y="906"/>
                </a:lnTo>
                <a:lnTo>
                  <a:pt x="564" y="900"/>
                </a:lnTo>
                <a:lnTo>
                  <a:pt x="564" y="894"/>
                </a:lnTo>
                <a:lnTo>
                  <a:pt x="564" y="888"/>
                </a:lnTo>
                <a:lnTo>
                  <a:pt x="564" y="882"/>
                </a:lnTo>
                <a:lnTo>
                  <a:pt x="564" y="876"/>
                </a:lnTo>
                <a:lnTo>
                  <a:pt x="564" y="870"/>
                </a:lnTo>
                <a:lnTo>
                  <a:pt x="558" y="870"/>
                </a:lnTo>
                <a:lnTo>
                  <a:pt x="558" y="864"/>
                </a:lnTo>
                <a:lnTo>
                  <a:pt x="558" y="858"/>
                </a:lnTo>
                <a:lnTo>
                  <a:pt x="558" y="852"/>
                </a:lnTo>
                <a:lnTo>
                  <a:pt x="552" y="852"/>
                </a:lnTo>
                <a:lnTo>
                  <a:pt x="546" y="852"/>
                </a:lnTo>
                <a:lnTo>
                  <a:pt x="546" y="846"/>
                </a:lnTo>
                <a:lnTo>
                  <a:pt x="546" y="840"/>
                </a:lnTo>
                <a:lnTo>
                  <a:pt x="540" y="840"/>
                </a:lnTo>
                <a:lnTo>
                  <a:pt x="540" y="834"/>
                </a:lnTo>
                <a:lnTo>
                  <a:pt x="540" y="828"/>
                </a:lnTo>
                <a:lnTo>
                  <a:pt x="534" y="828"/>
                </a:lnTo>
                <a:lnTo>
                  <a:pt x="534" y="822"/>
                </a:lnTo>
                <a:lnTo>
                  <a:pt x="540" y="822"/>
                </a:lnTo>
                <a:lnTo>
                  <a:pt x="540" y="816"/>
                </a:lnTo>
                <a:lnTo>
                  <a:pt x="540" y="810"/>
                </a:lnTo>
                <a:lnTo>
                  <a:pt x="540" y="804"/>
                </a:lnTo>
                <a:lnTo>
                  <a:pt x="540" y="798"/>
                </a:lnTo>
                <a:lnTo>
                  <a:pt x="540" y="792"/>
                </a:lnTo>
                <a:lnTo>
                  <a:pt x="540" y="786"/>
                </a:lnTo>
                <a:lnTo>
                  <a:pt x="540" y="780"/>
                </a:lnTo>
                <a:lnTo>
                  <a:pt x="546" y="780"/>
                </a:lnTo>
                <a:lnTo>
                  <a:pt x="540" y="780"/>
                </a:lnTo>
                <a:lnTo>
                  <a:pt x="546" y="780"/>
                </a:lnTo>
                <a:lnTo>
                  <a:pt x="546" y="774"/>
                </a:lnTo>
                <a:lnTo>
                  <a:pt x="546" y="768"/>
                </a:lnTo>
                <a:lnTo>
                  <a:pt x="540" y="768"/>
                </a:lnTo>
                <a:lnTo>
                  <a:pt x="546" y="768"/>
                </a:lnTo>
                <a:lnTo>
                  <a:pt x="546" y="762"/>
                </a:lnTo>
                <a:lnTo>
                  <a:pt x="540" y="762"/>
                </a:lnTo>
                <a:lnTo>
                  <a:pt x="540" y="756"/>
                </a:lnTo>
                <a:lnTo>
                  <a:pt x="540" y="750"/>
                </a:lnTo>
                <a:lnTo>
                  <a:pt x="534" y="750"/>
                </a:lnTo>
                <a:lnTo>
                  <a:pt x="534" y="744"/>
                </a:lnTo>
                <a:lnTo>
                  <a:pt x="534" y="738"/>
                </a:lnTo>
                <a:lnTo>
                  <a:pt x="534" y="732"/>
                </a:lnTo>
                <a:lnTo>
                  <a:pt x="534" y="726"/>
                </a:lnTo>
                <a:lnTo>
                  <a:pt x="540" y="726"/>
                </a:lnTo>
                <a:lnTo>
                  <a:pt x="540" y="720"/>
                </a:lnTo>
                <a:lnTo>
                  <a:pt x="540" y="714"/>
                </a:lnTo>
                <a:lnTo>
                  <a:pt x="540" y="708"/>
                </a:lnTo>
                <a:lnTo>
                  <a:pt x="534" y="708"/>
                </a:lnTo>
                <a:lnTo>
                  <a:pt x="528" y="708"/>
                </a:lnTo>
                <a:lnTo>
                  <a:pt x="522" y="708"/>
                </a:lnTo>
                <a:lnTo>
                  <a:pt x="516" y="708"/>
                </a:lnTo>
                <a:lnTo>
                  <a:pt x="510" y="708"/>
                </a:lnTo>
                <a:lnTo>
                  <a:pt x="504" y="708"/>
                </a:lnTo>
                <a:lnTo>
                  <a:pt x="492" y="708"/>
                </a:lnTo>
                <a:lnTo>
                  <a:pt x="486" y="708"/>
                </a:lnTo>
                <a:lnTo>
                  <a:pt x="480" y="708"/>
                </a:lnTo>
                <a:lnTo>
                  <a:pt x="474" y="708"/>
                </a:lnTo>
                <a:lnTo>
                  <a:pt x="468" y="708"/>
                </a:lnTo>
                <a:lnTo>
                  <a:pt x="468" y="702"/>
                </a:lnTo>
                <a:lnTo>
                  <a:pt x="468" y="696"/>
                </a:lnTo>
                <a:lnTo>
                  <a:pt x="468" y="690"/>
                </a:lnTo>
                <a:lnTo>
                  <a:pt x="468" y="684"/>
                </a:lnTo>
                <a:lnTo>
                  <a:pt x="462" y="684"/>
                </a:lnTo>
                <a:lnTo>
                  <a:pt x="456" y="684"/>
                </a:lnTo>
                <a:lnTo>
                  <a:pt x="456" y="690"/>
                </a:lnTo>
                <a:lnTo>
                  <a:pt x="450" y="690"/>
                </a:lnTo>
                <a:lnTo>
                  <a:pt x="444" y="690"/>
                </a:lnTo>
                <a:lnTo>
                  <a:pt x="438" y="690"/>
                </a:lnTo>
                <a:lnTo>
                  <a:pt x="432" y="690"/>
                </a:lnTo>
                <a:lnTo>
                  <a:pt x="426" y="690"/>
                </a:lnTo>
                <a:lnTo>
                  <a:pt x="420" y="690"/>
                </a:lnTo>
                <a:lnTo>
                  <a:pt x="408" y="690"/>
                </a:lnTo>
                <a:lnTo>
                  <a:pt x="414" y="696"/>
                </a:lnTo>
                <a:lnTo>
                  <a:pt x="408" y="696"/>
                </a:lnTo>
                <a:lnTo>
                  <a:pt x="408" y="702"/>
                </a:lnTo>
                <a:lnTo>
                  <a:pt x="408" y="708"/>
                </a:lnTo>
                <a:lnTo>
                  <a:pt x="408" y="714"/>
                </a:lnTo>
                <a:lnTo>
                  <a:pt x="408" y="720"/>
                </a:lnTo>
                <a:lnTo>
                  <a:pt x="402" y="720"/>
                </a:lnTo>
                <a:lnTo>
                  <a:pt x="402" y="726"/>
                </a:lnTo>
                <a:lnTo>
                  <a:pt x="402" y="732"/>
                </a:lnTo>
                <a:lnTo>
                  <a:pt x="402" y="738"/>
                </a:lnTo>
                <a:lnTo>
                  <a:pt x="402" y="744"/>
                </a:lnTo>
                <a:lnTo>
                  <a:pt x="396" y="744"/>
                </a:lnTo>
                <a:lnTo>
                  <a:pt x="390" y="744"/>
                </a:lnTo>
                <a:lnTo>
                  <a:pt x="384" y="744"/>
                </a:lnTo>
                <a:lnTo>
                  <a:pt x="378" y="744"/>
                </a:lnTo>
                <a:lnTo>
                  <a:pt x="372" y="744"/>
                </a:lnTo>
                <a:lnTo>
                  <a:pt x="366" y="744"/>
                </a:lnTo>
                <a:lnTo>
                  <a:pt x="354" y="744"/>
                </a:lnTo>
                <a:lnTo>
                  <a:pt x="348" y="744"/>
                </a:lnTo>
                <a:lnTo>
                  <a:pt x="348" y="750"/>
                </a:lnTo>
                <a:lnTo>
                  <a:pt x="342" y="750"/>
                </a:lnTo>
                <a:lnTo>
                  <a:pt x="342" y="744"/>
                </a:lnTo>
                <a:lnTo>
                  <a:pt x="342" y="750"/>
                </a:lnTo>
                <a:lnTo>
                  <a:pt x="342" y="744"/>
                </a:lnTo>
                <a:lnTo>
                  <a:pt x="336" y="744"/>
                </a:lnTo>
                <a:lnTo>
                  <a:pt x="330" y="744"/>
                </a:lnTo>
                <a:lnTo>
                  <a:pt x="330" y="750"/>
                </a:lnTo>
                <a:lnTo>
                  <a:pt x="324" y="750"/>
                </a:lnTo>
                <a:lnTo>
                  <a:pt x="318" y="750"/>
                </a:lnTo>
                <a:lnTo>
                  <a:pt x="312" y="750"/>
                </a:lnTo>
                <a:lnTo>
                  <a:pt x="306" y="750"/>
                </a:lnTo>
                <a:lnTo>
                  <a:pt x="306" y="756"/>
                </a:lnTo>
                <a:lnTo>
                  <a:pt x="300" y="756"/>
                </a:lnTo>
                <a:lnTo>
                  <a:pt x="300" y="750"/>
                </a:lnTo>
                <a:lnTo>
                  <a:pt x="294" y="750"/>
                </a:lnTo>
                <a:lnTo>
                  <a:pt x="300" y="750"/>
                </a:lnTo>
                <a:lnTo>
                  <a:pt x="294" y="744"/>
                </a:lnTo>
                <a:lnTo>
                  <a:pt x="294" y="738"/>
                </a:lnTo>
                <a:lnTo>
                  <a:pt x="288" y="738"/>
                </a:lnTo>
                <a:lnTo>
                  <a:pt x="288" y="732"/>
                </a:lnTo>
                <a:lnTo>
                  <a:pt x="282" y="726"/>
                </a:lnTo>
                <a:lnTo>
                  <a:pt x="288" y="726"/>
                </a:lnTo>
                <a:lnTo>
                  <a:pt x="282" y="726"/>
                </a:lnTo>
                <a:lnTo>
                  <a:pt x="282" y="720"/>
                </a:lnTo>
                <a:lnTo>
                  <a:pt x="276" y="720"/>
                </a:lnTo>
                <a:lnTo>
                  <a:pt x="276" y="714"/>
                </a:lnTo>
                <a:lnTo>
                  <a:pt x="282" y="714"/>
                </a:lnTo>
                <a:lnTo>
                  <a:pt x="276" y="714"/>
                </a:lnTo>
                <a:lnTo>
                  <a:pt x="276" y="708"/>
                </a:lnTo>
                <a:lnTo>
                  <a:pt x="270" y="708"/>
                </a:lnTo>
                <a:lnTo>
                  <a:pt x="270" y="702"/>
                </a:lnTo>
                <a:lnTo>
                  <a:pt x="264" y="702"/>
                </a:lnTo>
                <a:lnTo>
                  <a:pt x="270" y="702"/>
                </a:lnTo>
                <a:lnTo>
                  <a:pt x="264" y="696"/>
                </a:lnTo>
                <a:lnTo>
                  <a:pt x="270" y="696"/>
                </a:lnTo>
                <a:lnTo>
                  <a:pt x="270" y="690"/>
                </a:lnTo>
                <a:lnTo>
                  <a:pt x="264" y="690"/>
                </a:lnTo>
                <a:lnTo>
                  <a:pt x="264" y="684"/>
                </a:lnTo>
                <a:lnTo>
                  <a:pt x="264" y="678"/>
                </a:lnTo>
                <a:lnTo>
                  <a:pt x="258" y="678"/>
                </a:lnTo>
                <a:lnTo>
                  <a:pt x="258" y="672"/>
                </a:lnTo>
                <a:lnTo>
                  <a:pt x="258" y="666"/>
                </a:lnTo>
                <a:lnTo>
                  <a:pt x="252" y="666"/>
                </a:lnTo>
                <a:lnTo>
                  <a:pt x="258" y="666"/>
                </a:lnTo>
                <a:lnTo>
                  <a:pt x="252" y="660"/>
                </a:lnTo>
                <a:lnTo>
                  <a:pt x="252" y="654"/>
                </a:lnTo>
                <a:lnTo>
                  <a:pt x="252" y="660"/>
                </a:lnTo>
                <a:lnTo>
                  <a:pt x="252" y="654"/>
                </a:lnTo>
                <a:lnTo>
                  <a:pt x="252" y="648"/>
                </a:lnTo>
                <a:lnTo>
                  <a:pt x="252" y="642"/>
                </a:lnTo>
                <a:lnTo>
                  <a:pt x="246" y="642"/>
                </a:lnTo>
                <a:lnTo>
                  <a:pt x="252" y="642"/>
                </a:lnTo>
                <a:lnTo>
                  <a:pt x="246" y="642"/>
                </a:lnTo>
                <a:lnTo>
                  <a:pt x="246" y="636"/>
                </a:lnTo>
                <a:lnTo>
                  <a:pt x="246" y="630"/>
                </a:lnTo>
                <a:lnTo>
                  <a:pt x="240" y="630"/>
                </a:lnTo>
                <a:lnTo>
                  <a:pt x="234" y="630"/>
                </a:lnTo>
                <a:lnTo>
                  <a:pt x="234" y="624"/>
                </a:lnTo>
                <a:lnTo>
                  <a:pt x="228" y="624"/>
                </a:lnTo>
                <a:lnTo>
                  <a:pt x="222" y="624"/>
                </a:lnTo>
                <a:lnTo>
                  <a:pt x="222" y="630"/>
                </a:lnTo>
                <a:lnTo>
                  <a:pt x="216" y="630"/>
                </a:lnTo>
                <a:lnTo>
                  <a:pt x="216" y="624"/>
                </a:lnTo>
                <a:lnTo>
                  <a:pt x="216" y="630"/>
                </a:lnTo>
                <a:lnTo>
                  <a:pt x="210" y="630"/>
                </a:lnTo>
                <a:lnTo>
                  <a:pt x="204" y="630"/>
                </a:lnTo>
                <a:lnTo>
                  <a:pt x="198" y="624"/>
                </a:lnTo>
                <a:lnTo>
                  <a:pt x="192" y="624"/>
                </a:lnTo>
                <a:lnTo>
                  <a:pt x="186" y="630"/>
                </a:lnTo>
                <a:lnTo>
                  <a:pt x="180" y="630"/>
                </a:lnTo>
                <a:lnTo>
                  <a:pt x="174" y="630"/>
                </a:lnTo>
                <a:lnTo>
                  <a:pt x="168" y="624"/>
                </a:lnTo>
                <a:lnTo>
                  <a:pt x="162" y="624"/>
                </a:lnTo>
                <a:lnTo>
                  <a:pt x="156" y="624"/>
                </a:lnTo>
                <a:lnTo>
                  <a:pt x="156" y="630"/>
                </a:lnTo>
                <a:lnTo>
                  <a:pt x="150" y="630"/>
                </a:lnTo>
                <a:lnTo>
                  <a:pt x="144" y="630"/>
                </a:lnTo>
                <a:lnTo>
                  <a:pt x="138" y="630"/>
                </a:lnTo>
                <a:lnTo>
                  <a:pt x="132" y="630"/>
                </a:lnTo>
                <a:lnTo>
                  <a:pt x="126" y="630"/>
                </a:lnTo>
                <a:lnTo>
                  <a:pt x="120" y="630"/>
                </a:lnTo>
                <a:lnTo>
                  <a:pt x="114" y="630"/>
                </a:lnTo>
                <a:lnTo>
                  <a:pt x="114" y="624"/>
                </a:lnTo>
                <a:lnTo>
                  <a:pt x="108" y="624"/>
                </a:lnTo>
                <a:lnTo>
                  <a:pt x="108" y="630"/>
                </a:lnTo>
                <a:lnTo>
                  <a:pt x="102" y="630"/>
                </a:lnTo>
                <a:lnTo>
                  <a:pt x="102" y="624"/>
                </a:lnTo>
                <a:lnTo>
                  <a:pt x="96" y="624"/>
                </a:lnTo>
                <a:lnTo>
                  <a:pt x="90" y="630"/>
                </a:lnTo>
                <a:lnTo>
                  <a:pt x="84" y="630"/>
                </a:lnTo>
                <a:lnTo>
                  <a:pt x="78" y="630"/>
                </a:lnTo>
                <a:lnTo>
                  <a:pt x="72" y="624"/>
                </a:lnTo>
                <a:lnTo>
                  <a:pt x="66" y="624"/>
                </a:lnTo>
                <a:lnTo>
                  <a:pt x="66" y="630"/>
                </a:lnTo>
                <a:lnTo>
                  <a:pt x="60" y="624"/>
                </a:lnTo>
                <a:lnTo>
                  <a:pt x="54" y="630"/>
                </a:lnTo>
                <a:lnTo>
                  <a:pt x="48" y="630"/>
                </a:lnTo>
                <a:lnTo>
                  <a:pt x="48" y="624"/>
                </a:lnTo>
                <a:lnTo>
                  <a:pt x="48" y="630"/>
                </a:lnTo>
                <a:lnTo>
                  <a:pt x="42" y="630"/>
                </a:lnTo>
                <a:lnTo>
                  <a:pt x="36" y="630"/>
                </a:lnTo>
                <a:lnTo>
                  <a:pt x="30" y="630"/>
                </a:lnTo>
                <a:lnTo>
                  <a:pt x="30" y="636"/>
                </a:lnTo>
                <a:lnTo>
                  <a:pt x="24" y="636"/>
                </a:lnTo>
                <a:lnTo>
                  <a:pt x="18" y="636"/>
                </a:lnTo>
                <a:lnTo>
                  <a:pt x="12" y="636"/>
                </a:lnTo>
                <a:lnTo>
                  <a:pt x="18" y="636"/>
                </a:lnTo>
                <a:lnTo>
                  <a:pt x="18" y="630"/>
                </a:lnTo>
                <a:lnTo>
                  <a:pt x="12" y="636"/>
                </a:lnTo>
                <a:lnTo>
                  <a:pt x="12" y="630"/>
                </a:lnTo>
                <a:lnTo>
                  <a:pt x="6" y="630"/>
                </a:lnTo>
                <a:lnTo>
                  <a:pt x="6" y="624"/>
                </a:lnTo>
                <a:lnTo>
                  <a:pt x="0" y="624"/>
                </a:lnTo>
                <a:lnTo>
                  <a:pt x="0" y="618"/>
                </a:lnTo>
                <a:lnTo>
                  <a:pt x="6" y="618"/>
                </a:lnTo>
                <a:lnTo>
                  <a:pt x="12" y="618"/>
                </a:lnTo>
                <a:lnTo>
                  <a:pt x="18" y="618"/>
                </a:lnTo>
                <a:lnTo>
                  <a:pt x="18" y="612"/>
                </a:lnTo>
                <a:lnTo>
                  <a:pt x="18" y="606"/>
                </a:lnTo>
                <a:lnTo>
                  <a:pt x="18" y="600"/>
                </a:lnTo>
                <a:lnTo>
                  <a:pt x="18" y="594"/>
                </a:lnTo>
                <a:lnTo>
                  <a:pt x="18" y="588"/>
                </a:lnTo>
                <a:lnTo>
                  <a:pt x="18" y="582"/>
                </a:lnTo>
                <a:lnTo>
                  <a:pt x="24" y="582"/>
                </a:lnTo>
                <a:lnTo>
                  <a:pt x="24" y="576"/>
                </a:lnTo>
                <a:lnTo>
                  <a:pt x="30" y="576"/>
                </a:lnTo>
                <a:lnTo>
                  <a:pt x="30" y="570"/>
                </a:lnTo>
                <a:lnTo>
                  <a:pt x="36" y="570"/>
                </a:lnTo>
                <a:lnTo>
                  <a:pt x="36" y="564"/>
                </a:lnTo>
                <a:lnTo>
                  <a:pt x="42" y="564"/>
                </a:lnTo>
                <a:lnTo>
                  <a:pt x="48" y="564"/>
                </a:lnTo>
                <a:lnTo>
                  <a:pt x="48" y="558"/>
                </a:lnTo>
                <a:lnTo>
                  <a:pt x="54" y="558"/>
                </a:lnTo>
                <a:lnTo>
                  <a:pt x="60" y="558"/>
                </a:lnTo>
                <a:lnTo>
                  <a:pt x="60" y="564"/>
                </a:lnTo>
                <a:lnTo>
                  <a:pt x="66" y="564"/>
                </a:lnTo>
                <a:lnTo>
                  <a:pt x="66" y="570"/>
                </a:lnTo>
                <a:lnTo>
                  <a:pt x="72" y="576"/>
                </a:lnTo>
                <a:lnTo>
                  <a:pt x="72" y="570"/>
                </a:lnTo>
                <a:lnTo>
                  <a:pt x="78" y="570"/>
                </a:lnTo>
                <a:lnTo>
                  <a:pt x="78" y="564"/>
                </a:lnTo>
                <a:lnTo>
                  <a:pt x="84" y="564"/>
                </a:lnTo>
                <a:lnTo>
                  <a:pt x="84" y="558"/>
                </a:lnTo>
                <a:lnTo>
                  <a:pt x="90" y="558"/>
                </a:lnTo>
                <a:lnTo>
                  <a:pt x="90" y="552"/>
                </a:lnTo>
                <a:lnTo>
                  <a:pt x="84" y="552"/>
                </a:lnTo>
                <a:lnTo>
                  <a:pt x="84" y="546"/>
                </a:lnTo>
                <a:lnTo>
                  <a:pt x="90" y="546"/>
                </a:lnTo>
                <a:lnTo>
                  <a:pt x="96" y="546"/>
                </a:lnTo>
                <a:lnTo>
                  <a:pt x="96" y="552"/>
                </a:lnTo>
                <a:lnTo>
                  <a:pt x="102" y="552"/>
                </a:lnTo>
                <a:lnTo>
                  <a:pt x="102" y="546"/>
                </a:lnTo>
                <a:lnTo>
                  <a:pt x="108" y="546"/>
                </a:lnTo>
                <a:lnTo>
                  <a:pt x="114" y="546"/>
                </a:lnTo>
                <a:lnTo>
                  <a:pt x="114" y="540"/>
                </a:lnTo>
                <a:lnTo>
                  <a:pt x="120" y="540"/>
                </a:lnTo>
                <a:lnTo>
                  <a:pt x="126" y="540"/>
                </a:lnTo>
                <a:lnTo>
                  <a:pt x="126" y="546"/>
                </a:lnTo>
                <a:lnTo>
                  <a:pt x="126" y="552"/>
                </a:lnTo>
                <a:lnTo>
                  <a:pt x="120" y="552"/>
                </a:lnTo>
                <a:lnTo>
                  <a:pt x="120" y="558"/>
                </a:lnTo>
                <a:lnTo>
                  <a:pt x="126" y="558"/>
                </a:lnTo>
                <a:lnTo>
                  <a:pt x="120" y="558"/>
                </a:lnTo>
                <a:lnTo>
                  <a:pt x="126" y="558"/>
                </a:lnTo>
                <a:lnTo>
                  <a:pt x="126" y="564"/>
                </a:lnTo>
                <a:lnTo>
                  <a:pt x="126" y="570"/>
                </a:lnTo>
                <a:lnTo>
                  <a:pt x="132" y="570"/>
                </a:lnTo>
                <a:lnTo>
                  <a:pt x="138" y="570"/>
                </a:lnTo>
                <a:lnTo>
                  <a:pt x="138" y="576"/>
                </a:lnTo>
                <a:lnTo>
                  <a:pt x="144" y="570"/>
                </a:lnTo>
                <a:lnTo>
                  <a:pt x="150" y="570"/>
                </a:lnTo>
                <a:lnTo>
                  <a:pt x="150" y="564"/>
                </a:lnTo>
                <a:lnTo>
                  <a:pt x="150" y="558"/>
                </a:lnTo>
                <a:lnTo>
                  <a:pt x="156" y="558"/>
                </a:lnTo>
                <a:lnTo>
                  <a:pt x="162" y="552"/>
                </a:lnTo>
                <a:lnTo>
                  <a:pt x="168" y="546"/>
                </a:lnTo>
                <a:lnTo>
                  <a:pt x="168" y="540"/>
                </a:lnTo>
                <a:lnTo>
                  <a:pt x="174" y="540"/>
                </a:lnTo>
                <a:lnTo>
                  <a:pt x="180" y="540"/>
                </a:lnTo>
                <a:lnTo>
                  <a:pt x="186" y="540"/>
                </a:lnTo>
                <a:lnTo>
                  <a:pt x="186" y="534"/>
                </a:lnTo>
                <a:lnTo>
                  <a:pt x="186" y="528"/>
                </a:lnTo>
                <a:lnTo>
                  <a:pt x="186" y="522"/>
                </a:lnTo>
                <a:lnTo>
                  <a:pt x="192" y="522"/>
                </a:lnTo>
                <a:lnTo>
                  <a:pt x="198" y="522"/>
                </a:lnTo>
                <a:lnTo>
                  <a:pt x="204" y="522"/>
                </a:lnTo>
                <a:lnTo>
                  <a:pt x="210" y="522"/>
                </a:lnTo>
                <a:lnTo>
                  <a:pt x="210" y="516"/>
                </a:lnTo>
                <a:lnTo>
                  <a:pt x="210" y="510"/>
                </a:lnTo>
                <a:lnTo>
                  <a:pt x="216" y="510"/>
                </a:lnTo>
                <a:lnTo>
                  <a:pt x="216" y="504"/>
                </a:lnTo>
                <a:lnTo>
                  <a:pt x="216" y="498"/>
                </a:lnTo>
                <a:lnTo>
                  <a:pt x="222" y="498"/>
                </a:lnTo>
                <a:lnTo>
                  <a:pt x="222" y="492"/>
                </a:lnTo>
                <a:lnTo>
                  <a:pt x="222" y="486"/>
                </a:lnTo>
                <a:lnTo>
                  <a:pt x="228" y="486"/>
                </a:lnTo>
                <a:lnTo>
                  <a:pt x="228" y="480"/>
                </a:lnTo>
                <a:lnTo>
                  <a:pt x="222" y="480"/>
                </a:lnTo>
                <a:lnTo>
                  <a:pt x="222" y="474"/>
                </a:lnTo>
                <a:lnTo>
                  <a:pt x="222" y="468"/>
                </a:lnTo>
                <a:lnTo>
                  <a:pt x="222" y="462"/>
                </a:lnTo>
                <a:lnTo>
                  <a:pt x="222" y="456"/>
                </a:lnTo>
                <a:lnTo>
                  <a:pt x="222" y="450"/>
                </a:lnTo>
                <a:lnTo>
                  <a:pt x="228" y="450"/>
                </a:lnTo>
                <a:lnTo>
                  <a:pt x="228" y="444"/>
                </a:lnTo>
                <a:lnTo>
                  <a:pt x="228" y="438"/>
                </a:lnTo>
                <a:lnTo>
                  <a:pt x="222" y="438"/>
                </a:lnTo>
                <a:lnTo>
                  <a:pt x="222" y="432"/>
                </a:lnTo>
                <a:lnTo>
                  <a:pt x="222" y="426"/>
                </a:lnTo>
                <a:lnTo>
                  <a:pt x="222" y="420"/>
                </a:lnTo>
                <a:lnTo>
                  <a:pt x="228" y="420"/>
                </a:lnTo>
                <a:lnTo>
                  <a:pt x="228" y="414"/>
                </a:lnTo>
                <a:lnTo>
                  <a:pt x="234" y="414"/>
                </a:lnTo>
                <a:lnTo>
                  <a:pt x="234" y="408"/>
                </a:lnTo>
                <a:lnTo>
                  <a:pt x="240" y="408"/>
                </a:lnTo>
                <a:lnTo>
                  <a:pt x="240" y="402"/>
                </a:lnTo>
                <a:lnTo>
                  <a:pt x="246" y="402"/>
                </a:lnTo>
                <a:lnTo>
                  <a:pt x="246" y="396"/>
                </a:lnTo>
                <a:lnTo>
                  <a:pt x="252" y="390"/>
                </a:lnTo>
                <a:lnTo>
                  <a:pt x="252" y="384"/>
                </a:lnTo>
                <a:lnTo>
                  <a:pt x="252" y="378"/>
                </a:lnTo>
                <a:lnTo>
                  <a:pt x="258" y="378"/>
                </a:lnTo>
                <a:lnTo>
                  <a:pt x="258" y="372"/>
                </a:lnTo>
                <a:lnTo>
                  <a:pt x="264" y="366"/>
                </a:lnTo>
                <a:lnTo>
                  <a:pt x="270" y="366"/>
                </a:lnTo>
                <a:lnTo>
                  <a:pt x="270" y="360"/>
                </a:lnTo>
                <a:lnTo>
                  <a:pt x="276" y="360"/>
                </a:lnTo>
                <a:lnTo>
                  <a:pt x="282" y="360"/>
                </a:lnTo>
                <a:lnTo>
                  <a:pt x="282" y="354"/>
                </a:lnTo>
                <a:lnTo>
                  <a:pt x="288" y="354"/>
                </a:lnTo>
                <a:lnTo>
                  <a:pt x="294" y="348"/>
                </a:lnTo>
                <a:lnTo>
                  <a:pt x="300" y="342"/>
                </a:lnTo>
                <a:lnTo>
                  <a:pt x="300" y="336"/>
                </a:lnTo>
                <a:lnTo>
                  <a:pt x="306" y="336"/>
                </a:lnTo>
                <a:lnTo>
                  <a:pt x="306" y="330"/>
                </a:lnTo>
                <a:lnTo>
                  <a:pt x="312" y="324"/>
                </a:lnTo>
                <a:lnTo>
                  <a:pt x="312" y="318"/>
                </a:lnTo>
                <a:lnTo>
                  <a:pt x="306" y="312"/>
                </a:lnTo>
                <a:lnTo>
                  <a:pt x="306" y="306"/>
                </a:lnTo>
                <a:lnTo>
                  <a:pt x="312" y="306"/>
                </a:lnTo>
                <a:lnTo>
                  <a:pt x="312" y="300"/>
                </a:lnTo>
                <a:lnTo>
                  <a:pt x="312" y="294"/>
                </a:lnTo>
                <a:lnTo>
                  <a:pt x="312" y="288"/>
                </a:lnTo>
                <a:lnTo>
                  <a:pt x="318" y="288"/>
                </a:lnTo>
                <a:lnTo>
                  <a:pt x="318" y="282"/>
                </a:lnTo>
                <a:lnTo>
                  <a:pt x="324" y="282"/>
                </a:lnTo>
                <a:lnTo>
                  <a:pt x="324" y="276"/>
                </a:lnTo>
                <a:lnTo>
                  <a:pt x="324" y="270"/>
                </a:lnTo>
                <a:lnTo>
                  <a:pt x="318" y="270"/>
                </a:lnTo>
                <a:lnTo>
                  <a:pt x="318" y="264"/>
                </a:lnTo>
                <a:lnTo>
                  <a:pt x="318" y="258"/>
                </a:lnTo>
                <a:lnTo>
                  <a:pt x="318" y="252"/>
                </a:lnTo>
                <a:lnTo>
                  <a:pt x="318" y="246"/>
                </a:lnTo>
                <a:lnTo>
                  <a:pt x="318" y="240"/>
                </a:lnTo>
                <a:lnTo>
                  <a:pt x="318" y="234"/>
                </a:lnTo>
                <a:lnTo>
                  <a:pt x="324" y="234"/>
                </a:lnTo>
                <a:lnTo>
                  <a:pt x="324" y="228"/>
                </a:lnTo>
                <a:lnTo>
                  <a:pt x="324" y="222"/>
                </a:lnTo>
                <a:lnTo>
                  <a:pt x="324" y="216"/>
                </a:lnTo>
                <a:lnTo>
                  <a:pt x="330" y="216"/>
                </a:lnTo>
                <a:lnTo>
                  <a:pt x="330" y="210"/>
                </a:lnTo>
                <a:lnTo>
                  <a:pt x="330" y="204"/>
                </a:lnTo>
                <a:lnTo>
                  <a:pt x="330" y="198"/>
                </a:lnTo>
                <a:lnTo>
                  <a:pt x="330" y="192"/>
                </a:lnTo>
                <a:lnTo>
                  <a:pt x="330" y="186"/>
                </a:lnTo>
                <a:lnTo>
                  <a:pt x="330" y="180"/>
                </a:lnTo>
                <a:lnTo>
                  <a:pt x="330" y="174"/>
                </a:lnTo>
                <a:lnTo>
                  <a:pt x="336" y="174"/>
                </a:lnTo>
                <a:lnTo>
                  <a:pt x="336" y="168"/>
                </a:lnTo>
                <a:lnTo>
                  <a:pt x="336" y="162"/>
                </a:lnTo>
                <a:lnTo>
                  <a:pt x="342" y="156"/>
                </a:lnTo>
                <a:lnTo>
                  <a:pt x="342" y="150"/>
                </a:lnTo>
                <a:lnTo>
                  <a:pt x="348" y="150"/>
                </a:lnTo>
                <a:lnTo>
                  <a:pt x="348" y="144"/>
                </a:lnTo>
                <a:lnTo>
                  <a:pt x="348" y="138"/>
                </a:lnTo>
                <a:lnTo>
                  <a:pt x="348" y="132"/>
                </a:lnTo>
                <a:lnTo>
                  <a:pt x="354" y="132"/>
                </a:lnTo>
                <a:lnTo>
                  <a:pt x="354" y="126"/>
                </a:lnTo>
                <a:lnTo>
                  <a:pt x="360" y="126"/>
                </a:lnTo>
                <a:lnTo>
                  <a:pt x="360" y="120"/>
                </a:lnTo>
                <a:lnTo>
                  <a:pt x="360" y="114"/>
                </a:lnTo>
                <a:lnTo>
                  <a:pt x="360" y="108"/>
                </a:lnTo>
                <a:lnTo>
                  <a:pt x="360" y="102"/>
                </a:lnTo>
                <a:lnTo>
                  <a:pt x="360" y="96"/>
                </a:lnTo>
                <a:lnTo>
                  <a:pt x="360" y="90"/>
                </a:lnTo>
                <a:lnTo>
                  <a:pt x="360" y="84"/>
                </a:lnTo>
                <a:lnTo>
                  <a:pt x="360" y="78"/>
                </a:lnTo>
                <a:lnTo>
                  <a:pt x="360" y="72"/>
                </a:lnTo>
                <a:lnTo>
                  <a:pt x="360" y="66"/>
                </a:lnTo>
                <a:lnTo>
                  <a:pt x="354" y="66"/>
                </a:lnTo>
                <a:lnTo>
                  <a:pt x="354" y="60"/>
                </a:lnTo>
                <a:lnTo>
                  <a:pt x="360" y="54"/>
                </a:lnTo>
                <a:lnTo>
                  <a:pt x="360" y="60"/>
                </a:lnTo>
                <a:lnTo>
                  <a:pt x="360" y="54"/>
                </a:lnTo>
                <a:lnTo>
                  <a:pt x="366" y="54"/>
                </a:lnTo>
                <a:lnTo>
                  <a:pt x="372" y="48"/>
                </a:lnTo>
                <a:lnTo>
                  <a:pt x="372" y="42"/>
                </a:lnTo>
                <a:lnTo>
                  <a:pt x="378" y="42"/>
                </a:lnTo>
                <a:lnTo>
                  <a:pt x="378" y="36"/>
                </a:lnTo>
                <a:lnTo>
                  <a:pt x="384" y="30"/>
                </a:lnTo>
                <a:lnTo>
                  <a:pt x="384" y="24"/>
                </a:lnTo>
                <a:lnTo>
                  <a:pt x="390" y="24"/>
                </a:lnTo>
                <a:lnTo>
                  <a:pt x="390" y="18"/>
                </a:lnTo>
                <a:lnTo>
                  <a:pt x="396" y="18"/>
                </a:lnTo>
                <a:lnTo>
                  <a:pt x="402" y="18"/>
                </a:lnTo>
                <a:lnTo>
                  <a:pt x="402" y="12"/>
                </a:lnTo>
                <a:lnTo>
                  <a:pt x="408" y="12"/>
                </a:lnTo>
                <a:lnTo>
                  <a:pt x="414" y="12"/>
                </a:lnTo>
                <a:lnTo>
                  <a:pt x="420" y="12"/>
                </a:lnTo>
                <a:lnTo>
                  <a:pt x="426" y="18"/>
                </a:lnTo>
                <a:lnTo>
                  <a:pt x="432" y="18"/>
                </a:lnTo>
                <a:lnTo>
                  <a:pt x="432" y="24"/>
                </a:lnTo>
                <a:lnTo>
                  <a:pt x="438" y="24"/>
                </a:lnTo>
                <a:lnTo>
                  <a:pt x="444" y="24"/>
                </a:lnTo>
                <a:lnTo>
                  <a:pt x="444" y="30"/>
                </a:lnTo>
                <a:lnTo>
                  <a:pt x="450" y="30"/>
                </a:lnTo>
                <a:lnTo>
                  <a:pt x="450" y="36"/>
                </a:lnTo>
                <a:lnTo>
                  <a:pt x="456" y="36"/>
                </a:lnTo>
                <a:lnTo>
                  <a:pt x="462" y="42"/>
                </a:lnTo>
                <a:lnTo>
                  <a:pt x="462" y="48"/>
                </a:lnTo>
                <a:lnTo>
                  <a:pt x="462" y="54"/>
                </a:lnTo>
                <a:lnTo>
                  <a:pt x="468" y="54"/>
                </a:lnTo>
                <a:lnTo>
                  <a:pt x="474" y="54"/>
                </a:lnTo>
                <a:lnTo>
                  <a:pt x="480" y="54"/>
                </a:lnTo>
                <a:lnTo>
                  <a:pt x="486" y="54"/>
                </a:lnTo>
                <a:lnTo>
                  <a:pt x="492" y="54"/>
                </a:lnTo>
                <a:lnTo>
                  <a:pt x="498" y="54"/>
                </a:lnTo>
                <a:lnTo>
                  <a:pt x="498" y="60"/>
                </a:lnTo>
                <a:lnTo>
                  <a:pt x="504" y="60"/>
                </a:lnTo>
                <a:lnTo>
                  <a:pt x="510" y="60"/>
                </a:lnTo>
                <a:lnTo>
                  <a:pt x="516" y="60"/>
                </a:lnTo>
                <a:lnTo>
                  <a:pt x="522" y="60"/>
                </a:lnTo>
                <a:lnTo>
                  <a:pt x="528" y="60"/>
                </a:lnTo>
                <a:lnTo>
                  <a:pt x="534" y="60"/>
                </a:lnTo>
                <a:lnTo>
                  <a:pt x="540" y="60"/>
                </a:lnTo>
                <a:lnTo>
                  <a:pt x="540" y="66"/>
                </a:lnTo>
                <a:lnTo>
                  <a:pt x="546" y="66"/>
                </a:lnTo>
                <a:lnTo>
                  <a:pt x="552" y="66"/>
                </a:lnTo>
                <a:lnTo>
                  <a:pt x="558" y="66"/>
                </a:lnTo>
                <a:lnTo>
                  <a:pt x="558" y="72"/>
                </a:lnTo>
                <a:lnTo>
                  <a:pt x="564" y="72"/>
                </a:lnTo>
                <a:lnTo>
                  <a:pt x="570" y="72"/>
                </a:lnTo>
                <a:lnTo>
                  <a:pt x="576" y="66"/>
                </a:lnTo>
                <a:lnTo>
                  <a:pt x="576" y="60"/>
                </a:lnTo>
                <a:lnTo>
                  <a:pt x="582" y="60"/>
                </a:lnTo>
                <a:lnTo>
                  <a:pt x="582" y="54"/>
                </a:lnTo>
                <a:lnTo>
                  <a:pt x="582" y="48"/>
                </a:lnTo>
                <a:lnTo>
                  <a:pt x="588" y="48"/>
                </a:lnTo>
                <a:lnTo>
                  <a:pt x="588" y="42"/>
                </a:lnTo>
                <a:lnTo>
                  <a:pt x="588" y="36"/>
                </a:lnTo>
                <a:lnTo>
                  <a:pt x="594" y="36"/>
                </a:lnTo>
                <a:lnTo>
                  <a:pt x="600" y="36"/>
                </a:lnTo>
                <a:lnTo>
                  <a:pt x="594" y="36"/>
                </a:lnTo>
                <a:lnTo>
                  <a:pt x="594" y="30"/>
                </a:lnTo>
                <a:lnTo>
                  <a:pt x="600" y="30"/>
                </a:lnTo>
                <a:lnTo>
                  <a:pt x="600" y="36"/>
                </a:lnTo>
                <a:lnTo>
                  <a:pt x="606" y="36"/>
                </a:lnTo>
                <a:lnTo>
                  <a:pt x="612" y="36"/>
                </a:lnTo>
                <a:lnTo>
                  <a:pt x="618" y="36"/>
                </a:lnTo>
                <a:lnTo>
                  <a:pt x="618" y="42"/>
                </a:lnTo>
                <a:lnTo>
                  <a:pt x="624" y="42"/>
                </a:lnTo>
                <a:lnTo>
                  <a:pt x="630" y="42"/>
                </a:lnTo>
                <a:lnTo>
                  <a:pt x="630" y="36"/>
                </a:lnTo>
                <a:lnTo>
                  <a:pt x="636" y="36"/>
                </a:lnTo>
                <a:lnTo>
                  <a:pt x="642" y="36"/>
                </a:lnTo>
                <a:lnTo>
                  <a:pt x="642" y="30"/>
                </a:lnTo>
                <a:lnTo>
                  <a:pt x="648" y="36"/>
                </a:lnTo>
                <a:lnTo>
                  <a:pt x="648" y="30"/>
                </a:lnTo>
                <a:lnTo>
                  <a:pt x="654" y="30"/>
                </a:lnTo>
                <a:lnTo>
                  <a:pt x="660" y="30"/>
                </a:lnTo>
                <a:lnTo>
                  <a:pt x="660" y="24"/>
                </a:lnTo>
                <a:lnTo>
                  <a:pt x="666" y="24"/>
                </a:lnTo>
                <a:lnTo>
                  <a:pt x="672" y="24"/>
                </a:lnTo>
                <a:lnTo>
                  <a:pt x="672" y="18"/>
                </a:lnTo>
                <a:lnTo>
                  <a:pt x="678" y="18"/>
                </a:lnTo>
                <a:lnTo>
                  <a:pt x="684" y="18"/>
                </a:lnTo>
                <a:lnTo>
                  <a:pt x="678" y="18"/>
                </a:lnTo>
                <a:lnTo>
                  <a:pt x="678" y="12"/>
                </a:lnTo>
                <a:lnTo>
                  <a:pt x="684" y="12"/>
                </a:lnTo>
                <a:lnTo>
                  <a:pt x="684" y="18"/>
                </a:lnTo>
                <a:lnTo>
                  <a:pt x="684" y="12"/>
                </a:lnTo>
                <a:lnTo>
                  <a:pt x="684" y="18"/>
                </a:lnTo>
                <a:lnTo>
                  <a:pt x="690" y="18"/>
                </a:lnTo>
                <a:lnTo>
                  <a:pt x="696" y="18"/>
                </a:lnTo>
                <a:lnTo>
                  <a:pt x="696" y="24"/>
                </a:lnTo>
                <a:lnTo>
                  <a:pt x="702" y="24"/>
                </a:lnTo>
                <a:lnTo>
                  <a:pt x="708" y="24"/>
                </a:lnTo>
                <a:lnTo>
                  <a:pt x="714" y="24"/>
                </a:lnTo>
                <a:lnTo>
                  <a:pt x="720" y="24"/>
                </a:lnTo>
                <a:lnTo>
                  <a:pt x="720" y="18"/>
                </a:lnTo>
                <a:lnTo>
                  <a:pt x="726" y="18"/>
                </a:lnTo>
                <a:lnTo>
                  <a:pt x="732" y="18"/>
                </a:lnTo>
                <a:lnTo>
                  <a:pt x="732" y="12"/>
                </a:lnTo>
                <a:lnTo>
                  <a:pt x="732" y="6"/>
                </a:lnTo>
                <a:lnTo>
                  <a:pt x="738" y="6"/>
                </a:lnTo>
                <a:lnTo>
                  <a:pt x="732" y="6"/>
                </a:lnTo>
                <a:lnTo>
                  <a:pt x="732" y="0"/>
                </a:lnTo>
                <a:lnTo>
                  <a:pt x="738" y="0"/>
                </a:lnTo>
                <a:lnTo>
                  <a:pt x="744" y="0"/>
                </a:lnTo>
                <a:lnTo>
                  <a:pt x="750" y="0"/>
                </a:lnTo>
                <a:lnTo>
                  <a:pt x="750" y="6"/>
                </a:lnTo>
                <a:lnTo>
                  <a:pt x="750" y="0"/>
                </a:lnTo>
                <a:lnTo>
                  <a:pt x="750" y="6"/>
                </a:lnTo>
                <a:lnTo>
                  <a:pt x="756" y="6"/>
                </a:lnTo>
                <a:lnTo>
                  <a:pt x="762" y="6"/>
                </a:lnTo>
                <a:lnTo>
                  <a:pt x="762" y="12"/>
                </a:lnTo>
                <a:lnTo>
                  <a:pt x="762" y="6"/>
                </a:lnTo>
                <a:lnTo>
                  <a:pt x="762" y="12"/>
                </a:lnTo>
                <a:lnTo>
                  <a:pt x="768" y="12"/>
                </a:lnTo>
                <a:lnTo>
                  <a:pt x="762" y="12"/>
                </a:lnTo>
                <a:lnTo>
                  <a:pt x="768" y="12"/>
                </a:lnTo>
                <a:lnTo>
                  <a:pt x="768" y="6"/>
                </a:lnTo>
                <a:lnTo>
                  <a:pt x="768" y="12"/>
                </a:lnTo>
                <a:lnTo>
                  <a:pt x="774" y="12"/>
                </a:lnTo>
                <a:lnTo>
                  <a:pt x="774" y="6"/>
                </a:lnTo>
                <a:lnTo>
                  <a:pt x="774" y="12"/>
                </a:lnTo>
                <a:lnTo>
                  <a:pt x="774" y="6"/>
                </a:lnTo>
                <a:lnTo>
                  <a:pt x="774" y="12"/>
                </a:lnTo>
                <a:lnTo>
                  <a:pt x="774" y="6"/>
                </a:lnTo>
                <a:lnTo>
                  <a:pt x="780" y="6"/>
                </a:lnTo>
                <a:lnTo>
                  <a:pt x="780" y="12"/>
                </a:lnTo>
                <a:lnTo>
                  <a:pt x="786" y="12"/>
                </a:lnTo>
                <a:lnTo>
                  <a:pt x="780" y="12"/>
                </a:lnTo>
                <a:lnTo>
                  <a:pt x="786" y="12"/>
                </a:lnTo>
                <a:lnTo>
                  <a:pt x="792" y="12"/>
                </a:lnTo>
                <a:lnTo>
                  <a:pt x="792" y="18"/>
                </a:lnTo>
                <a:lnTo>
                  <a:pt x="798" y="18"/>
                </a:lnTo>
                <a:lnTo>
                  <a:pt x="792" y="18"/>
                </a:lnTo>
                <a:lnTo>
                  <a:pt x="798" y="18"/>
                </a:lnTo>
                <a:lnTo>
                  <a:pt x="804" y="18"/>
                </a:lnTo>
                <a:lnTo>
                  <a:pt x="810" y="18"/>
                </a:lnTo>
                <a:lnTo>
                  <a:pt x="810" y="12"/>
                </a:lnTo>
                <a:lnTo>
                  <a:pt x="810" y="18"/>
                </a:lnTo>
                <a:lnTo>
                  <a:pt x="816" y="18"/>
                </a:lnTo>
                <a:lnTo>
                  <a:pt x="822" y="18"/>
                </a:lnTo>
                <a:lnTo>
                  <a:pt x="822" y="12"/>
                </a:lnTo>
                <a:lnTo>
                  <a:pt x="828" y="12"/>
                </a:lnTo>
                <a:lnTo>
                  <a:pt x="834" y="12"/>
                </a:lnTo>
                <a:lnTo>
                  <a:pt x="840" y="12"/>
                </a:lnTo>
                <a:lnTo>
                  <a:pt x="846" y="12"/>
                </a:lnTo>
                <a:lnTo>
                  <a:pt x="846" y="18"/>
                </a:lnTo>
                <a:lnTo>
                  <a:pt x="852" y="18"/>
                </a:lnTo>
                <a:lnTo>
                  <a:pt x="852" y="24"/>
                </a:lnTo>
                <a:lnTo>
                  <a:pt x="858" y="24"/>
                </a:lnTo>
                <a:lnTo>
                  <a:pt x="858" y="30"/>
                </a:lnTo>
                <a:lnTo>
                  <a:pt x="858" y="24"/>
                </a:lnTo>
                <a:lnTo>
                  <a:pt x="864" y="24"/>
                </a:lnTo>
                <a:lnTo>
                  <a:pt x="864" y="30"/>
                </a:lnTo>
                <a:lnTo>
                  <a:pt x="870" y="30"/>
                </a:lnTo>
                <a:lnTo>
                  <a:pt x="870" y="36"/>
                </a:lnTo>
                <a:lnTo>
                  <a:pt x="870" y="42"/>
                </a:lnTo>
                <a:lnTo>
                  <a:pt x="876" y="48"/>
                </a:lnTo>
                <a:lnTo>
                  <a:pt x="876" y="42"/>
                </a:lnTo>
                <a:lnTo>
                  <a:pt x="876" y="48"/>
                </a:lnTo>
                <a:lnTo>
                  <a:pt x="882" y="48"/>
                </a:lnTo>
                <a:lnTo>
                  <a:pt x="882" y="54"/>
                </a:lnTo>
                <a:lnTo>
                  <a:pt x="888" y="54"/>
                </a:lnTo>
                <a:lnTo>
                  <a:pt x="894" y="54"/>
                </a:lnTo>
                <a:lnTo>
                  <a:pt x="894" y="60"/>
                </a:lnTo>
                <a:lnTo>
                  <a:pt x="894" y="54"/>
                </a:lnTo>
                <a:lnTo>
                  <a:pt x="894" y="60"/>
                </a:lnTo>
                <a:lnTo>
                  <a:pt x="900" y="60"/>
                </a:lnTo>
                <a:lnTo>
                  <a:pt x="900" y="54"/>
                </a:lnTo>
                <a:lnTo>
                  <a:pt x="900" y="60"/>
                </a:lnTo>
                <a:lnTo>
                  <a:pt x="906" y="60"/>
                </a:lnTo>
                <a:lnTo>
                  <a:pt x="912" y="54"/>
                </a:lnTo>
                <a:lnTo>
                  <a:pt x="918" y="54"/>
                </a:lnTo>
                <a:lnTo>
                  <a:pt x="918" y="48"/>
                </a:lnTo>
                <a:lnTo>
                  <a:pt x="924" y="48"/>
                </a:lnTo>
                <a:lnTo>
                  <a:pt x="918" y="48"/>
                </a:lnTo>
                <a:lnTo>
                  <a:pt x="924" y="48"/>
                </a:lnTo>
                <a:lnTo>
                  <a:pt x="930" y="48"/>
                </a:lnTo>
                <a:lnTo>
                  <a:pt x="936" y="48"/>
                </a:lnTo>
                <a:lnTo>
                  <a:pt x="942" y="54"/>
                </a:lnTo>
                <a:lnTo>
                  <a:pt x="948" y="54"/>
                </a:lnTo>
                <a:lnTo>
                  <a:pt x="948" y="60"/>
                </a:lnTo>
                <a:lnTo>
                  <a:pt x="948" y="54"/>
                </a:lnTo>
                <a:lnTo>
                  <a:pt x="954" y="54"/>
                </a:lnTo>
                <a:lnTo>
                  <a:pt x="954" y="48"/>
                </a:lnTo>
                <a:lnTo>
                  <a:pt x="960" y="48"/>
                </a:lnTo>
                <a:lnTo>
                  <a:pt x="960" y="42"/>
                </a:lnTo>
                <a:lnTo>
                  <a:pt x="966" y="42"/>
                </a:lnTo>
                <a:lnTo>
                  <a:pt x="960" y="42"/>
                </a:lnTo>
                <a:lnTo>
                  <a:pt x="966" y="42"/>
                </a:lnTo>
                <a:lnTo>
                  <a:pt x="966" y="36"/>
                </a:lnTo>
                <a:lnTo>
                  <a:pt x="966" y="42"/>
                </a:lnTo>
                <a:lnTo>
                  <a:pt x="972" y="42"/>
                </a:lnTo>
                <a:lnTo>
                  <a:pt x="978" y="42"/>
                </a:lnTo>
                <a:lnTo>
                  <a:pt x="978" y="48"/>
                </a:lnTo>
                <a:lnTo>
                  <a:pt x="984" y="48"/>
                </a:lnTo>
                <a:lnTo>
                  <a:pt x="978" y="48"/>
                </a:lnTo>
                <a:lnTo>
                  <a:pt x="984" y="48"/>
                </a:lnTo>
                <a:lnTo>
                  <a:pt x="984" y="54"/>
                </a:lnTo>
                <a:lnTo>
                  <a:pt x="984" y="60"/>
                </a:lnTo>
                <a:lnTo>
                  <a:pt x="990" y="60"/>
                </a:lnTo>
                <a:lnTo>
                  <a:pt x="990" y="66"/>
                </a:lnTo>
                <a:lnTo>
                  <a:pt x="996" y="66"/>
                </a:lnTo>
                <a:lnTo>
                  <a:pt x="996" y="72"/>
                </a:lnTo>
                <a:lnTo>
                  <a:pt x="1002" y="72"/>
                </a:lnTo>
                <a:lnTo>
                  <a:pt x="1002" y="78"/>
                </a:lnTo>
                <a:lnTo>
                  <a:pt x="1008" y="78"/>
                </a:lnTo>
                <a:lnTo>
                  <a:pt x="1014" y="78"/>
                </a:lnTo>
                <a:lnTo>
                  <a:pt x="1014" y="84"/>
                </a:lnTo>
                <a:lnTo>
                  <a:pt x="1020" y="84"/>
                </a:lnTo>
                <a:lnTo>
                  <a:pt x="1026" y="84"/>
                </a:lnTo>
                <a:lnTo>
                  <a:pt x="1026" y="90"/>
                </a:lnTo>
                <a:lnTo>
                  <a:pt x="1026" y="96"/>
                </a:lnTo>
                <a:lnTo>
                  <a:pt x="1026" y="102"/>
                </a:lnTo>
                <a:lnTo>
                  <a:pt x="1026" y="96"/>
                </a:lnTo>
                <a:lnTo>
                  <a:pt x="1032" y="96"/>
                </a:lnTo>
                <a:lnTo>
                  <a:pt x="1038" y="96"/>
                </a:lnTo>
                <a:lnTo>
                  <a:pt x="1038" y="102"/>
                </a:lnTo>
                <a:lnTo>
                  <a:pt x="1038" y="108"/>
                </a:lnTo>
                <a:lnTo>
                  <a:pt x="1044" y="108"/>
                </a:lnTo>
                <a:lnTo>
                  <a:pt x="1044" y="102"/>
                </a:lnTo>
                <a:lnTo>
                  <a:pt x="1044" y="108"/>
                </a:lnTo>
                <a:lnTo>
                  <a:pt x="1044" y="114"/>
                </a:lnTo>
                <a:lnTo>
                  <a:pt x="1038" y="114"/>
                </a:lnTo>
                <a:lnTo>
                  <a:pt x="1038" y="120"/>
                </a:lnTo>
                <a:lnTo>
                  <a:pt x="1038" y="126"/>
                </a:lnTo>
                <a:lnTo>
                  <a:pt x="1038" y="132"/>
                </a:lnTo>
                <a:lnTo>
                  <a:pt x="1032" y="132"/>
                </a:lnTo>
                <a:lnTo>
                  <a:pt x="1038" y="132"/>
                </a:lnTo>
                <a:lnTo>
                  <a:pt x="1038" y="138"/>
                </a:lnTo>
                <a:lnTo>
                  <a:pt x="1044" y="138"/>
                </a:lnTo>
                <a:lnTo>
                  <a:pt x="1044" y="144"/>
                </a:lnTo>
                <a:lnTo>
                  <a:pt x="1038" y="144"/>
                </a:lnTo>
                <a:lnTo>
                  <a:pt x="1038" y="150"/>
                </a:lnTo>
                <a:lnTo>
                  <a:pt x="1038" y="156"/>
                </a:lnTo>
                <a:lnTo>
                  <a:pt x="1032" y="156"/>
                </a:lnTo>
                <a:lnTo>
                  <a:pt x="1032" y="162"/>
                </a:lnTo>
                <a:lnTo>
                  <a:pt x="1038" y="162"/>
                </a:lnTo>
                <a:lnTo>
                  <a:pt x="1038" y="168"/>
                </a:lnTo>
                <a:lnTo>
                  <a:pt x="1044" y="168"/>
                </a:lnTo>
                <a:lnTo>
                  <a:pt x="1050" y="168"/>
                </a:lnTo>
                <a:lnTo>
                  <a:pt x="1050" y="174"/>
                </a:lnTo>
                <a:lnTo>
                  <a:pt x="1056" y="174"/>
                </a:lnTo>
                <a:lnTo>
                  <a:pt x="1062" y="174"/>
                </a:lnTo>
                <a:lnTo>
                  <a:pt x="1062" y="180"/>
                </a:lnTo>
                <a:lnTo>
                  <a:pt x="1068" y="180"/>
                </a:lnTo>
                <a:lnTo>
                  <a:pt x="1062" y="186"/>
                </a:lnTo>
                <a:lnTo>
                  <a:pt x="1056" y="192"/>
                </a:lnTo>
                <a:lnTo>
                  <a:pt x="1050" y="198"/>
                </a:lnTo>
                <a:lnTo>
                  <a:pt x="1050" y="204"/>
                </a:lnTo>
                <a:lnTo>
                  <a:pt x="1044" y="204"/>
                </a:lnTo>
                <a:lnTo>
                  <a:pt x="1044" y="210"/>
                </a:lnTo>
                <a:lnTo>
                  <a:pt x="1038" y="210"/>
                </a:lnTo>
                <a:lnTo>
                  <a:pt x="1032" y="216"/>
                </a:lnTo>
                <a:lnTo>
                  <a:pt x="1032" y="222"/>
                </a:lnTo>
                <a:lnTo>
                  <a:pt x="1026" y="222"/>
                </a:lnTo>
                <a:lnTo>
                  <a:pt x="1020" y="228"/>
                </a:lnTo>
                <a:lnTo>
                  <a:pt x="1020" y="234"/>
                </a:lnTo>
                <a:lnTo>
                  <a:pt x="1014" y="234"/>
                </a:lnTo>
                <a:lnTo>
                  <a:pt x="1008" y="234"/>
                </a:lnTo>
                <a:lnTo>
                  <a:pt x="1008" y="240"/>
                </a:lnTo>
                <a:lnTo>
                  <a:pt x="1002" y="246"/>
                </a:lnTo>
                <a:lnTo>
                  <a:pt x="1008" y="246"/>
                </a:lnTo>
                <a:lnTo>
                  <a:pt x="1002" y="246"/>
                </a:lnTo>
                <a:lnTo>
                  <a:pt x="1002" y="252"/>
                </a:lnTo>
                <a:lnTo>
                  <a:pt x="996" y="252"/>
                </a:lnTo>
                <a:lnTo>
                  <a:pt x="990" y="252"/>
                </a:lnTo>
                <a:lnTo>
                  <a:pt x="990" y="258"/>
                </a:lnTo>
                <a:lnTo>
                  <a:pt x="990" y="264"/>
                </a:lnTo>
                <a:lnTo>
                  <a:pt x="990" y="270"/>
                </a:lnTo>
                <a:lnTo>
                  <a:pt x="990" y="276"/>
                </a:lnTo>
                <a:lnTo>
                  <a:pt x="984" y="276"/>
                </a:lnTo>
                <a:lnTo>
                  <a:pt x="984" y="282"/>
                </a:lnTo>
                <a:lnTo>
                  <a:pt x="984" y="288"/>
                </a:lnTo>
                <a:lnTo>
                  <a:pt x="978" y="288"/>
                </a:lnTo>
                <a:lnTo>
                  <a:pt x="978" y="294"/>
                </a:lnTo>
                <a:lnTo>
                  <a:pt x="978" y="300"/>
                </a:lnTo>
                <a:lnTo>
                  <a:pt x="978" y="306"/>
                </a:lnTo>
                <a:lnTo>
                  <a:pt x="978" y="312"/>
                </a:lnTo>
                <a:lnTo>
                  <a:pt x="972" y="318"/>
                </a:lnTo>
                <a:lnTo>
                  <a:pt x="972" y="324"/>
                </a:lnTo>
                <a:lnTo>
                  <a:pt x="972" y="330"/>
                </a:lnTo>
                <a:lnTo>
                  <a:pt x="972" y="336"/>
                </a:lnTo>
                <a:lnTo>
                  <a:pt x="972" y="342"/>
                </a:lnTo>
                <a:lnTo>
                  <a:pt x="972" y="348"/>
                </a:lnTo>
                <a:lnTo>
                  <a:pt x="972" y="354"/>
                </a:lnTo>
                <a:lnTo>
                  <a:pt x="972" y="360"/>
                </a:lnTo>
                <a:lnTo>
                  <a:pt x="966" y="360"/>
                </a:lnTo>
                <a:lnTo>
                  <a:pt x="972" y="366"/>
                </a:lnTo>
                <a:lnTo>
                  <a:pt x="966" y="366"/>
                </a:lnTo>
                <a:lnTo>
                  <a:pt x="972" y="366"/>
                </a:lnTo>
                <a:lnTo>
                  <a:pt x="972" y="372"/>
                </a:lnTo>
                <a:lnTo>
                  <a:pt x="972" y="378"/>
                </a:lnTo>
                <a:lnTo>
                  <a:pt x="966" y="378"/>
                </a:lnTo>
                <a:lnTo>
                  <a:pt x="966" y="384"/>
                </a:lnTo>
                <a:lnTo>
                  <a:pt x="960" y="384"/>
                </a:lnTo>
                <a:lnTo>
                  <a:pt x="954" y="384"/>
                </a:lnTo>
                <a:lnTo>
                  <a:pt x="954" y="390"/>
                </a:lnTo>
                <a:lnTo>
                  <a:pt x="948" y="390"/>
                </a:lnTo>
                <a:lnTo>
                  <a:pt x="948" y="396"/>
                </a:lnTo>
                <a:lnTo>
                  <a:pt x="948" y="402"/>
                </a:lnTo>
                <a:lnTo>
                  <a:pt x="942" y="402"/>
                </a:lnTo>
                <a:lnTo>
                  <a:pt x="942" y="408"/>
                </a:lnTo>
                <a:lnTo>
                  <a:pt x="948" y="414"/>
                </a:lnTo>
                <a:lnTo>
                  <a:pt x="948" y="420"/>
                </a:lnTo>
                <a:lnTo>
                  <a:pt x="942" y="426"/>
                </a:lnTo>
                <a:lnTo>
                  <a:pt x="936" y="426"/>
                </a:lnTo>
                <a:lnTo>
                  <a:pt x="936" y="432"/>
                </a:lnTo>
                <a:lnTo>
                  <a:pt x="930" y="432"/>
                </a:lnTo>
                <a:lnTo>
                  <a:pt x="930" y="438"/>
                </a:lnTo>
                <a:lnTo>
                  <a:pt x="930" y="444"/>
                </a:lnTo>
                <a:lnTo>
                  <a:pt x="930" y="450"/>
                </a:lnTo>
                <a:lnTo>
                  <a:pt x="936" y="450"/>
                </a:lnTo>
                <a:lnTo>
                  <a:pt x="936" y="456"/>
                </a:lnTo>
                <a:lnTo>
                  <a:pt x="942" y="456"/>
                </a:lnTo>
                <a:lnTo>
                  <a:pt x="942" y="462"/>
                </a:lnTo>
                <a:lnTo>
                  <a:pt x="948" y="462"/>
                </a:lnTo>
                <a:lnTo>
                  <a:pt x="948" y="468"/>
                </a:lnTo>
                <a:lnTo>
                  <a:pt x="948" y="474"/>
                </a:lnTo>
                <a:lnTo>
                  <a:pt x="948" y="480"/>
                </a:lnTo>
                <a:lnTo>
                  <a:pt x="948" y="486"/>
                </a:lnTo>
                <a:lnTo>
                  <a:pt x="948" y="492"/>
                </a:lnTo>
                <a:lnTo>
                  <a:pt x="948" y="498"/>
                </a:lnTo>
                <a:lnTo>
                  <a:pt x="948" y="504"/>
                </a:lnTo>
                <a:lnTo>
                  <a:pt x="948" y="510"/>
                </a:lnTo>
                <a:lnTo>
                  <a:pt x="948" y="516"/>
                </a:lnTo>
                <a:lnTo>
                  <a:pt x="954" y="516"/>
                </a:lnTo>
                <a:lnTo>
                  <a:pt x="954" y="522"/>
                </a:lnTo>
                <a:lnTo>
                  <a:pt x="954" y="528"/>
                </a:lnTo>
                <a:lnTo>
                  <a:pt x="960" y="528"/>
                </a:lnTo>
                <a:lnTo>
                  <a:pt x="960" y="534"/>
                </a:lnTo>
                <a:lnTo>
                  <a:pt x="960" y="540"/>
                </a:lnTo>
                <a:lnTo>
                  <a:pt x="960" y="546"/>
                </a:lnTo>
                <a:lnTo>
                  <a:pt x="960" y="552"/>
                </a:lnTo>
                <a:lnTo>
                  <a:pt x="954" y="558"/>
                </a:lnTo>
                <a:lnTo>
                  <a:pt x="954" y="564"/>
                </a:lnTo>
                <a:lnTo>
                  <a:pt x="954" y="570"/>
                </a:lnTo>
                <a:lnTo>
                  <a:pt x="954" y="576"/>
                </a:lnTo>
                <a:lnTo>
                  <a:pt x="960" y="576"/>
                </a:lnTo>
                <a:lnTo>
                  <a:pt x="960" y="582"/>
                </a:lnTo>
                <a:lnTo>
                  <a:pt x="960" y="588"/>
                </a:lnTo>
                <a:lnTo>
                  <a:pt x="960" y="594"/>
                </a:lnTo>
                <a:lnTo>
                  <a:pt x="966" y="594"/>
                </a:lnTo>
                <a:lnTo>
                  <a:pt x="966" y="600"/>
                </a:lnTo>
                <a:lnTo>
                  <a:pt x="966" y="606"/>
                </a:lnTo>
                <a:lnTo>
                  <a:pt x="966" y="612"/>
                </a:lnTo>
                <a:lnTo>
                  <a:pt x="972" y="612"/>
                </a:lnTo>
                <a:lnTo>
                  <a:pt x="972" y="618"/>
                </a:lnTo>
                <a:lnTo>
                  <a:pt x="972" y="624"/>
                </a:lnTo>
                <a:lnTo>
                  <a:pt x="972" y="630"/>
                </a:lnTo>
                <a:lnTo>
                  <a:pt x="966" y="630"/>
                </a:lnTo>
                <a:lnTo>
                  <a:pt x="966" y="636"/>
                </a:lnTo>
                <a:lnTo>
                  <a:pt x="966" y="642"/>
                </a:lnTo>
                <a:lnTo>
                  <a:pt x="972" y="642"/>
                </a:lnTo>
                <a:lnTo>
                  <a:pt x="972" y="648"/>
                </a:lnTo>
                <a:lnTo>
                  <a:pt x="972" y="654"/>
                </a:lnTo>
                <a:lnTo>
                  <a:pt x="972" y="660"/>
                </a:lnTo>
                <a:lnTo>
                  <a:pt x="978" y="660"/>
                </a:lnTo>
                <a:lnTo>
                  <a:pt x="978" y="666"/>
                </a:lnTo>
                <a:lnTo>
                  <a:pt x="984" y="672"/>
                </a:lnTo>
                <a:lnTo>
                  <a:pt x="990" y="672"/>
                </a:lnTo>
                <a:lnTo>
                  <a:pt x="990" y="678"/>
                </a:lnTo>
                <a:lnTo>
                  <a:pt x="996" y="678"/>
                </a:lnTo>
                <a:lnTo>
                  <a:pt x="996" y="684"/>
                </a:lnTo>
                <a:lnTo>
                  <a:pt x="1002" y="684"/>
                </a:lnTo>
                <a:lnTo>
                  <a:pt x="1002" y="690"/>
                </a:lnTo>
                <a:lnTo>
                  <a:pt x="1008" y="690"/>
                </a:lnTo>
                <a:lnTo>
                  <a:pt x="1008" y="696"/>
                </a:lnTo>
                <a:lnTo>
                  <a:pt x="1014" y="702"/>
                </a:lnTo>
                <a:lnTo>
                  <a:pt x="1014" y="708"/>
                </a:lnTo>
                <a:lnTo>
                  <a:pt x="1014" y="714"/>
                </a:lnTo>
                <a:lnTo>
                  <a:pt x="1020" y="714"/>
                </a:lnTo>
                <a:lnTo>
                  <a:pt x="1020" y="720"/>
                </a:lnTo>
                <a:lnTo>
                  <a:pt x="1020" y="726"/>
                </a:lnTo>
                <a:lnTo>
                  <a:pt x="1026" y="732"/>
                </a:lnTo>
                <a:lnTo>
                  <a:pt x="1026" y="738"/>
                </a:lnTo>
                <a:lnTo>
                  <a:pt x="1026" y="744"/>
                </a:lnTo>
                <a:lnTo>
                  <a:pt x="1032" y="744"/>
                </a:lnTo>
                <a:lnTo>
                  <a:pt x="1032" y="750"/>
                </a:lnTo>
                <a:lnTo>
                  <a:pt x="1032" y="756"/>
                </a:lnTo>
                <a:lnTo>
                  <a:pt x="1038" y="756"/>
                </a:lnTo>
                <a:close/>
                <a:moveTo>
                  <a:pt x="12" y="636"/>
                </a:moveTo>
                <a:lnTo>
                  <a:pt x="18" y="636"/>
                </a:lnTo>
                <a:lnTo>
                  <a:pt x="12" y="636"/>
                </a:lnTo>
                <a:close/>
                <a:moveTo>
                  <a:pt x="36" y="630"/>
                </a:moveTo>
                <a:lnTo>
                  <a:pt x="42" y="630"/>
                </a:lnTo>
                <a:lnTo>
                  <a:pt x="36" y="630"/>
                </a:lnTo>
                <a:close/>
                <a:moveTo>
                  <a:pt x="12" y="636"/>
                </a:moveTo>
                <a:lnTo>
                  <a:pt x="18" y="636"/>
                </a:lnTo>
                <a:lnTo>
                  <a:pt x="12" y="636"/>
                </a:lnTo>
                <a:close/>
                <a:moveTo>
                  <a:pt x="36" y="630"/>
                </a:moveTo>
                <a:lnTo>
                  <a:pt x="42" y="630"/>
                </a:lnTo>
                <a:lnTo>
                  <a:pt x="36" y="630"/>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5" name="Freeform 49">
            <a:extLst>
              <a:ext uri="{FF2B5EF4-FFF2-40B4-BE49-F238E27FC236}">
                <a16:creationId xmlns:a16="http://schemas.microsoft.com/office/drawing/2014/main" id="{0E05C9E7-041F-0947-8AF4-33DB52CC694C}"/>
              </a:ext>
            </a:extLst>
          </p:cNvPr>
          <p:cNvSpPr>
            <a:spLocks/>
          </p:cNvSpPr>
          <p:nvPr>
            <p:custDataLst>
              <p:tags r:id="rId43"/>
            </p:custDataLst>
          </p:nvPr>
        </p:nvSpPr>
        <p:spPr bwMode="gray">
          <a:xfrm>
            <a:off x="4265856" y="4365589"/>
            <a:ext cx="477088" cy="420766"/>
          </a:xfrm>
          <a:custGeom>
            <a:avLst/>
            <a:gdLst>
              <a:gd name="T0" fmla="*/ 30126 w 414"/>
              <a:gd name="T1" fmla="*/ 163809 h 486"/>
              <a:gd name="T2" fmla="*/ 19436 w 414"/>
              <a:gd name="T3" fmla="*/ 167709 h 486"/>
              <a:gd name="T4" fmla="*/ 14577 w 414"/>
              <a:gd name="T5" fmla="*/ 172584 h 486"/>
              <a:gd name="T6" fmla="*/ 8746 w 414"/>
              <a:gd name="T7" fmla="*/ 161858 h 486"/>
              <a:gd name="T8" fmla="*/ 0 w 414"/>
              <a:gd name="T9" fmla="*/ 153083 h 486"/>
              <a:gd name="T10" fmla="*/ 8746 w 414"/>
              <a:gd name="T11" fmla="*/ 144308 h 486"/>
              <a:gd name="T12" fmla="*/ 14577 w 414"/>
              <a:gd name="T13" fmla="*/ 142358 h 486"/>
              <a:gd name="T14" fmla="*/ 14577 w 414"/>
              <a:gd name="T15" fmla="*/ 131632 h 486"/>
              <a:gd name="T16" fmla="*/ 8746 w 414"/>
              <a:gd name="T17" fmla="*/ 124807 h 486"/>
              <a:gd name="T18" fmla="*/ 14577 w 414"/>
              <a:gd name="T19" fmla="*/ 120906 h 486"/>
              <a:gd name="T20" fmla="*/ 26239 w 414"/>
              <a:gd name="T21" fmla="*/ 117006 h 486"/>
              <a:gd name="T22" fmla="*/ 32069 w 414"/>
              <a:gd name="T23" fmla="*/ 112131 h 486"/>
              <a:gd name="T24" fmla="*/ 40815 w 414"/>
              <a:gd name="T25" fmla="*/ 120906 h 486"/>
              <a:gd name="T26" fmla="*/ 53448 w 414"/>
              <a:gd name="T27" fmla="*/ 117006 h 486"/>
              <a:gd name="T28" fmla="*/ 60251 w 414"/>
              <a:gd name="T29" fmla="*/ 117981 h 486"/>
              <a:gd name="T30" fmla="*/ 64138 w 414"/>
              <a:gd name="T31" fmla="*/ 105306 h 486"/>
              <a:gd name="T32" fmla="*/ 64138 w 414"/>
              <a:gd name="T33" fmla="*/ 97505 h 486"/>
              <a:gd name="T34" fmla="*/ 62195 w 414"/>
              <a:gd name="T35" fmla="*/ 81904 h 486"/>
              <a:gd name="T36" fmla="*/ 53448 w 414"/>
              <a:gd name="T37" fmla="*/ 73129 h 486"/>
              <a:gd name="T38" fmla="*/ 57335 w 414"/>
              <a:gd name="T39" fmla="*/ 64354 h 486"/>
              <a:gd name="T40" fmla="*/ 64138 w 414"/>
              <a:gd name="T41" fmla="*/ 57528 h 486"/>
              <a:gd name="T42" fmla="*/ 62195 w 414"/>
              <a:gd name="T43" fmla="*/ 47778 h 486"/>
              <a:gd name="T44" fmla="*/ 49561 w 414"/>
              <a:gd name="T45" fmla="*/ 47778 h 486"/>
              <a:gd name="T46" fmla="*/ 37899 w 414"/>
              <a:gd name="T47" fmla="*/ 47778 h 486"/>
              <a:gd name="T48" fmla="*/ 37899 w 414"/>
              <a:gd name="T49" fmla="*/ 42902 h 486"/>
              <a:gd name="T50" fmla="*/ 40815 w 414"/>
              <a:gd name="T51" fmla="*/ 37052 h 486"/>
              <a:gd name="T52" fmla="*/ 47618 w 414"/>
              <a:gd name="T53" fmla="*/ 30227 h 486"/>
              <a:gd name="T54" fmla="*/ 64138 w 414"/>
              <a:gd name="T55" fmla="*/ 30227 h 486"/>
              <a:gd name="T56" fmla="*/ 72884 w 414"/>
              <a:gd name="T57" fmla="*/ 32176 h 486"/>
              <a:gd name="T58" fmla="*/ 76772 w 414"/>
              <a:gd name="T59" fmla="*/ 32176 h 486"/>
              <a:gd name="T60" fmla="*/ 87461 w 414"/>
              <a:gd name="T61" fmla="*/ 34127 h 486"/>
              <a:gd name="T62" fmla="*/ 96207 w 414"/>
              <a:gd name="T63" fmla="*/ 39002 h 486"/>
              <a:gd name="T64" fmla="*/ 98151 w 414"/>
              <a:gd name="T65" fmla="*/ 28276 h 486"/>
              <a:gd name="T66" fmla="*/ 104953 w 414"/>
              <a:gd name="T67" fmla="*/ 17551 h 486"/>
              <a:gd name="T68" fmla="*/ 106897 w 414"/>
              <a:gd name="T69" fmla="*/ 3900 h 486"/>
              <a:gd name="T70" fmla="*/ 120501 w 414"/>
              <a:gd name="T71" fmla="*/ 0 h 486"/>
              <a:gd name="T72" fmla="*/ 133135 w 414"/>
              <a:gd name="T73" fmla="*/ 0 h 486"/>
              <a:gd name="T74" fmla="*/ 141881 w 414"/>
              <a:gd name="T75" fmla="*/ 0 h 486"/>
              <a:gd name="T76" fmla="*/ 147712 w 414"/>
              <a:gd name="T77" fmla="*/ 3900 h 486"/>
              <a:gd name="T78" fmla="*/ 143825 w 414"/>
              <a:gd name="T79" fmla="*/ 17551 h 486"/>
              <a:gd name="T80" fmla="*/ 137022 w 414"/>
              <a:gd name="T81" fmla="*/ 30227 h 486"/>
              <a:gd name="T82" fmla="*/ 135078 w 414"/>
              <a:gd name="T83" fmla="*/ 44852 h 486"/>
              <a:gd name="T84" fmla="*/ 133135 w 414"/>
              <a:gd name="T85" fmla="*/ 60454 h 486"/>
              <a:gd name="T86" fmla="*/ 131191 w 414"/>
              <a:gd name="T87" fmla="*/ 71179 h 486"/>
              <a:gd name="T88" fmla="*/ 128276 w 414"/>
              <a:gd name="T89" fmla="*/ 86779 h 486"/>
              <a:gd name="T90" fmla="*/ 115643 w 414"/>
              <a:gd name="T91" fmla="*/ 94580 h 486"/>
              <a:gd name="T92" fmla="*/ 106897 w 414"/>
              <a:gd name="T93" fmla="*/ 107255 h 486"/>
              <a:gd name="T94" fmla="*/ 98151 w 414"/>
              <a:gd name="T95" fmla="*/ 117006 h 486"/>
              <a:gd name="T96" fmla="*/ 98151 w 414"/>
              <a:gd name="T97" fmla="*/ 129682 h 486"/>
              <a:gd name="T98" fmla="*/ 98151 w 414"/>
              <a:gd name="T99" fmla="*/ 142358 h 486"/>
              <a:gd name="T100" fmla="*/ 92320 w 414"/>
              <a:gd name="T101" fmla="*/ 153083 h 486"/>
              <a:gd name="T102" fmla="*/ 81630 w 414"/>
              <a:gd name="T103" fmla="*/ 159909 h 486"/>
              <a:gd name="T104" fmla="*/ 70940 w 414"/>
              <a:gd name="T105" fmla="*/ 170634 h 486"/>
              <a:gd name="T106" fmla="*/ 64138 w 414"/>
              <a:gd name="T107" fmla="*/ 165759 h 486"/>
              <a:gd name="T108" fmla="*/ 60251 w 414"/>
              <a:gd name="T109" fmla="*/ 161858 h 486"/>
              <a:gd name="T110" fmla="*/ 49561 w 414"/>
              <a:gd name="T111" fmla="*/ 163809 h 486"/>
              <a:gd name="T112" fmla="*/ 44703 w 414"/>
              <a:gd name="T113" fmla="*/ 172584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4" h="486">
                <a:moveTo>
                  <a:pt x="108" y="462"/>
                </a:moveTo>
                <a:lnTo>
                  <a:pt x="102" y="462"/>
                </a:lnTo>
                <a:lnTo>
                  <a:pt x="102" y="456"/>
                </a:lnTo>
                <a:lnTo>
                  <a:pt x="96" y="456"/>
                </a:lnTo>
                <a:lnTo>
                  <a:pt x="96" y="450"/>
                </a:lnTo>
                <a:lnTo>
                  <a:pt x="90" y="450"/>
                </a:lnTo>
                <a:lnTo>
                  <a:pt x="84" y="450"/>
                </a:lnTo>
                <a:lnTo>
                  <a:pt x="84" y="456"/>
                </a:lnTo>
                <a:lnTo>
                  <a:pt x="78" y="456"/>
                </a:lnTo>
                <a:lnTo>
                  <a:pt x="72" y="462"/>
                </a:lnTo>
                <a:lnTo>
                  <a:pt x="66" y="462"/>
                </a:lnTo>
                <a:lnTo>
                  <a:pt x="66" y="468"/>
                </a:lnTo>
                <a:lnTo>
                  <a:pt x="60" y="468"/>
                </a:lnTo>
                <a:lnTo>
                  <a:pt x="60" y="474"/>
                </a:lnTo>
                <a:lnTo>
                  <a:pt x="60" y="468"/>
                </a:lnTo>
                <a:lnTo>
                  <a:pt x="54" y="468"/>
                </a:lnTo>
                <a:lnTo>
                  <a:pt x="54" y="474"/>
                </a:lnTo>
                <a:lnTo>
                  <a:pt x="54" y="480"/>
                </a:lnTo>
                <a:lnTo>
                  <a:pt x="48" y="480"/>
                </a:lnTo>
                <a:lnTo>
                  <a:pt x="48" y="486"/>
                </a:lnTo>
                <a:lnTo>
                  <a:pt x="42" y="486"/>
                </a:lnTo>
                <a:lnTo>
                  <a:pt x="42" y="480"/>
                </a:lnTo>
                <a:lnTo>
                  <a:pt x="42" y="474"/>
                </a:lnTo>
                <a:lnTo>
                  <a:pt x="42" y="480"/>
                </a:lnTo>
                <a:lnTo>
                  <a:pt x="36" y="474"/>
                </a:lnTo>
                <a:lnTo>
                  <a:pt x="36" y="468"/>
                </a:lnTo>
                <a:lnTo>
                  <a:pt x="30" y="468"/>
                </a:lnTo>
                <a:lnTo>
                  <a:pt x="30" y="462"/>
                </a:lnTo>
                <a:lnTo>
                  <a:pt x="36" y="462"/>
                </a:lnTo>
                <a:lnTo>
                  <a:pt x="30" y="456"/>
                </a:lnTo>
                <a:lnTo>
                  <a:pt x="30" y="450"/>
                </a:lnTo>
                <a:lnTo>
                  <a:pt x="24" y="450"/>
                </a:lnTo>
                <a:lnTo>
                  <a:pt x="18" y="444"/>
                </a:lnTo>
                <a:lnTo>
                  <a:pt x="12" y="438"/>
                </a:lnTo>
                <a:lnTo>
                  <a:pt x="12" y="432"/>
                </a:lnTo>
                <a:lnTo>
                  <a:pt x="6" y="432"/>
                </a:lnTo>
                <a:lnTo>
                  <a:pt x="6" y="426"/>
                </a:lnTo>
                <a:lnTo>
                  <a:pt x="0" y="426"/>
                </a:lnTo>
                <a:lnTo>
                  <a:pt x="6" y="426"/>
                </a:lnTo>
                <a:lnTo>
                  <a:pt x="0" y="426"/>
                </a:lnTo>
                <a:lnTo>
                  <a:pt x="0" y="420"/>
                </a:lnTo>
                <a:lnTo>
                  <a:pt x="0" y="414"/>
                </a:lnTo>
                <a:lnTo>
                  <a:pt x="0" y="408"/>
                </a:lnTo>
                <a:lnTo>
                  <a:pt x="6" y="408"/>
                </a:lnTo>
                <a:lnTo>
                  <a:pt x="6" y="402"/>
                </a:lnTo>
                <a:lnTo>
                  <a:pt x="12" y="402"/>
                </a:lnTo>
                <a:lnTo>
                  <a:pt x="18" y="402"/>
                </a:lnTo>
                <a:lnTo>
                  <a:pt x="24" y="402"/>
                </a:lnTo>
                <a:lnTo>
                  <a:pt x="24" y="408"/>
                </a:lnTo>
                <a:lnTo>
                  <a:pt x="30" y="408"/>
                </a:lnTo>
                <a:lnTo>
                  <a:pt x="36" y="408"/>
                </a:lnTo>
                <a:lnTo>
                  <a:pt x="36" y="414"/>
                </a:lnTo>
                <a:lnTo>
                  <a:pt x="42" y="408"/>
                </a:lnTo>
                <a:lnTo>
                  <a:pt x="42" y="402"/>
                </a:lnTo>
                <a:lnTo>
                  <a:pt x="36" y="402"/>
                </a:lnTo>
                <a:lnTo>
                  <a:pt x="42" y="396"/>
                </a:lnTo>
                <a:lnTo>
                  <a:pt x="48" y="390"/>
                </a:lnTo>
                <a:lnTo>
                  <a:pt x="48" y="384"/>
                </a:lnTo>
                <a:lnTo>
                  <a:pt x="42" y="384"/>
                </a:lnTo>
                <a:lnTo>
                  <a:pt x="42" y="378"/>
                </a:lnTo>
                <a:lnTo>
                  <a:pt x="48" y="378"/>
                </a:lnTo>
                <a:lnTo>
                  <a:pt x="48" y="372"/>
                </a:lnTo>
                <a:lnTo>
                  <a:pt x="48" y="366"/>
                </a:lnTo>
                <a:lnTo>
                  <a:pt x="42" y="366"/>
                </a:lnTo>
                <a:lnTo>
                  <a:pt x="36" y="366"/>
                </a:lnTo>
                <a:lnTo>
                  <a:pt x="36" y="360"/>
                </a:lnTo>
                <a:lnTo>
                  <a:pt x="30" y="360"/>
                </a:lnTo>
                <a:lnTo>
                  <a:pt x="24" y="360"/>
                </a:lnTo>
                <a:lnTo>
                  <a:pt x="24" y="354"/>
                </a:lnTo>
                <a:lnTo>
                  <a:pt x="30" y="354"/>
                </a:lnTo>
                <a:lnTo>
                  <a:pt x="30" y="348"/>
                </a:lnTo>
                <a:lnTo>
                  <a:pt x="24" y="348"/>
                </a:lnTo>
                <a:lnTo>
                  <a:pt x="24" y="342"/>
                </a:lnTo>
                <a:lnTo>
                  <a:pt x="24" y="336"/>
                </a:lnTo>
                <a:lnTo>
                  <a:pt x="24" y="330"/>
                </a:lnTo>
                <a:lnTo>
                  <a:pt x="24" y="336"/>
                </a:lnTo>
                <a:lnTo>
                  <a:pt x="30" y="336"/>
                </a:lnTo>
                <a:lnTo>
                  <a:pt x="30" y="342"/>
                </a:lnTo>
                <a:lnTo>
                  <a:pt x="36" y="336"/>
                </a:lnTo>
                <a:lnTo>
                  <a:pt x="42" y="336"/>
                </a:lnTo>
                <a:lnTo>
                  <a:pt x="48" y="336"/>
                </a:lnTo>
                <a:lnTo>
                  <a:pt x="48" y="342"/>
                </a:lnTo>
                <a:lnTo>
                  <a:pt x="54" y="336"/>
                </a:lnTo>
                <a:lnTo>
                  <a:pt x="60" y="336"/>
                </a:lnTo>
                <a:lnTo>
                  <a:pt x="66" y="336"/>
                </a:lnTo>
                <a:lnTo>
                  <a:pt x="72" y="336"/>
                </a:lnTo>
                <a:lnTo>
                  <a:pt x="72" y="330"/>
                </a:lnTo>
                <a:lnTo>
                  <a:pt x="72" y="324"/>
                </a:lnTo>
                <a:lnTo>
                  <a:pt x="72" y="318"/>
                </a:lnTo>
                <a:lnTo>
                  <a:pt x="72" y="312"/>
                </a:lnTo>
                <a:lnTo>
                  <a:pt x="72" y="306"/>
                </a:lnTo>
                <a:lnTo>
                  <a:pt x="72" y="312"/>
                </a:lnTo>
                <a:lnTo>
                  <a:pt x="78" y="306"/>
                </a:lnTo>
                <a:lnTo>
                  <a:pt x="84" y="306"/>
                </a:lnTo>
                <a:lnTo>
                  <a:pt x="90" y="306"/>
                </a:lnTo>
                <a:lnTo>
                  <a:pt x="90" y="312"/>
                </a:lnTo>
                <a:lnTo>
                  <a:pt x="90" y="318"/>
                </a:lnTo>
                <a:lnTo>
                  <a:pt x="96" y="318"/>
                </a:lnTo>
                <a:lnTo>
                  <a:pt x="96" y="324"/>
                </a:lnTo>
                <a:lnTo>
                  <a:pt x="102" y="324"/>
                </a:lnTo>
                <a:lnTo>
                  <a:pt x="102" y="330"/>
                </a:lnTo>
                <a:lnTo>
                  <a:pt x="102" y="336"/>
                </a:lnTo>
                <a:lnTo>
                  <a:pt x="108" y="336"/>
                </a:lnTo>
                <a:lnTo>
                  <a:pt x="114" y="336"/>
                </a:lnTo>
                <a:lnTo>
                  <a:pt x="120" y="336"/>
                </a:lnTo>
                <a:lnTo>
                  <a:pt x="126" y="336"/>
                </a:lnTo>
                <a:lnTo>
                  <a:pt x="132" y="336"/>
                </a:lnTo>
                <a:lnTo>
                  <a:pt x="132" y="330"/>
                </a:lnTo>
                <a:lnTo>
                  <a:pt x="138" y="330"/>
                </a:lnTo>
                <a:lnTo>
                  <a:pt x="138" y="324"/>
                </a:lnTo>
                <a:lnTo>
                  <a:pt x="144" y="324"/>
                </a:lnTo>
                <a:lnTo>
                  <a:pt x="150" y="324"/>
                </a:lnTo>
                <a:lnTo>
                  <a:pt x="150" y="330"/>
                </a:lnTo>
                <a:lnTo>
                  <a:pt x="150" y="336"/>
                </a:lnTo>
                <a:lnTo>
                  <a:pt x="150" y="342"/>
                </a:lnTo>
                <a:lnTo>
                  <a:pt x="156" y="342"/>
                </a:lnTo>
                <a:lnTo>
                  <a:pt x="162" y="342"/>
                </a:lnTo>
                <a:lnTo>
                  <a:pt x="162" y="336"/>
                </a:lnTo>
                <a:lnTo>
                  <a:pt x="168" y="336"/>
                </a:lnTo>
                <a:lnTo>
                  <a:pt x="168" y="330"/>
                </a:lnTo>
                <a:lnTo>
                  <a:pt x="162" y="324"/>
                </a:lnTo>
                <a:lnTo>
                  <a:pt x="168" y="324"/>
                </a:lnTo>
                <a:lnTo>
                  <a:pt x="168" y="318"/>
                </a:lnTo>
                <a:lnTo>
                  <a:pt x="168" y="312"/>
                </a:lnTo>
                <a:lnTo>
                  <a:pt x="174" y="312"/>
                </a:lnTo>
                <a:lnTo>
                  <a:pt x="180" y="306"/>
                </a:lnTo>
                <a:lnTo>
                  <a:pt x="180" y="300"/>
                </a:lnTo>
                <a:lnTo>
                  <a:pt x="180" y="294"/>
                </a:lnTo>
                <a:lnTo>
                  <a:pt x="174" y="294"/>
                </a:lnTo>
                <a:lnTo>
                  <a:pt x="180" y="294"/>
                </a:lnTo>
                <a:lnTo>
                  <a:pt x="180" y="288"/>
                </a:lnTo>
                <a:lnTo>
                  <a:pt x="180" y="282"/>
                </a:lnTo>
                <a:lnTo>
                  <a:pt x="186" y="282"/>
                </a:lnTo>
                <a:lnTo>
                  <a:pt x="180" y="282"/>
                </a:lnTo>
                <a:lnTo>
                  <a:pt x="180" y="276"/>
                </a:lnTo>
                <a:lnTo>
                  <a:pt x="180" y="270"/>
                </a:lnTo>
                <a:lnTo>
                  <a:pt x="180" y="264"/>
                </a:lnTo>
                <a:lnTo>
                  <a:pt x="180" y="258"/>
                </a:lnTo>
                <a:lnTo>
                  <a:pt x="180" y="252"/>
                </a:lnTo>
                <a:lnTo>
                  <a:pt x="180" y="246"/>
                </a:lnTo>
                <a:lnTo>
                  <a:pt x="186" y="240"/>
                </a:lnTo>
                <a:lnTo>
                  <a:pt x="180" y="234"/>
                </a:lnTo>
                <a:lnTo>
                  <a:pt x="180" y="228"/>
                </a:lnTo>
                <a:lnTo>
                  <a:pt x="174" y="228"/>
                </a:lnTo>
                <a:lnTo>
                  <a:pt x="168" y="228"/>
                </a:lnTo>
                <a:lnTo>
                  <a:pt x="168" y="222"/>
                </a:lnTo>
                <a:lnTo>
                  <a:pt x="162" y="222"/>
                </a:lnTo>
                <a:lnTo>
                  <a:pt x="162" y="216"/>
                </a:lnTo>
                <a:lnTo>
                  <a:pt x="156" y="216"/>
                </a:lnTo>
                <a:lnTo>
                  <a:pt x="150" y="216"/>
                </a:lnTo>
                <a:lnTo>
                  <a:pt x="150" y="210"/>
                </a:lnTo>
                <a:lnTo>
                  <a:pt x="150" y="204"/>
                </a:lnTo>
                <a:lnTo>
                  <a:pt x="156" y="204"/>
                </a:lnTo>
                <a:lnTo>
                  <a:pt x="156" y="198"/>
                </a:lnTo>
                <a:lnTo>
                  <a:pt x="150" y="198"/>
                </a:lnTo>
                <a:lnTo>
                  <a:pt x="150" y="192"/>
                </a:lnTo>
                <a:lnTo>
                  <a:pt x="150" y="186"/>
                </a:lnTo>
                <a:lnTo>
                  <a:pt x="156" y="186"/>
                </a:lnTo>
                <a:lnTo>
                  <a:pt x="156" y="180"/>
                </a:lnTo>
                <a:lnTo>
                  <a:pt x="162" y="180"/>
                </a:lnTo>
                <a:lnTo>
                  <a:pt x="162" y="174"/>
                </a:lnTo>
                <a:lnTo>
                  <a:pt x="168" y="174"/>
                </a:lnTo>
                <a:lnTo>
                  <a:pt x="174" y="174"/>
                </a:lnTo>
                <a:lnTo>
                  <a:pt x="174" y="168"/>
                </a:lnTo>
                <a:lnTo>
                  <a:pt x="180" y="168"/>
                </a:lnTo>
                <a:lnTo>
                  <a:pt x="174" y="168"/>
                </a:lnTo>
                <a:lnTo>
                  <a:pt x="174" y="162"/>
                </a:lnTo>
                <a:lnTo>
                  <a:pt x="180" y="162"/>
                </a:lnTo>
                <a:lnTo>
                  <a:pt x="180" y="156"/>
                </a:lnTo>
                <a:lnTo>
                  <a:pt x="186" y="156"/>
                </a:lnTo>
                <a:lnTo>
                  <a:pt x="186" y="150"/>
                </a:lnTo>
                <a:lnTo>
                  <a:pt x="180" y="150"/>
                </a:lnTo>
                <a:lnTo>
                  <a:pt x="180" y="144"/>
                </a:lnTo>
                <a:lnTo>
                  <a:pt x="174" y="144"/>
                </a:lnTo>
                <a:lnTo>
                  <a:pt x="174" y="138"/>
                </a:lnTo>
                <a:lnTo>
                  <a:pt x="174" y="132"/>
                </a:lnTo>
                <a:lnTo>
                  <a:pt x="174" y="126"/>
                </a:lnTo>
                <a:lnTo>
                  <a:pt x="168" y="126"/>
                </a:lnTo>
                <a:lnTo>
                  <a:pt x="162" y="126"/>
                </a:lnTo>
                <a:lnTo>
                  <a:pt x="156" y="126"/>
                </a:lnTo>
                <a:lnTo>
                  <a:pt x="150" y="126"/>
                </a:lnTo>
                <a:lnTo>
                  <a:pt x="144" y="126"/>
                </a:lnTo>
                <a:lnTo>
                  <a:pt x="138" y="126"/>
                </a:lnTo>
                <a:lnTo>
                  <a:pt x="138" y="132"/>
                </a:lnTo>
                <a:lnTo>
                  <a:pt x="132" y="132"/>
                </a:lnTo>
                <a:lnTo>
                  <a:pt x="126" y="132"/>
                </a:lnTo>
                <a:lnTo>
                  <a:pt x="120" y="132"/>
                </a:lnTo>
                <a:lnTo>
                  <a:pt x="120" y="138"/>
                </a:lnTo>
                <a:lnTo>
                  <a:pt x="114" y="132"/>
                </a:lnTo>
                <a:lnTo>
                  <a:pt x="114" y="138"/>
                </a:lnTo>
                <a:lnTo>
                  <a:pt x="108" y="138"/>
                </a:lnTo>
                <a:lnTo>
                  <a:pt x="108" y="132"/>
                </a:lnTo>
                <a:lnTo>
                  <a:pt x="114" y="132"/>
                </a:lnTo>
                <a:lnTo>
                  <a:pt x="114" y="126"/>
                </a:lnTo>
                <a:lnTo>
                  <a:pt x="114" y="132"/>
                </a:lnTo>
                <a:lnTo>
                  <a:pt x="114" y="126"/>
                </a:lnTo>
                <a:lnTo>
                  <a:pt x="114" y="120"/>
                </a:lnTo>
                <a:lnTo>
                  <a:pt x="108" y="120"/>
                </a:lnTo>
                <a:lnTo>
                  <a:pt x="114" y="120"/>
                </a:lnTo>
                <a:lnTo>
                  <a:pt x="108" y="120"/>
                </a:lnTo>
                <a:lnTo>
                  <a:pt x="114" y="120"/>
                </a:lnTo>
                <a:lnTo>
                  <a:pt x="108" y="120"/>
                </a:lnTo>
                <a:lnTo>
                  <a:pt x="108" y="114"/>
                </a:lnTo>
                <a:lnTo>
                  <a:pt x="108" y="108"/>
                </a:lnTo>
                <a:lnTo>
                  <a:pt x="108" y="102"/>
                </a:lnTo>
                <a:lnTo>
                  <a:pt x="114" y="102"/>
                </a:lnTo>
                <a:lnTo>
                  <a:pt x="108" y="102"/>
                </a:lnTo>
                <a:lnTo>
                  <a:pt x="114" y="102"/>
                </a:lnTo>
                <a:lnTo>
                  <a:pt x="108" y="102"/>
                </a:lnTo>
                <a:lnTo>
                  <a:pt x="108" y="96"/>
                </a:lnTo>
                <a:lnTo>
                  <a:pt x="114" y="96"/>
                </a:lnTo>
                <a:lnTo>
                  <a:pt x="114" y="90"/>
                </a:lnTo>
                <a:lnTo>
                  <a:pt x="114" y="84"/>
                </a:lnTo>
                <a:lnTo>
                  <a:pt x="120" y="84"/>
                </a:lnTo>
                <a:lnTo>
                  <a:pt x="126" y="84"/>
                </a:lnTo>
                <a:lnTo>
                  <a:pt x="132" y="84"/>
                </a:lnTo>
                <a:lnTo>
                  <a:pt x="138" y="84"/>
                </a:lnTo>
                <a:lnTo>
                  <a:pt x="144" y="84"/>
                </a:lnTo>
                <a:lnTo>
                  <a:pt x="150" y="84"/>
                </a:lnTo>
                <a:lnTo>
                  <a:pt x="156" y="84"/>
                </a:lnTo>
                <a:lnTo>
                  <a:pt x="162" y="84"/>
                </a:lnTo>
                <a:lnTo>
                  <a:pt x="168" y="84"/>
                </a:lnTo>
                <a:lnTo>
                  <a:pt x="174" y="84"/>
                </a:lnTo>
                <a:lnTo>
                  <a:pt x="180" y="84"/>
                </a:lnTo>
                <a:lnTo>
                  <a:pt x="186" y="84"/>
                </a:lnTo>
                <a:lnTo>
                  <a:pt x="186" y="78"/>
                </a:lnTo>
                <a:lnTo>
                  <a:pt x="192" y="84"/>
                </a:lnTo>
                <a:lnTo>
                  <a:pt x="198" y="84"/>
                </a:lnTo>
                <a:lnTo>
                  <a:pt x="198" y="90"/>
                </a:lnTo>
                <a:lnTo>
                  <a:pt x="198" y="84"/>
                </a:lnTo>
                <a:lnTo>
                  <a:pt x="198" y="90"/>
                </a:lnTo>
                <a:lnTo>
                  <a:pt x="204" y="90"/>
                </a:lnTo>
                <a:lnTo>
                  <a:pt x="204" y="84"/>
                </a:lnTo>
                <a:lnTo>
                  <a:pt x="204" y="90"/>
                </a:lnTo>
                <a:lnTo>
                  <a:pt x="210" y="90"/>
                </a:lnTo>
                <a:lnTo>
                  <a:pt x="216" y="90"/>
                </a:lnTo>
                <a:lnTo>
                  <a:pt x="216" y="96"/>
                </a:lnTo>
                <a:lnTo>
                  <a:pt x="216" y="90"/>
                </a:lnTo>
                <a:lnTo>
                  <a:pt x="216" y="96"/>
                </a:lnTo>
                <a:lnTo>
                  <a:pt x="216" y="90"/>
                </a:lnTo>
                <a:lnTo>
                  <a:pt x="222" y="90"/>
                </a:lnTo>
                <a:lnTo>
                  <a:pt x="228" y="90"/>
                </a:lnTo>
                <a:lnTo>
                  <a:pt x="222" y="90"/>
                </a:lnTo>
                <a:lnTo>
                  <a:pt x="228" y="90"/>
                </a:lnTo>
                <a:lnTo>
                  <a:pt x="228" y="96"/>
                </a:lnTo>
                <a:lnTo>
                  <a:pt x="234" y="96"/>
                </a:lnTo>
                <a:lnTo>
                  <a:pt x="240" y="96"/>
                </a:lnTo>
                <a:lnTo>
                  <a:pt x="246" y="96"/>
                </a:lnTo>
                <a:lnTo>
                  <a:pt x="252" y="96"/>
                </a:lnTo>
                <a:lnTo>
                  <a:pt x="258" y="96"/>
                </a:lnTo>
                <a:lnTo>
                  <a:pt x="258" y="102"/>
                </a:lnTo>
                <a:lnTo>
                  <a:pt x="264" y="102"/>
                </a:lnTo>
                <a:lnTo>
                  <a:pt x="264" y="108"/>
                </a:lnTo>
                <a:lnTo>
                  <a:pt x="270" y="108"/>
                </a:lnTo>
                <a:lnTo>
                  <a:pt x="270" y="114"/>
                </a:lnTo>
                <a:lnTo>
                  <a:pt x="270" y="108"/>
                </a:lnTo>
                <a:lnTo>
                  <a:pt x="276" y="108"/>
                </a:lnTo>
                <a:lnTo>
                  <a:pt x="276" y="102"/>
                </a:lnTo>
                <a:lnTo>
                  <a:pt x="276" y="96"/>
                </a:lnTo>
                <a:lnTo>
                  <a:pt x="270" y="96"/>
                </a:lnTo>
                <a:lnTo>
                  <a:pt x="270" y="90"/>
                </a:lnTo>
                <a:lnTo>
                  <a:pt x="270" y="84"/>
                </a:lnTo>
                <a:lnTo>
                  <a:pt x="276" y="84"/>
                </a:lnTo>
                <a:lnTo>
                  <a:pt x="276" y="78"/>
                </a:lnTo>
                <a:lnTo>
                  <a:pt x="282" y="78"/>
                </a:lnTo>
                <a:lnTo>
                  <a:pt x="282" y="72"/>
                </a:lnTo>
                <a:lnTo>
                  <a:pt x="282" y="66"/>
                </a:lnTo>
                <a:lnTo>
                  <a:pt x="288" y="66"/>
                </a:lnTo>
                <a:lnTo>
                  <a:pt x="288" y="60"/>
                </a:lnTo>
                <a:lnTo>
                  <a:pt x="288" y="54"/>
                </a:lnTo>
                <a:lnTo>
                  <a:pt x="294" y="54"/>
                </a:lnTo>
                <a:lnTo>
                  <a:pt x="294" y="48"/>
                </a:lnTo>
                <a:lnTo>
                  <a:pt x="294" y="42"/>
                </a:lnTo>
                <a:lnTo>
                  <a:pt x="294" y="36"/>
                </a:lnTo>
                <a:lnTo>
                  <a:pt x="300" y="30"/>
                </a:lnTo>
                <a:lnTo>
                  <a:pt x="294" y="30"/>
                </a:lnTo>
                <a:lnTo>
                  <a:pt x="294" y="24"/>
                </a:lnTo>
                <a:lnTo>
                  <a:pt x="300" y="24"/>
                </a:lnTo>
                <a:lnTo>
                  <a:pt x="300" y="18"/>
                </a:lnTo>
                <a:lnTo>
                  <a:pt x="300" y="12"/>
                </a:lnTo>
                <a:lnTo>
                  <a:pt x="300" y="6"/>
                </a:lnTo>
                <a:lnTo>
                  <a:pt x="306" y="6"/>
                </a:lnTo>
                <a:lnTo>
                  <a:pt x="312" y="6"/>
                </a:lnTo>
                <a:lnTo>
                  <a:pt x="318" y="6"/>
                </a:lnTo>
                <a:lnTo>
                  <a:pt x="324" y="6"/>
                </a:lnTo>
                <a:lnTo>
                  <a:pt x="330" y="6"/>
                </a:lnTo>
                <a:lnTo>
                  <a:pt x="336" y="6"/>
                </a:lnTo>
                <a:lnTo>
                  <a:pt x="336" y="0"/>
                </a:lnTo>
                <a:lnTo>
                  <a:pt x="342" y="0"/>
                </a:lnTo>
                <a:lnTo>
                  <a:pt x="348" y="0"/>
                </a:lnTo>
                <a:lnTo>
                  <a:pt x="354" y="0"/>
                </a:lnTo>
                <a:lnTo>
                  <a:pt x="360" y="0"/>
                </a:lnTo>
                <a:lnTo>
                  <a:pt x="366" y="0"/>
                </a:lnTo>
                <a:lnTo>
                  <a:pt x="372" y="0"/>
                </a:lnTo>
                <a:lnTo>
                  <a:pt x="372" y="6"/>
                </a:lnTo>
                <a:lnTo>
                  <a:pt x="372" y="0"/>
                </a:lnTo>
                <a:lnTo>
                  <a:pt x="378" y="0"/>
                </a:lnTo>
                <a:lnTo>
                  <a:pt x="378" y="6"/>
                </a:lnTo>
                <a:lnTo>
                  <a:pt x="384" y="6"/>
                </a:lnTo>
                <a:lnTo>
                  <a:pt x="390" y="6"/>
                </a:lnTo>
                <a:lnTo>
                  <a:pt x="390" y="12"/>
                </a:lnTo>
                <a:lnTo>
                  <a:pt x="390" y="6"/>
                </a:lnTo>
                <a:lnTo>
                  <a:pt x="396" y="6"/>
                </a:lnTo>
                <a:lnTo>
                  <a:pt x="396" y="0"/>
                </a:lnTo>
                <a:lnTo>
                  <a:pt x="402" y="6"/>
                </a:lnTo>
                <a:lnTo>
                  <a:pt x="402" y="0"/>
                </a:lnTo>
                <a:lnTo>
                  <a:pt x="402" y="6"/>
                </a:lnTo>
                <a:lnTo>
                  <a:pt x="402" y="0"/>
                </a:lnTo>
                <a:lnTo>
                  <a:pt x="408" y="0"/>
                </a:lnTo>
                <a:lnTo>
                  <a:pt x="408" y="6"/>
                </a:lnTo>
                <a:lnTo>
                  <a:pt x="414" y="6"/>
                </a:lnTo>
                <a:lnTo>
                  <a:pt x="414" y="12"/>
                </a:lnTo>
                <a:lnTo>
                  <a:pt x="414" y="18"/>
                </a:lnTo>
                <a:lnTo>
                  <a:pt x="414" y="24"/>
                </a:lnTo>
                <a:lnTo>
                  <a:pt x="414" y="30"/>
                </a:lnTo>
                <a:lnTo>
                  <a:pt x="408" y="30"/>
                </a:lnTo>
                <a:lnTo>
                  <a:pt x="408" y="36"/>
                </a:lnTo>
                <a:lnTo>
                  <a:pt x="402" y="36"/>
                </a:lnTo>
                <a:lnTo>
                  <a:pt x="402" y="42"/>
                </a:lnTo>
                <a:lnTo>
                  <a:pt x="402" y="48"/>
                </a:lnTo>
                <a:lnTo>
                  <a:pt x="402" y="54"/>
                </a:lnTo>
                <a:lnTo>
                  <a:pt x="396" y="54"/>
                </a:lnTo>
                <a:lnTo>
                  <a:pt x="396" y="60"/>
                </a:lnTo>
                <a:lnTo>
                  <a:pt x="390" y="66"/>
                </a:lnTo>
                <a:lnTo>
                  <a:pt x="390" y="72"/>
                </a:lnTo>
                <a:lnTo>
                  <a:pt x="390" y="78"/>
                </a:lnTo>
                <a:lnTo>
                  <a:pt x="384" y="78"/>
                </a:lnTo>
                <a:lnTo>
                  <a:pt x="384" y="84"/>
                </a:lnTo>
                <a:lnTo>
                  <a:pt x="384" y="90"/>
                </a:lnTo>
                <a:lnTo>
                  <a:pt x="384" y="96"/>
                </a:lnTo>
                <a:lnTo>
                  <a:pt x="384" y="102"/>
                </a:lnTo>
                <a:lnTo>
                  <a:pt x="384" y="108"/>
                </a:lnTo>
                <a:lnTo>
                  <a:pt x="384" y="114"/>
                </a:lnTo>
                <a:lnTo>
                  <a:pt x="384" y="120"/>
                </a:lnTo>
                <a:lnTo>
                  <a:pt x="378" y="120"/>
                </a:lnTo>
                <a:lnTo>
                  <a:pt x="378" y="126"/>
                </a:lnTo>
                <a:lnTo>
                  <a:pt x="378" y="132"/>
                </a:lnTo>
                <a:lnTo>
                  <a:pt x="378" y="138"/>
                </a:lnTo>
                <a:lnTo>
                  <a:pt x="372" y="138"/>
                </a:lnTo>
                <a:lnTo>
                  <a:pt x="372" y="144"/>
                </a:lnTo>
                <a:lnTo>
                  <a:pt x="372" y="150"/>
                </a:lnTo>
                <a:lnTo>
                  <a:pt x="372" y="156"/>
                </a:lnTo>
                <a:lnTo>
                  <a:pt x="372" y="162"/>
                </a:lnTo>
                <a:lnTo>
                  <a:pt x="372" y="168"/>
                </a:lnTo>
                <a:lnTo>
                  <a:pt x="372" y="174"/>
                </a:lnTo>
                <a:lnTo>
                  <a:pt x="378" y="174"/>
                </a:lnTo>
                <a:lnTo>
                  <a:pt x="378" y="180"/>
                </a:lnTo>
                <a:lnTo>
                  <a:pt x="378" y="186"/>
                </a:lnTo>
                <a:lnTo>
                  <a:pt x="372" y="186"/>
                </a:lnTo>
                <a:lnTo>
                  <a:pt x="372" y="192"/>
                </a:lnTo>
                <a:lnTo>
                  <a:pt x="366" y="192"/>
                </a:lnTo>
                <a:lnTo>
                  <a:pt x="366" y="198"/>
                </a:lnTo>
                <a:lnTo>
                  <a:pt x="366" y="204"/>
                </a:lnTo>
                <a:lnTo>
                  <a:pt x="366" y="210"/>
                </a:lnTo>
                <a:lnTo>
                  <a:pt x="360" y="210"/>
                </a:lnTo>
                <a:lnTo>
                  <a:pt x="360" y="216"/>
                </a:lnTo>
                <a:lnTo>
                  <a:pt x="366" y="222"/>
                </a:lnTo>
                <a:lnTo>
                  <a:pt x="366" y="228"/>
                </a:lnTo>
                <a:lnTo>
                  <a:pt x="360" y="234"/>
                </a:lnTo>
                <a:lnTo>
                  <a:pt x="360" y="240"/>
                </a:lnTo>
                <a:lnTo>
                  <a:pt x="354" y="240"/>
                </a:lnTo>
                <a:lnTo>
                  <a:pt x="354" y="246"/>
                </a:lnTo>
                <a:lnTo>
                  <a:pt x="348" y="252"/>
                </a:lnTo>
                <a:lnTo>
                  <a:pt x="342" y="258"/>
                </a:lnTo>
                <a:lnTo>
                  <a:pt x="336" y="258"/>
                </a:lnTo>
                <a:lnTo>
                  <a:pt x="336" y="264"/>
                </a:lnTo>
                <a:lnTo>
                  <a:pt x="330" y="264"/>
                </a:lnTo>
                <a:lnTo>
                  <a:pt x="324" y="264"/>
                </a:lnTo>
                <a:lnTo>
                  <a:pt x="324" y="270"/>
                </a:lnTo>
                <a:lnTo>
                  <a:pt x="318" y="270"/>
                </a:lnTo>
                <a:lnTo>
                  <a:pt x="312" y="276"/>
                </a:lnTo>
                <a:lnTo>
                  <a:pt x="312" y="282"/>
                </a:lnTo>
                <a:lnTo>
                  <a:pt x="306" y="282"/>
                </a:lnTo>
                <a:lnTo>
                  <a:pt x="306" y="288"/>
                </a:lnTo>
                <a:lnTo>
                  <a:pt x="306" y="294"/>
                </a:lnTo>
                <a:lnTo>
                  <a:pt x="300" y="300"/>
                </a:lnTo>
                <a:lnTo>
                  <a:pt x="300" y="306"/>
                </a:lnTo>
                <a:lnTo>
                  <a:pt x="294" y="306"/>
                </a:lnTo>
                <a:lnTo>
                  <a:pt x="294" y="312"/>
                </a:lnTo>
                <a:lnTo>
                  <a:pt x="288" y="312"/>
                </a:lnTo>
                <a:lnTo>
                  <a:pt x="288" y="318"/>
                </a:lnTo>
                <a:lnTo>
                  <a:pt x="282" y="318"/>
                </a:lnTo>
                <a:lnTo>
                  <a:pt x="282" y="324"/>
                </a:lnTo>
                <a:lnTo>
                  <a:pt x="276" y="324"/>
                </a:lnTo>
                <a:lnTo>
                  <a:pt x="276" y="330"/>
                </a:lnTo>
                <a:lnTo>
                  <a:pt x="276" y="336"/>
                </a:lnTo>
                <a:lnTo>
                  <a:pt x="276" y="342"/>
                </a:lnTo>
                <a:lnTo>
                  <a:pt x="282" y="342"/>
                </a:lnTo>
                <a:lnTo>
                  <a:pt x="282" y="348"/>
                </a:lnTo>
                <a:lnTo>
                  <a:pt x="282" y="354"/>
                </a:lnTo>
                <a:lnTo>
                  <a:pt x="276" y="354"/>
                </a:lnTo>
                <a:lnTo>
                  <a:pt x="276" y="360"/>
                </a:lnTo>
                <a:lnTo>
                  <a:pt x="276" y="366"/>
                </a:lnTo>
                <a:lnTo>
                  <a:pt x="276" y="372"/>
                </a:lnTo>
                <a:lnTo>
                  <a:pt x="276" y="378"/>
                </a:lnTo>
                <a:lnTo>
                  <a:pt x="276" y="384"/>
                </a:lnTo>
                <a:lnTo>
                  <a:pt x="282" y="384"/>
                </a:lnTo>
                <a:lnTo>
                  <a:pt x="282" y="390"/>
                </a:lnTo>
                <a:lnTo>
                  <a:pt x="276" y="390"/>
                </a:lnTo>
                <a:lnTo>
                  <a:pt x="276" y="396"/>
                </a:lnTo>
                <a:lnTo>
                  <a:pt x="276" y="402"/>
                </a:lnTo>
                <a:lnTo>
                  <a:pt x="270" y="402"/>
                </a:lnTo>
                <a:lnTo>
                  <a:pt x="270" y="408"/>
                </a:lnTo>
                <a:lnTo>
                  <a:pt x="270" y="414"/>
                </a:lnTo>
                <a:lnTo>
                  <a:pt x="264" y="414"/>
                </a:lnTo>
                <a:lnTo>
                  <a:pt x="264" y="420"/>
                </a:lnTo>
                <a:lnTo>
                  <a:pt x="264" y="426"/>
                </a:lnTo>
                <a:lnTo>
                  <a:pt x="258" y="426"/>
                </a:lnTo>
                <a:lnTo>
                  <a:pt x="252" y="426"/>
                </a:lnTo>
                <a:lnTo>
                  <a:pt x="246" y="426"/>
                </a:lnTo>
                <a:lnTo>
                  <a:pt x="240" y="426"/>
                </a:lnTo>
                <a:lnTo>
                  <a:pt x="240" y="432"/>
                </a:lnTo>
                <a:lnTo>
                  <a:pt x="240" y="438"/>
                </a:lnTo>
                <a:lnTo>
                  <a:pt x="240" y="444"/>
                </a:lnTo>
                <a:lnTo>
                  <a:pt x="234" y="444"/>
                </a:lnTo>
                <a:lnTo>
                  <a:pt x="228" y="444"/>
                </a:lnTo>
                <a:lnTo>
                  <a:pt x="222" y="444"/>
                </a:lnTo>
                <a:lnTo>
                  <a:pt x="222" y="450"/>
                </a:lnTo>
                <a:lnTo>
                  <a:pt x="216" y="456"/>
                </a:lnTo>
                <a:lnTo>
                  <a:pt x="210" y="462"/>
                </a:lnTo>
                <a:lnTo>
                  <a:pt x="204" y="462"/>
                </a:lnTo>
                <a:lnTo>
                  <a:pt x="204" y="468"/>
                </a:lnTo>
                <a:lnTo>
                  <a:pt x="204" y="474"/>
                </a:lnTo>
                <a:lnTo>
                  <a:pt x="198" y="474"/>
                </a:lnTo>
                <a:lnTo>
                  <a:pt x="192" y="480"/>
                </a:lnTo>
                <a:lnTo>
                  <a:pt x="192" y="474"/>
                </a:lnTo>
                <a:lnTo>
                  <a:pt x="186" y="474"/>
                </a:lnTo>
                <a:lnTo>
                  <a:pt x="180" y="474"/>
                </a:lnTo>
                <a:lnTo>
                  <a:pt x="180" y="468"/>
                </a:lnTo>
                <a:lnTo>
                  <a:pt x="180" y="462"/>
                </a:lnTo>
                <a:lnTo>
                  <a:pt x="174" y="462"/>
                </a:lnTo>
                <a:lnTo>
                  <a:pt x="180" y="462"/>
                </a:lnTo>
                <a:lnTo>
                  <a:pt x="174" y="462"/>
                </a:lnTo>
                <a:lnTo>
                  <a:pt x="174" y="456"/>
                </a:lnTo>
                <a:lnTo>
                  <a:pt x="180" y="456"/>
                </a:lnTo>
                <a:lnTo>
                  <a:pt x="180" y="450"/>
                </a:lnTo>
                <a:lnTo>
                  <a:pt x="180" y="444"/>
                </a:lnTo>
                <a:lnTo>
                  <a:pt x="174" y="444"/>
                </a:lnTo>
                <a:lnTo>
                  <a:pt x="168" y="444"/>
                </a:lnTo>
                <a:lnTo>
                  <a:pt x="168" y="450"/>
                </a:lnTo>
                <a:lnTo>
                  <a:pt x="162" y="450"/>
                </a:lnTo>
                <a:lnTo>
                  <a:pt x="156" y="450"/>
                </a:lnTo>
                <a:lnTo>
                  <a:pt x="156" y="456"/>
                </a:lnTo>
                <a:lnTo>
                  <a:pt x="150" y="456"/>
                </a:lnTo>
                <a:lnTo>
                  <a:pt x="150" y="450"/>
                </a:lnTo>
                <a:lnTo>
                  <a:pt x="144" y="450"/>
                </a:lnTo>
                <a:lnTo>
                  <a:pt x="138" y="450"/>
                </a:lnTo>
                <a:lnTo>
                  <a:pt x="138" y="456"/>
                </a:lnTo>
                <a:lnTo>
                  <a:pt x="144" y="456"/>
                </a:lnTo>
                <a:lnTo>
                  <a:pt x="144" y="462"/>
                </a:lnTo>
                <a:lnTo>
                  <a:pt x="138" y="462"/>
                </a:lnTo>
                <a:lnTo>
                  <a:pt x="138" y="468"/>
                </a:lnTo>
                <a:lnTo>
                  <a:pt x="132" y="468"/>
                </a:lnTo>
                <a:lnTo>
                  <a:pt x="132" y="474"/>
                </a:lnTo>
                <a:lnTo>
                  <a:pt x="126" y="474"/>
                </a:lnTo>
                <a:lnTo>
                  <a:pt x="126" y="480"/>
                </a:lnTo>
                <a:lnTo>
                  <a:pt x="120" y="474"/>
                </a:lnTo>
                <a:lnTo>
                  <a:pt x="120" y="468"/>
                </a:lnTo>
                <a:lnTo>
                  <a:pt x="114" y="468"/>
                </a:lnTo>
                <a:lnTo>
                  <a:pt x="114" y="462"/>
                </a:lnTo>
                <a:lnTo>
                  <a:pt x="108" y="462"/>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6" name="Freeform 50">
            <a:extLst>
              <a:ext uri="{FF2B5EF4-FFF2-40B4-BE49-F238E27FC236}">
                <a16:creationId xmlns:a16="http://schemas.microsoft.com/office/drawing/2014/main" id="{D1C7DD7C-AF1E-AB47-8CF5-AE717FAD72B8}"/>
              </a:ext>
            </a:extLst>
          </p:cNvPr>
          <p:cNvSpPr>
            <a:spLocks noEditPoints="1"/>
          </p:cNvSpPr>
          <p:nvPr>
            <p:custDataLst>
              <p:tags r:id="rId44"/>
            </p:custDataLst>
          </p:nvPr>
        </p:nvSpPr>
        <p:spPr bwMode="gray">
          <a:xfrm>
            <a:off x="4134804" y="4423017"/>
            <a:ext cx="359289" cy="342355"/>
          </a:xfrm>
          <a:custGeom>
            <a:avLst/>
            <a:gdLst>
              <a:gd name="T0" fmla="*/ 44504 w 324"/>
              <a:gd name="T1" fmla="*/ 120720 h 354"/>
              <a:gd name="T2" fmla="*/ 37731 w 324"/>
              <a:gd name="T3" fmla="*/ 113960 h 354"/>
              <a:gd name="T4" fmla="*/ 29991 w 324"/>
              <a:gd name="T5" fmla="*/ 104302 h 354"/>
              <a:gd name="T6" fmla="*/ 27089 w 324"/>
              <a:gd name="T7" fmla="*/ 101405 h 354"/>
              <a:gd name="T8" fmla="*/ 19350 w 324"/>
              <a:gd name="T9" fmla="*/ 95611 h 354"/>
              <a:gd name="T10" fmla="*/ 12577 w 324"/>
              <a:gd name="T11" fmla="*/ 86918 h 354"/>
              <a:gd name="T12" fmla="*/ 8707 w 324"/>
              <a:gd name="T13" fmla="*/ 78227 h 354"/>
              <a:gd name="T14" fmla="*/ 6772 w 324"/>
              <a:gd name="T15" fmla="*/ 71466 h 354"/>
              <a:gd name="T16" fmla="*/ 1935 w 324"/>
              <a:gd name="T17" fmla="*/ 65672 h 354"/>
              <a:gd name="T18" fmla="*/ 0 w 324"/>
              <a:gd name="T19" fmla="*/ 59877 h 354"/>
              <a:gd name="T20" fmla="*/ 3870 w 324"/>
              <a:gd name="T21" fmla="*/ 60843 h 354"/>
              <a:gd name="T22" fmla="*/ 6772 w 324"/>
              <a:gd name="T23" fmla="*/ 59877 h 354"/>
              <a:gd name="T24" fmla="*/ 6772 w 324"/>
              <a:gd name="T25" fmla="*/ 59877 h 354"/>
              <a:gd name="T26" fmla="*/ 10642 w 324"/>
              <a:gd name="T27" fmla="*/ 51186 h 354"/>
              <a:gd name="T28" fmla="*/ 10642 w 324"/>
              <a:gd name="T29" fmla="*/ 42493 h 354"/>
              <a:gd name="T30" fmla="*/ 14512 w 324"/>
              <a:gd name="T31" fmla="*/ 42493 h 354"/>
              <a:gd name="T32" fmla="*/ 19350 w 324"/>
              <a:gd name="T33" fmla="*/ 44425 h 354"/>
              <a:gd name="T34" fmla="*/ 17415 w 324"/>
              <a:gd name="T35" fmla="*/ 40562 h 354"/>
              <a:gd name="T36" fmla="*/ 10642 w 324"/>
              <a:gd name="T37" fmla="*/ 33801 h 354"/>
              <a:gd name="T38" fmla="*/ 17415 w 324"/>
              <a:gd name="T39" fmla="*/ 31870 h 354"/>
              <a:gd name="T40" fmla="*/ 21285 w 324"/>
              <a:gd name="T41" fmla="*/ 26076 h 354"/>
              <a:gd name="T42" fmla="*/ 31926 w 324"/>
              <a:gd name="T43" fmla="*/ 27041 h 354"/>
              <a:gd name="T44" fmla="*/ 44504 w 324"/>
              <a:gd name="T45" fmla="*/ 27041 h 354"/>
              <a:gd name="T46" fmla="*/ 51276 w 324"/>
              <a:gd name="T47" fmla="*/ 21247 h 354"/>
              <a:gd name="T48" fmla="*/ 51276 w 324"/>
              <a:gd name="T49" fmla="*/ 8692 h 354"/>
              <a:gd name="T50" fmla="*/ 55146 w 324"/>
              <a:gd name="T51" fmla="*/ 0 h 354"/>
              <a:gd name="T52" fmla="*/ 59984 w 324"/>
              <a:gd name="T53" fmla="*/ 0 h 354"/>
              <a:gd name="T54" fmla="*/ 70626 w 324"/>
              <a:gd name="T55" fmla="*/ 1931 h 354"/>
              <a:gd name="T56" fmla="*/ 83203 w 324"/>
              <a:gd name="T57" fmla="*/ 1931 h 354"/>
              <a:gd name="T58" fmla="*/ 90943 w 324"/>
              <a:gd name="T59" fmla="*/ 1931 h 354"/>
              <a:gd name="T60" fmla="*/ 87073 w 324"/>
              <a:gd name="T61" fmla="*/ 10624 h 354"/>
              <a:gd name="T62" fmla="*/ 87073 w 324"/>
              <a:gd name="T63" fmla="*/ 14486 h 354"/>
              <a:gd name="T64" fmla="*/ 89008 w 324"/>
              <a:gd name="T65" fmla="*/ 17383 h 354"/>
              <a:gd name="T66" fmla="*/ 87073 w 324"/>
              <a:gd name="T67" fmla="*/ 23179 h 354"/>
              <a:gd name="T68" fmla="*/ 95780 w 324"/>
              <a:gd name="T69" fmla="*/ 21247 h 354"/>
              <a:gd name="T70" fmla="*/ 105455 w 324"/>
              <a:gd name="T71" fmla="*/ 19315 h 354"/>
              <a:gd name="T72" fmla="*/ 112227 w 324"/>
              <a:gd name="T73" fmla="*/ 26076 h 354"/>
              <a:gd name="T74" fmla="*/ 110292 w 324"/>
              <a:gd name="T75" fmla="*/ 31870 h 354"/>
              <a:gd name="T76" fmla="*/ 105455 w 324"/>
              <a:gd name="T77" fmla="*/ 35733 h 354"/>
              <a:gd name="T78" fmla="*/ 101585 w 324"/>
              <a:gd name="T79" fmla="*/ 44425 h 354"/>
              <a:gd name="T80" fmla="*/ 104487 w 324"/>
              <a:gd name="T81" fmla="*/ 51186 h 354"/>
              <a:gd name="T82" fmla="*/ 112227 w 324"/>
              <a:gd name="T83" fmla="*/ 55048 h 354"/>
              <a:gd name="T84" fmla="*/ 112227 w 324"/>
              <a:gd name="T85" fmla="*/ 67603 h 354"/>
              <a:gd name="T86" fmla="*/ 112227 w 324"/>
              <a:gd name="T87" fmla="*/ 76295 h 354"/>
              <a:gd name="T88" fmla="*/ 110292 w 324"/>
              <a:gd name="T89" fmla="*/ 84987 h 354"/>
              <a:gd name="T90" fmla="*/ 108357 w 324"/>
              <a:gd name="T91" fmla="*/ 93679 h 354"/>
              <a:gd name="T92" fmla="*/ 101585 w 324"/>
              <a:gd name="T93" fmla="*/ 90781 h 354"/>
              <a:gd name="T94" fmla="*/ 95780 w 324"/>
              <a:gd name="T95" fmla="*/ 93679 h 354"/>
              <a:gd name="T96" fmla="*/ 85138 w 324"/>
              <a:gd name="T97" fmla="*/ 90781 h 354"/>
              <a:gd name="T98" fmla="*/ 80300 w 324"/>
              <a:gd name="T99" fmla="*/ 82090 h 354"/>
              <a:gd name="T100" fmla="*/ 74496 w 324"/>
              <a:gd name="T101" fmla="*/ 86918 h 354"/>
              <a:gd name="T102" fmla="*/ 67724 w 324"/>
              <a:gd name="T103" fmla="*/ 93679 h 354"/>
              <a:gd name="T104" fmla="*/ 59984 w 324"/>
              <a:gd name="T105" fmla="*/ 93679 h 354"/>
              <a:gd name="T106" fmla="*/ 59984 w 324"/>
              <a:gd name="T107" fmla="*/ 97542 h 354"/>
              <a:gd name="T108" fmla="*/ 61919 w 324"/>
              <a:gd name="T109" fmla="*/ 104302 h 354"/>
              <a:gd name="T110" fmla="*/ 63854 w 324"/>
              <a:gd name="T111" fmla="*/ 110097 h 354"/>
              <a:gd name="T112" fmla="*/ 63854 w 324"/>
              <a:gd name="T113" fmla="*/ 118788 h 354"/>
              <a:gd name="T114" fmla="*/ 55146 w 324"/>
              <a:gd name="T115" fmla="*/ 115891 h 354"/>
              <a:gd name="T116" fmla="*/ 48374 w 324"/>
              <a:gd name="T117" fmla="*/ 122652 h 354"/>
              <a:gd name="T118" fmla="*/ 1935 w 324"/>
              <a:gd name="T119" fmla="*/ 63740 h 354"/>
              <a:gd name="T120" fmla="*/ 12577 w 324"/>
              <a:gd name="T121" fmla="*/ 3187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24" h="354">
                <a:moveTo>
                  <a:pt x="138" y="354"/>
                </a:moveTo>
                <a:lnTo>
                  <a:pt x="138" y="348"/>
                </a:lnTo>
                <a:lnTo>
                  <a:pt x="138" y="354"/>
                </a:lnTo>
                <a:lnTo>
                  <a:pt x="132" y="348"/>
                </a:lnTo>
                <a:lnTo>
                  <a:pt x="126" y="348"/>
                </a:lnTo>
                <a:lnTo>
                  <a:pt x="126" y="342"/>
                </a:lnTo>
                <a:lnTo>
                  <a:pt x="126" y="336"/>
                </a:lnTo>
                <a:lnTo>
                  <a:pt x="120" y="336"/>
                </a:lnTo>
                <a:lnTo>
                  <a:pt x="120" y="330"/>
                </a:lnTo>
                <a:lnTo>
                  <a:pt x="114" y="330"/>
                </a:lnTo>
                <a:lnTo>
                  <a:pt x="114" y="324"/>
                </a:lnTo>
                <a:lnTo>
                  <a:pt x="108" y="324"/>
                </a:lnTo>
                <a:lnTo>
                  <a:pt x="108" y="318"/>
                </a:lnTo>
                <a:lnTo>
                  <a:pt x="102" y="312"/>
                </a:lnTo>
                <a:lnTo>
                  <a:pt x="96" y="306"/>
                </a:lnTo>
                <a:lnTo>
                  <a:pt x="90" y="306"/>
                </a:lnTo>
                <a:lnTo>
                  <a:pt x="90" y="300"/>
                </a:lnTo>
                <a:lnTo>
                  <a:pt x="84" y="294"/>
                </a:lnTo>
                <a:lnTo>
                  <a:pt x="84" y="300"/>
                </a:lnTo>
                <a:lnTo>
                  <a:pt x="90" y="300"/>
                </a:lnTo>
                <a:lnTo>
                  <a:pt x="84" y="300"/>
                </a:lnTo>
                <a:lnTo>
                  <a:pt x="84" y="294"/>
                </a:lnTo>
                <a:lnTo>
                  <a:pt x="78" y="294"/>
                </a:lnTo>
                <a:lnTo>
                  <a:pt x="78" y="288"/>
                </a:lnTo>
                <a:lnTo>
                  <a:pt x="72" y="288"/>
                </a:lnTo>
                <a:lnTo>
                  <a:pt x="72" y="282"/>
                </a:lnTo>
                <a:lnTo>
                  <a:pt x="66" y="282"/>
                </a:lnTo>
                <a:lnTo>
                  <a:pt x="66" y="276"/>
                </a:lnTo>
                <a:lnTo>
                  <a:pt x="60" y="276"/>
                </a:lnTo>
                <a:lnTo>
                  <a:pt x="54" y="270"/>
                </a:lnTo>
                <a:lnTo>
                  <a:pt x="48" y="264"/>
                </a:lnTo>
                <a:lnTo>
                  <a:pt x="48" y="258"/>
                </a:lnTo>
                <a:lnTo>
                  <a:pt x="48" y="252"/>
                </a:lnTo>
                <a:lnTo>
                  <a:pt x="42" y="252"/>
                </a:lnTo>
                <a:lnTo>
                  <a:pt x="42" y="246"/>
                </a:lnTo>
                <a:lnTo>
                  <a:pt x="36" y="246"/>
                </a:lnTo>
                <a:lnTo>
                  <a:pt x="36" y="240"/>
                </a:lnTo>
                <a:lnTo>
                  <a:pt x="30" y="240"/>
                </a:lnTo>
                <a:lnTo>
                  <a:pt x="30" y="234"/>
                </a:lnTo>
                <a:lnTo>
                  <a:pt x="30" y="228"/>
                </a:lnTo>
                <a:lnTo>
                  <a:pt x="30" y="222"/>
                </a:lnTo>
                <a:lnTo>
                  <a:pt x="24" y="222"/>
                </a:lnTo>
                <a:lnTo>
                  <a:pt x="24" y="216"/>
                </a:lnTo>
                <a:lnTo>
                  <a:pt x="24" y="210"/>
                </a:lnTo>
                <a:lnTo>
                  <a:pt x="18" y="210"/>
                </a:lnTo>
                <a:lnTo>
                  <a:pt x="18" y="204"/>
                </a:lnTo>
                <a:lnTo>
                  <a:pt x="12" y="204"/>
                </a:lnTo>
                <a:lnTo>
                  <a:pt x="18" y="204"/>
                </a:lnTo>
                <a:lnTo>
                  <a:pt x="12" y="204"/>
                </a:lnTo>
                <a:lnTo>
                  <a:pt x="18" y="204"/>
                </a:lnTo>
                <a:lnTo>
                  <a:pt x="18" y="198"/>
                </a:lnTo>
                <a:lnTo>
                  <a:pt x="12" y="198"/>
                </a:lnTo>
                <a:lnTo>
                  <a:pt x="12" y="192"/>
                </a:lnTo>
                <a:lnTo>
                  <a:pt x="6" y="186"/>
                </a:lnTo>
                <a:lnTo>
                  <a:pt x="12" y="192"/>
                </a:lnTo>
                <a:lnTo>
                  <a:pt x="12" y="186"/>
                </a:lnTo>
                <a:lnTo>
                  <a:pt x="6" y="186"/>
                </a:lnTo>
                <a:lnTo>
                  <a:pt x="6" y="180"/>
                </a:lnTo>
                <a:lnTo>
                  <a:pt x="0" y="174"/>
                </a:lnTo>
                <a:lnTo>
                  <a:pt x="0" y="168"/>
                </a:lnTo>
                <a:lnTo>
                  <a:pt x="6" y="168"/>
                </a:lnTo>
                <a:lnTo>
                  <a:pt x="0" y="168"/>
                </a:lnTo>
                <a:lnTo>
                  <a:pt x="6" y="174"/>
                </a:lnTo>
                <a:lnTo>
                  <a:pt x="6" y="180"/>
                </a:lnTo>
                <a:lnTo>
                  <a:pt x="6" y="174"/>
                </a:lnTo>
                <a:lnTo>
                  <a:pt x="12" y="174"/>
                </a:lnTo>
                <a:lnTo>
                  <a:pt x="12" y="168"/>
                </a:lnTo>
                <a:lnTo>
                  <a:pt x="18" y="168"/>
                </a:lnTo>
                <a:lnTo>
                  <a:pt x="12" y="168"/>
                </a:lnTo>
                <a:lnTo>
                  <a:pt x="18" y="168"/>
                </a:lnTo>
                <a:lnTo>
                  <a:pt x="12" y="168"/>
                </a:lnTo>
                <a:lnTo>
                  <a:pt x="18" y="168"/>
                </a:lnTo>
                <a:lnTo>
                  <a:pt x="18" y="174"/>
                </a:lnTo>
                <a:lnTo>
                  <a:pt x="18" y="168"/>
                </a:lnTo>
                <a:lnTo>
                  <a:pt x="18" y="174"/>
                </a:lnTo>
                <a:lnTo>
                  <a:pt x="18" y="168"/>
                </a:lnTo>
                <a:lnTo>
                  <a:pt x="24" y="168"/>
                </a:lnTo>
                <a:lnTo>
                  <a:pt x="18" y="168"/>
                </a:lnTo>
                <a:lnTo>
                  <a:pt x="24" y="168"/>
                </a:lnTo>
                <a:lnTo>
                  <a:pt x="24" y="162"/>
                </a:lnTo>
                <a:lnTo>
                  <a:pt x="30" y="162"/>
                </a:lnTo>
                <a:lnTo>
                  <a:pt x="30" y="156"/>
                </a:lnTo>
                <a:lnTo>
                  <a:pt x="30" y="150"/>
                </a:lnTo>
                <a:lnTo>
                  <a:pt x="30" y="144"/>
                </a:lnTo>
                <a:lnTo>
                  <a:pt x="36" y="144"/>
                </a:lnTo>
                <a:lnTo>
                  <a:pt x="36" y="138"/>
                </a:lnTo>
                <a:lnTo>
                  <a:pt x="36" y="132"/>
                </a:lnTo>
                <a:lnTo>
                  <a:pt x="36" y="126"/>
                </a:lnTo>
                <a:lnTo>
                  <a:pt x="36" y="120"/>
                </a:lnTo>
                <a:lnTo>
                  <a:pt x="30" y="120"/>
                </a:lnTo>
                <a:lnTo>
                  <a:pt x="36" y="120"/>
                </a:lnTo>
                <a:lnTo>
                  <a:pt x="30" y="120"/>
                </a:lnTo>
                <a:lnTo>
                  <a:pt x="30" y="114"/>
                </a:lnTo>
                <a:lnTo>
                  <a:pt x="36" y="114"/>
                </a:lnTo>
                <a:lnTo>
                  <a:pt x="36" y="120"/>
                </a:lnTo>
                <a:lnTo>
                  <a:pt x="42" y="120"/>
                </a:lnTo>
                <a:lnTo>
                  <a:pt x="42" y="126"/>
                </a:lnTo>
                <a:lnTo>
                  <a:pt x="42" y="120"/>
                </a:lnTo>
                <a:lnTo>
                  <a:pt x="48" y="120"/>
                </a:lnTo>
                <a:lnTo>
                  <a:pt x="48" y="126"/>
                </a:lnTo>
                <a:lnTo>
                  <a:pt x="48" y="120"/>
                </a:lnTo>
                <a:lnTo>
                  <a:pt x="54" y="126"/>
                </a:lnTo>
                <a:lnTo>
                  <a:pt x="60" y="126"/>
                </a:lnTo>
                <a:lnTo>
                  <a:pt x="66" y="120"/>
                </a:lnTo>
                <a:lnTo>
                  <a:pt x="60" y="120"/>
                </a:lnTo>
                <a:lnTo>
                  <a:pt x="54" y="120"/>
                </a:lnTo>
                <a:lnTo>
                  <a:pt x="48" y="120"/>
                </a:lnTo>
                <a:lnTo>
                  <a:pt x="48" y="114"/>
                </a:lnTo>
                <a:lnTo>
                  <a:pt x="42" y="114"/>
                </a:lnTo>
                <a:lnTo>
                  <a:pt x="42" y="108"/>
                </a:lnTo>
                <a:lnTo>
                  <a:pt x="36" y="108"/>
                </a:lnTo>
                <a:lnTo>
                  <a:pt x="36" y="102"/>
                </a:lnTo>
                <a:lnTo>
                  <a:pt x="30" y="102"/>
                </a:lnTo>
                <a:lnTo>
                  <a:pt x="30" y="96"/>
                </a:lnTo>
                <a:lnTo>
                  <a:pt x="36" y="96"/>
                </a:lnTo>
                <a:lnTo>
                  <a:pt x="42" y="96"/>
                </a:lnTo>
                <a:lnTo>
                  <a:pt x="48" y="96"/>
                </a:lnTo>
                <a:lnTo>
                  <a:pt x="48" y="102"/>
                </a:lnTo>
                <a:lnTo>
                  <a:pt x="48" y="96"/>
                </a:lnTo>
                <a:lnTo>
                  <a:pt x="48" y="90"/>
                </a:lnTo>
                <a:lnTo>
                  <a:pt x="48" y="84"/>
                </a:lnTo>
                <a:lnTo>
                  <a:pt x="48" y="78"/>
                </a:lnTo>
                <a:lnTo>
                  <a:pt x="48" y="72"/>
                </a:lnTo>
                <a:lnTo>
                  <a:pt x="48" y="78"/>
                </a:lnTo>
                <a:lnTo>
                  <a:pt x="54" y="72"/>
                </a:lnTo>
                <a:lnTo>
                  <a:pt x="60" y="72"/>
                </a:lnTo>
                <a:lnTo>
                  <a:pt x="60" y="78"/>
                </a:lnTo>
                <a:lnTo>
                  <a:pt x="66" y="78"/>
                </a:lnTo>
                <a:lnTo>
                  <a:pt x="72" y="78"/>
                </a:lnTo>
                <a:lnTo>
                  <a:pt x="78" y="78"/>
                </a:lnTo>
                <a:lnTo>
                  <a:pt x="84" y="78"/>
                </a:lnTo>
                <a:lnTo>
                  <a:pt x="90" y="78"/>
                </a:lnTo>
                <a:lnTo>
                  <a:pt x="96" y="78"/>
                </a:lnTo>
                <a:lnTo>
                  <a:pt x="102" y="78"/>
                </a:lnTo>
                <a:lnTo>
                  <a:pt x="108" y="78"/>
                </a:lnTo>
                <a:lnTo>
                  <a:pt x="114" y="78"/>
                </a:lnTo>
                <a:lnTo>
                  <a:pt x="120" y="78"/>
                </a:lnTo>
                <a:lnTo>
                  <a:pt x="126" y="78"/>
                </a:lnTo>
                <a:lnTo>
                  <a:pt x="132" y="78"/>
                </a:lnTo>
                <a:lnTo>
                  <a:pt x="138" y="78"/>
                </a:lnTo>
                <a:lnTo>
                  <a:pt x="144" y="78"/>
                </a:lnTo>
                <a:lnTo>
                  <a:pt x="144" y="72"/>
                </a:lnTo>
                <a:lnTo>
                  <a:pt x="144" y="66"/>
                </a:lnTo>
                <a:lnTo>
                  <a:pt x="144" y="60"/>
                </a:lnTo>
                <a:lnTo>
                  <a:pt x="144" y="54"/>
                </a:lnTo>
                <a:lnTo>
                  <a:pt x="144" y="48"/>
                </a:lnTo>
                <a:lnTo>
                  <a:pt x="144" y="42"/>
                </a:lnTo>
                <a:lnTo>
                  <a:pt x="144" y="36"/>
                </a:lnTo>
                <a:lnTo>
                  <a:pt x="144" y="30"/>
                </a:lnTo>
                <a:lnTo>
                  <a:pt x="144" y="24"/>
                </a:lnTo>
                <a:lnTo>
                  <a:pt x="144" y="18"/>
                </a:lnTo>
                <a:lnTo>
                  <a:pt x="144" y="12"/>
                </a:lnTo>
                <a:lnTo>
                  <a:pt x="144" y="6"/>
                </a:lnTo>
                <a:lnTo>
                  <a:pt x="150" y="6"/>
                </a:lnTo>
                <a:lnTo>
                  <a:pt x="156" y="6"/>
                </a:lnTo>
                <a:lnTo>
                  <a:pt x="156" y="0"/>
                </a:lnTo>
                <a:lnTo>
                  <a:pt x="162" y="0"/>
                </a:lnTo>
                <a:lnTo>
                  <a:pt x="162" y="6"/>
                </a:lnTo>
                <a:lnTo>
                  <a:pt x="162" y="0"/>
                </a:lnTo>
                <a:lnTo>
                  <a:pt x="162" y="6"/>
                </a:lnTo>
                <a:lnTo>
                  <a:pt x="162" y="0"/>
                </a:lnTo>
                <a:lnTo>
                  <a:pt x="168" y="0"/>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34" y="6"/>
                </a:lnTo>
                <a:lnTo>
                  <a:pt x="240" y="6"/>
                </a:lnTo>
                <a:lnTo>
                  <a:pt x="246" y="6"/>
                </a:lnTo>
                <a:lnTo>
                  <a:pt x="252" y="6"/>
                </a:lnTo>
                <a:lnTo>
                  <a:pt x="246" y="6"/>
                </a:lnTo>
                <a:lnTo>
                  <a:pt x="252" y="6"/>
                </a:lnTo>
                <a:lnTo>
                  <a:pt x="258" y="6"/>
                </a:lnTo>
                <a:lnTo>
                  <a:pt x="252" y="6"/>
                </a:lnTo>
                <a:lnTo>
                  <a:pt x="252" y="12"/>
                </a:lnTo>
                <a:lnTo>
                  <a:pt x="252" y="18"/>
                </a:lnTo>
                <a:lnTo>
                  <a:pt x="252" y="24"/>
                </a:lnTo>
                <a:lnTo>
                  <a:pt x="246" y="24"/>
                </a:lnTo>
                <a:lnTo>
                  <a:pt x="246" y="30"/>
                </a:lnTo>
                <a:lnTo>
                  <a:pt x="252" y="30"/>
                </a:lnTo>
                <a:lnTo>
                  <a:pt x="246" y="30"/>
                </a:lnTo>
                <a:lnTo>
                  <a:pt x="252" y="30"/>
                </a:lnTo>
                <a:lnTo>
                  <a:pt x="246" y="30"/>
                </a:lnTo>
                <a:lnTo>
                  <a:pt x="246" y="36"/>
                </a:lnTo>
                <a:lnTo>
                  <a:pt x="246" y="42"/>
                </a:lnTo>
                <a:lnTo>
                  <a:pt x="246" y="48"/>
                </a:lnTo>
                <a:lnTo>
                  <a:pt x="252" y="48"/>
                </a:lnTo>
                <a:lnTo>
                  <a:pt x="246" y="48"/>
                </a:lnTo>
                <a:lnTo>
                  <a:pt x="252" y="48"/>
                </a:lnTo>
                <a:lnTo>
                  <a:pt x="246" y="48"/>
                </a:lnTo>
                <a:lnTo>
                  <a:pt x="252" y="48"/>
                </a:lnTo>
                <a:lnTo>
                  <a:pt x="252" y="54"/>
                </a:lnTo>
                <a:lnTo>
                  <a:pt x="252" y="60"/>
                </a:lnTo>
                <a:lnTo>
                  <a:pt x="252" y="54"/>
                </a:lnTo>
                <a:lnTo>
                  <a:pt x="252" y="60"/>
                </a:lnTo>
                <a:lnTo>
                  <a:pt x="246" y="60"/>
                </a:lnTo>
                <a:lnTo>
                  <a:pt x="246" y="66"/>
                </a:lnTo>
                <a:lnTo>
                  <a:pt x="252" y="66"/>
                </a:lnTo>
                <a:lnTo>
                  <a:pt x="252" y="60"/>
                </a:lnTo>
                <a:lnTo>
                  <a:pt x="258" y="66"/>
                </a:lnTo>
                <a:lnTo>
                  <a:pt x="258" y="60"/>
                </a:lnTo>
                <a:lnTo>
                  <a:pt x="264" y="60"/>
                </a:lnTo>
                <a:lnTo>
                  <a:pt x="270" y="60"/>
                </a:lnTo>
                <a:lnTo>
                  <a:pt x="276" y="60"/>
                </a:lnTo>
                <a:lnTo>
                  <a:pt x="276" y="54"/>
                </a:lnTo>
                <a:lnTo>
                  <a:pt x="282" y="54"/>
                </a:lnTo>
                <a:lnTo>
                  <a:pt x="288" y="54"/>
                </a:lnTo>
                <a:lnTo>
                  <a:pt x="294" y="54"/>
                </a:lnTo>
                <a:lnTo>
                  <a:pt x="300" y="54"/>
                </a:lnTo>
                <a:lnTo>
                  <a:pt x="306" y="54"/>
                </a:lnTo>
                <a:lnTo>
                  <a:pt x="312" y="54"/>
                </a:lnTo>
                <a:lnTo>
                  <a:pt x="312" y="60"/>
                </a:lnTo>
                <a:lnTo>
                  <a:pt x="312" y="66"/>
                </a:lnTo>
                <a:lnTo>
                  <a:pt x="312" y="72"/>
                </a:lnTo>
                <a:lnTo>
                  <a:pt x="318" y="72"/>
                </a:lnTo>
                <a:lnTo>
                  <a:pt x="318" y="78"/>
                </a:lnTo>
                <a:lnTo>
                  <a:pt x="324" y="78"/>
                </a:lnTo>
                <a:lnTo>
                  <a:pt x="324" y="84"/>
                </a:lnTo>
                <a:lnTo>
                  <a:pt x="318" y="84"/>
                </a:lnTo>
                <a:lnTo>
                  <a:pt x="318" y="90"/>
                </a:lnTo>
                <a:lnTo>
                  <a:pt x="312" y="90"/>
                </a:lnTo>
                <a:lnTo>
                  <a:pt x="312" y="96"/>
                </a:lnTo>
                <a:lnTo>
                  <a:pt x="318" y="96"/>
                </a:lnTo>
                <a:lnTo>
                  <a:pt x="312" y="96"/>
                </a:lnTo>
                <a:lnTo>
                  <a:pt x="312" y="102"/>
                </a:lnTo>
                <a:lnTo>
                  <a:pt x="306" y="102"/>
                </a:lnTo>
                <a:lnTo>
                  <a:pt x="300" y="102"/>
                </a:lnTo>
                <a:lnTo>
                  <a:pt x="300" y="108"/>
                </a:lnTo>
                <a:lnTo>
                  <a:pt x="294" y="108"/>
                </a:lnTo>
                <a:lnTo>
                  <a:pt x="294" y="114"/>
                </a:lnTo>
                <a:lnTo>
                  <a:pt x="288" y="114"/>
                </a:lnTo>
                <a:lnTo>
                  <a:pt x="288" y="120"/>
                </a:lnTo>
                <a:lnTo>
                  <a:pt x="288" y="126"/>
                </a:lnTo>
                <a:lnTo>
                  <a:pt x="294" y="126"/>
                </a:lnTo>
                <a:lnTo>
                  <a:pt x="294" y="132"/>
                </a:lnTo>
                <a:lnTo>
                  <a:pt x="288" y="132"/>
                </a:lnTo>
                <a:lnTo>
                  <a:pt x="288" y="138"/>
                </a:lnTo>
                <a:lnTo>
                  <a:pt x="288" y="144"/>
                </a:lnTo>
                <a:lnTo>
                  <a:pt x="294" y="144"/>
                </a:lnTo>
                <a:lnTo>
                  <a:pt x="300" y="144"/>
                </a:lnTo>
                <a:lnTo>
                  <a:pt x="300" y="150"/>
                </a:lnTo>
                <a:lnTo>
                  <a:pt x="306" y="150"/>
                </a:lnTo>
                <a:lnTo>
                  <a:pt x="306" y="156"/>
                </a:lnTo>
                <a:lnTo>
                  <a:pt x="312" y="156"/>
                </a:lnTo>
                <a:lnTo>
                  <a:pt x="318" y="156"/>
                </a:lnTo>
                <a:lnTo>
                  <a:pt x="318" y="162"/>
                </a:lnTo>
                <a:lnTo>
                  <a:pt x="324" y="168"/>
                </a:lnTo>
                <a:lnTo>
                  <a:pt x="318" y="174"/>
                </a:lnTo>
                <a:lnTo>
                  <a:pt x="318" y="180"/>
                </a:lnTo>
                <a:lnTo>
                  <a:pt x="318" y="186"/>
                </a:lnTo>
                <a:lnTo>
                  <a:pt x="318" y="192"/>
                </a:lnTo>
                <a:lnTo>
                  <a:pt x="318" y="198"/>
                </a:lnTo>
                <a:lnTo>
                  <a:pt x="318" y="204"/>
                </a:lnTo>
                <a:lnTo>
                  <a:pt x="318" y="210"/>
                </a:lnTo>
                <a:lnTo>
                  <a:pt x="324" y="210"/>
                </a:lnTo>
                <a:lnTo>
                  <a:pt x="318" y="210"/>
                </a:lnTo>
                <a:lnTo>
                  <a:pt x="318" y="216"/>
                </a:lnTo>
                <a:lnTo>
                  <a:pt x="318" y="222"/>
                </a:lnTo>
                <a:lnTo>
                  <a:pt x="312" y="222"/>
                </a:lnTo>
                <a:lnTo>
                  <a:pt x="318" y="222"/>
                </a:lnTo>
                <a:lnTo>
                  <a:pt x="318" y="228"/>
                </a:lnTo>
                <a:lnTo>
                  <a:pt x="318" y="234"/>
                </a:lnTo>
                <a:lnTo>
                  <a:pt x="312" y="240"/>
                </a:lnTo>
                <a:lnTo>
                  <a:pt x="306" y="240"/>
                </a:lnTo>
                <a:lnTo>
                  <a:pt x="306" y="246"/>
                </a:lnTo>
                <a:lnTo>
                  <a:pt x="306" y="252"/>
                </a:lnTo>
                <a:lnTo>
                  <a:pt x="300" y="252"/>
                </a:lnTo>
                <a:lnTo>
                  <a:pt x="306" y="258"/>
                </a:lnTo>
                <a:lnTo>
                  <a:pt x="306" y="264"/>
                </a:lnTo>
                <a:lnTo>
                  <a:pt x="300" y="264"/>
                </a:lnTo>
                <a:lnTo>
                  <a:pt x="300" y="270"/>
                </a:lnTo>
                <a:lnTo>
                  <a:pt x="294" y="270"/>
                </a:lnTo>
                <a:lnTo>
                  <a:pt x="288" y="270"/>
                </a:lnTo>
                <a:lnTo>
                  <a:pt x="288" y="264"/>
                </a:lnTo>
                <a:lnTo>
                  <a:pt x="288" y="258"/>
                </a:lnTo>
                <a:lnTo>
                  <a:pt x="288" y="252"/>
                </a:lnTo>
                <a:lnTo>
                  <a:pt x="282" y="252"/>
                </a:lnTo>
                <a:lnTo>
                  <a:pt x="276" y="252"/>
                </a:lnTo>
                <a:lnTo>
                  <a:pt x="276" y="258"/>
                </a:lnTo>
                <a:lnTo>
                  <a:pt x="270" y="258"/>
                </a:lnTo>
                <a:lnTo>
                  <a:pt x="270" y="264"/>
                </a:lnTo>
                <a:lnTo>
                  <a:pt x="264" y="264"/>
                </a:lnTo>
                <a:lnTo>
                  <a:pt x="258" y="264"/>
                </a:lnTo>
                <a:lnTo>
                  <a:pt x="252" y="264"/>
                </a:lnTo>
                <a:lnTo>
                  <a:pt x="246" y="264"/>
                </a:lnTo>
                <a:lnTo>
                  <a:pt x="240" y="264"/>
                </a:lnTo>
                <a:lnTo>
                  <a:pt x="240" y="258"/>
                </a:lnTo>
                <a:lnTo>
                  <a:pt x="240" y="252"/>
                </a:lnTo>
                <a:lnTo>
                  <a:pt x="234" y="252"/>
                </a:lnTo>
                <a:lnTo>
                  <a:pt x="234" y="246"/>
                </a:lnTo>
                <a:lnTo>
                  <a:pt x="228" y="246"/>
                </a:lnTo>
                <a:lnTo>
                  <a:pt x="228" y="240"/>
                </a:lnTo>
                <a:lnTo>
                  <a:pt x="228" y="234"/>
                </a:lnTo>
                <a:lnTo>
                  <a:pt x="222" y="234"/>
                </a:lnTo>
                <a:lnTo>
                  <a:pt x="216" y="234"/>
                </a:lnTo>
                <a:lnTo>
                  <a:pt x="210" y="240"/>
                </a:lnTo>
                <a:lnTo>
                  <a:pt x="210" y="234"/>
                </a:lnTo>
                <a:lnTo>
                  <a:pt x="210" y="240"/>
                </a:lnTo>
                <a:lnTo>
                  <a:pt x="210" y="246"/>
                </a:lnTo>
                <a:lnTo>
                  <a:pt x="210" y="252"/>
                </a:lnTo>
                <a:lnTo>
                  <a:pt x="210" y="258"/>
                </a:lnTo>
                <a:lnTo>
                  <a:pt x="210" y="264"/>
                </a:lnTo>
                <a:lnTo>
                  <a:pt x="204" y="264"/>
                </a:lnTo>
                <a:lnTo>
                  <a:pt x="198" y="264"/>
                </a:lnTo>
                <a:lnTo>
                  <a:pt x="192" y="264"/>
                </a:lnTo>
                <a:lnTo>
                  <a:pt x="186" y="270"/>
                </a:lnTo>
                <a:lnTo>
                  <a:pt x="186" y="264"/>
                </a:lnTo>
                <a:lnTo>
                  <a:pt x="180" y="264"/>
                </a:lnTo>
                <a:lnTo>
                  <a:pt x="174" y="264"/>
                </a:lnTo>
                <a:lnTo>
                  <a:pt x="168" y="270"/>
                </a:lnTo>
                <a:lnTo>
                  <a:pt x="168" y="264"/>
                </a:lnTo>
                <a:lnTo>
                  <a:pt x="162" y="264"/>
                </a:lnTo>
                <a:lnTo>
                  <a:pt x="162" y="258"/>
                </a:lnTo>
                <a:lnTo>
                  <a:pt x="162" y="264"/>
                </a:lnTo>
                <a:lnTo>
                  <a:pt x="162" y="270"/>
                </a:lnTo>
                <a:lnTo>
                  <a:pt x="162" y="276"/>
                </a:lnTo>
                <a:lnTo>
                  <a:pt x="168" y="276"/>
                </a:lnTo>
                <a:lnTo>
                  <a:pt x="168" y="282"/>
                </a:lnTo>
                <a:lnTo>
                  <a:pt x="162" y="282"/>
                </a:lnTo>
                <a:lnTo>
                  <a:pt x="162" y="288"/>
                </a:lnTo>
                <a:lnTo>
                  <a:pt x="168" y="288"/>
                </a:lnTo>
                <a:lnTo>
                  <a:pt x="174" y="288"/>
                </a:lnTo>
                <a:lnTo>
                  <a:pt x="174" y="294"/>
                </a:lnTo>
                <a:lnTo>
                  <a:pt x="180" y="294"/>
                </a:lnTo>
                <a:lnTo>
                  <a:pt x="186" y="294"/>
                </a:lnTo>
                <a:lnTo>
                  <a:pt x="186" y="300"/>
                </a:lnTo>
                <a:lnTo>
                  <a:pt x="186" y="306"/>
                </a:lnTo>
                <a:lnTo>
                  <a:pt x="180" y="306"/>
                </a:lnTo>
                <a:lnTo>
                  <a:pt x="180" y="312"/>
                </a:lnTo>
                <a:lnTo>
                  <a:pt x="186" y="312"/>
                </a:lnTo>
                <a:lnTo>
                  <a:pt x="186" y="318"/>
                </a:lnTo>
                <a:lnTo>
                  <a:pt x="180" y="324"/>
                </a:lnTo>
                <a:lnTo>
                  <a:pt x="174" y="330"/>
                </a:lnTo>
                <a:lnTo>
                  <a:pt x="180" y="330"/>
                </a:lnTo>
                <a:lnTo>
                  <a:pt x="180" y="336"/>
                </a:lnTo>
                <a:lnTo>
                  <a:pt x="174" y="342"/>
                </a:lnTo>
                <a:lnTo>
                  <a:pt x="174" y="336"/>
                </a:lnTo>
                <a:lnTo>
                  <a:pt x="168" y="336"/>
                </a:lnTo>
                <a:lnTo>
                  <a:pt x="162" y="336"/>
                </a:lnTo>
                <a:lnTo>
                  <a:pt x="162" y="330"/>
                </a:lnTo>
                <a:lnTo>
                  <a:pt x="156" y="330"/>
                </a:lnTo>
                <a:lnTo>
                  <a:pt x="150" y="330"/>
                </a:lnTo>
                <a:lnTo>
                  <a:pt x="144" y="330"/>
                </a:lnTo>
                <a:lnTo>
                  <a:pt x="144" y="336"/>
                </a:lnTo>
                <a:lnTo>
                  <a:pt x="138" y="336"/>
                </a:lnTo>
                <a:lnTo>
                  <a:pt x="138" y="342"/>
                </a:lnTo>
                <a:lnTo>
                  <a:pt x="138" y="348"/>
                </a:lnTo>
                <a:lnTo>
                  <a:pt x="138" y="354"/>
                </a:lnTo>
                <a:close/>
                <a:moveTo>
                  <a:pt x="48" y="114"/>
                </a:moveTo>
                <a:lnTo>
                  <a:pt x="48" y="120"/>
                </a:lnTo>
                <a:lnTo>
                  <a:pt x="49" y="120"/>
                </a:lnTo>
                <a:lnTo>
                  <a:pt x="48" y="114"/>
                </a:lnTo>
                <a:close/>
                <a:moveTo>
                  <a:pt x="6" y="180"/>
                </a:moveTo>
                <a:lnTo>
                  <a:pt x="6" y="186"/>
                </a:lnTo>
                <a:lnTo>
                  <a:pt x="7" y="186"/>
                </a:lnTo>
                <a:lnTo>
                  <a:pt x="6" y="180"/>
                </a:lnTo>
                <a:close/>
                <a:moveTo>
                  <a:pt x="36" y="84"/>
                </a:moveTo>
                <a:lnTo>
                  <a:pt x="36" y="90"/>
                </a:lnTo>
                <a:lnTo>
                  <a:pt x="37" y="90"/>
                </a:lnTo>
                <a:lnTo>
                  <a:pt x="36" y="84"/>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7" name="Freeform 51">
            <a:extLst>
              <a:ext uri="{FF2B5EF4-FFF2-40B4-BE49-F238E27FC236}">
                <a16:creationId xmlns:a16="http://schemas.microsoft.com/office/drawing/2014/main" id="{98163D44-41FE-3940-A41C-070B97536606}"/>
              </a:ext>
            </a:extLst>
          </p:cNvPr>
          <p:cNvSpPr>
            <a:spLocks noEditPoints="1"/>
          </p:cNvSpPr>
          <p:nvPr>
            <p:custDataLst>
              <p:tags r:id="rId45"/>
            </p:custDataLst>
          </p:nvPr>
        </p:nvSpPr>
        <p:spPr bwMode="gray">
          <a:xfrm>
            <a:off x="4295313" y="4755423"/>
            <a:ext cx="799565" cy="668145"/>
          </a:xfrm>
          <a:custGeom>
            <a:avLst/>
            <a:gdLst>
              <a:gd name="T0" fmla="*/ 182675 w 696"/>
              <a:gd name="T1" fmla="*/ 273684 h 774"/>
              <a:gd name="T2" fmla="*/ 172043 w 696"/>
              <a:gd name="T3" fmla="*/ 271743 h 774"/>
              <a:gd name="T4" fmla="*/ 159478 w 696"/>
              <a:gd name="T5" fmla="*/ 273684 h 774"/>
              <a:gd name="T6" fmla="*/ 140148 w 696"/>
              <a:gd name="T7" fmla="*/ 269802 h 774"/>
              <a:gd name="T8" fmla="*/ 123717 w 696"/>
              <a:gd name="T9" fmla="*/ 263008 h 774"/>
              <a:gd name="T10" fmla="*/ 65724 w 696"/>
              <a:gd name="T11" fmla="*/ 263008 h 774"/>
              <a:gd name="T12" fmla="*/ 37695 w 696"/>
              <a:gd name="T13" fmla="*/ 259126 h 774"/>
              <a:gd name="T14" fmla="*/ 23197 w 696"/>
              <a:gd name="T15" fmla="*/ 256214 h 774"/>
              <a:gd name="T16" fmla="*/ 8699 w 696"/>
              <a:gd name="T17" fmla="*/ 256214 h 774"/>
              <a:gd name="T18" fmla="*/ 1933 w 696"/>
              <a:gd name="T19" fmla="*/ 252333 h 774"/>
              <a:gd name="T20" fmla="*/ 3866 w 696"/>
              <a:gd name="T21" fmla="*/ 234864 h 774"/>
              <a:gd name="T22" fmla="*/ 8699 w 696"/>
              <a:gd name="T23" fmla="*/ 220305 h 774"/>
              <a:gd name="T24" fmla="*/ 12565 w 696"/>
              <a:gd name="T25" fmla="*/ 207689 h 774"/>
              <a:gd name="T26" fmla="*/ 17398 w 696"/>
              <a:gd name="T27" fmla="*/ 188279 h 774"/>
              <a:gd name="T28" fmla="*/ 17398 w 696"/>
              <a:gd name="T29" fmla="*/ 181485 h 774"/>
              <a:gd name="T30" fmla="*/ 26097 w 696"/>
              <a:gd name="T31" fmla="*/ 168868 h 774"/>
              <a:gd name="T32" fmla="*/ 40595 w 696"/>
              <a:gd name="T33" fmla="*/ 158193 h 774"/>
              <a:gd name="T34" fmla="*/ 42527 w 696"/>
              <a:gd name="T35" fmla="*/ 136842 h 774"/>
              <a:gd name="T36" fmla="*/ 40595 w 696"/>
              <a:gd name="T37" fmla="*/ 121313 h 774"/>
              <a:gd name="T38" fmla="*/ 33829 w 696"/>
              <a:gd name="T39" fmla="*/ 111608 h 774"/>
              <a:gd name="T40" fmla="*/ 27063 w 696"/>
              <a:gd name="T41" fmla="*/ 94139 h 774"/>
              <a:gd name="T42" fmla="*/ 29963 w 696"/>
              <a:gd name="T43" fmla="*/ 90258 h 774"/>
              <a:gd name="T44" fmla="*/ 33829 w 696"/>
              <a:gd name="T45" fmla="*/ 76670 h 774"/>
              <a:gd name="T46" fmla="*/ 26097 w 696"/>
              <a:gd name="T47" fmla="*/ 57260 h 774"/>
              <a:gd name="T48" fmla="*/ 17398 w 696"/>
              <a:gd name="T49" fmla="*/ 42703 h 774"/>
              <a:gd name="T50" fmla="*/ 14498 w 696"/>
              <a:gd name="T51" fmla="*/ 33968 h 774"/>
              <a:gd name="T52" fmla="*/ 27063 w 696"/>
              <a:gd name="T53" fmla="*/ 27174 h 774"/>
              <a:gd name="T54" fmla="*/ 46394 w 696"/>
              <a:gd name="T55" fmla="*/ 27174 h 774"/>
              <a:gd name="T56" fmla="*/ 63792 w 696"/>
              <a:gd name="T57" fmla="*/ 30086 h 774"/>
              <a:gd name="T58" fmla="*/ 85055 w 696"/>
              <a:gd name="T59" fmla="*/ 30086 h 774"/>
              <a:gd name="T60" fmla="*/ 97620 w 696"/>
              <a:gd name="T61" fmla="*/ 32027 h 774"/>
              <a:gd name="T62" fmla="*/ 99553 w 696"/>
              <a:gd name="T63" fmla="*/ 42703 h 774"/>
              <a:gd name="T64" fmla="*/ 104386 w 696"/>
              <a:gd name="T65" fmla="*/ 56289 h 774"/>
              <a:gd name="T66" fmla="*/ 110185 w 696"/>
              <a:gd name="T67" fmla="*/ 64053 h 774"/>
              <a:gd name="T68" fmla="*/ 120817 w 696"/>
              <a:gd name="T69" fmla="*/ 72788 h 774"/>
              <a:gd name="T70" fmla="*/ 134348 w 696"/>
              <a:gd name="T71" fmla="*/ 70848 h 774"/>
              <a:gd name="T72" fmla="*/ 152713 w 696"/>
              <a:gd name="T73" fmla="*/ 64053 h 774"/>
              <a:gd name="T74" fmla="*/ 163345 w 696"/>
              <a:gd name="T75" fmla="*/ 51437 h 774"/>
              <a:gd name="T76" fmla="*/ 175909 w 696"/>
              <a:gd name="T77" fmla="*/ 57260 h 774"/>
              <a:gd name="T78" fmla="*/ 202006 w 696"/>
              <a:gd name="T79" fmla="*/ 57260 h 774"/>
              <a:gd name="T80" fmla="*/ 202006 w 696"/>
              <a:gd name="T81" fmla="*/ 76670 h 774"/>
              <a:gd name="T82" fmla="*/ 202006 w 696"/>
              <a:gd name="T83" fmla="*/ 87346 h 774"/>
              <a:gd name="T84" fmla="*/ 203939 w 696"/>
              <a:gd name="T85" fmla="*/ 104815 h 774"/>
              <a:gd name="T86" fmla="*/ 209738 w 696"/>
              <a:gd name="T87" fmla="*/ 121313 h 774"/>
              <a:gd name="T88" fmla="*/ 212638 w 696"/>
              <a:gd name="T89" fmla="*/ 134901 h 774"/>
              <a:gd name="T90" fmla="*/ 227135 w 696"/>
              <a:gd name="T91" fmla="*/ 131989 h 774"/>
              <a:gd name="T92" fmla="*/ 241633 w 696"/>
              <a:gd name="T93" fmla="*/ 131989 h 774"/>
              <a:gd name="T94" fmla="*/ 243567 w 696"/>
              <a:gd name="T95" fmla="*/ 145576 h 774"/>
              <a:gd name="T96" fmla="*/ 241633 w 696"/>
              <a:gd name="T97" fmla="*/ 162075 h 774"/>
              <a:gd name="T98" fmla="*/ 203939 w 696"/>
              <a:gd name="T99" fmla="*/ 192161 h 774"/>
              <a:gd name="T100" fmla="*/ 207805 w 696"/>
              <a:gd name="T101" fmla="*/ 243598 h 774"/>
              <a:gd name="T102" fmla="*/ 218437 w 696"/>
              <a:gd name="T103" fmla="*/ 256214 h 774"/>
              <a:gd name="T104" fmla="*/ 231969 w 696"/>
              <a:gd name="T105" fmla="*/ 266890 h 774"/>
              <a:gd name="T106" fmla="*/ 17398 w 696"/>
              <a:gd name="T107" fmla="*/ 3882 h 774"/>
              <a:gd name="T108" fmla="*/ 27063 w 696"/>
              <a:gd name="T109" fmla="*/ 6793 h 774"/>
              <a:gd name="T110" fmla="*/ 17398 w 696"/>
              <a:gd name="T111" fmla="*/ 19410 h 774"/>
              <a:gd name="T112" fmla="*/ 12565 w 696"/>
              <a:gd name="T113" fmla="*/ 21351 h 774"/>
              <a:gd name="T114" fmla="*/ 1933 w 696"/>
              <a:gd name="T115" fmla="*/ 250391 h 774"/>
              <a:gd name="T116" fmla="*/ 21264 w 696"/>
              <a:gd name="T117" fmla="*/ 30086 h 774"/>
              <a:gd name="T118" fmla="*/ 23197 w 696"/>
              <a:gd name="T119" fmla="*/ 3202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6" h="774">
                <a:moveTo>
                  <a:pt x="654" y="750"/>
                </a:moveTo>
                <a:lnTo>
                  <a:pt x="648" y="750"/>
                </a:lnTo>
                <a:lnTo>
                  <a:pt x="630" y="756"/>
                </a:lnTo>
                <a:lnTo>
                  <a:pt x="564" y="768"/>
                </a:lnTo>
                <a:lnTo>
                  <a:pt x="546" y="774"/>
                </a:lnTo>
                <a:lnTo>
                  <a:pt x="540" y="774"/>
                </a:lnTo>
                <a:lnTo>
                  <a:pt x="540" y="768"/>
                </a:lnTo>
                <a:lnTo>
                  <a:pt x="534" y="768"/>
                </a:lnTo>
                <a:lnTo>
                  <a:pt x="528" y="768"/>
                </a:lnTo>
                <a:lnTo>
                  <a:pt x="522" y="768"/>
                </a:lnTo>
                <a:lnTo>
                  <a:pt x="516" y="768"/>
                </a:lnTo>
                <a:lnTo>
                  <a:pt x="516" y="774"/>
                </a:lnTo>
                <a:lnTo>
                  <a:pt x="510" y="774"/>
                </a:lnTo>
                <a:lnTo>
                  <a:pt x="504" y="774"/>
                </a:lnTo>
                <a:lnTo>
                  <a:pt x="498" y="774"/>
                </a:lnTo>
                <a:lnTo>
                  <a:pt x="498" y="768"/>
                </a:lnTo>
                <a:lnTo>
                  <a:pt x="498" y="774"/>
                </a:lnTo>
                <a:lnTo>
                  <a:pt x="498" y="768"/>
                </a:lnTo>
                <a:lnTo>
                  <a:pt x="498" y="774"/>
                </a:lnTo>
                <a:lnTo>
                  <a:pt x="492" y="768"/>
                </a:lnTo>
                <a:lnTo>
                  <a:pt x="486" y="768"/>
                </a:lnTo>
                <a:lnTo>
                  <a:pt x="486" y="762"/>
                </a:lnTo>
                <a:lnTo>
                  <a:pt x="480" y="762"/>
                </a:lnTo>
                <a:lnTo>
                  <a:pt x="480" y="768"/>
                </a:lnTo>
                <a:lnTo>
                  <a:pt x="480" y="762"/>
                </a:lnTo>
                <a:lnTo>
                  <a:pt x="480" y="768"/>
                </a:lnTo>
                <a:lnTo>
                  <a:pt x="474" y="768"/>
                </a:lnTo>
                <a:lnTo>
                  <a:pt x="468" y="768"/>
                </a:lnTo>
                <a:lnTo>
                  <a:pt x="462" y="768"/>
                </a:lnTo>
                <a:lnTo>
                  <a:pt x="462" y="762"/>
                </a:lnTo>
                <a:lnTo>
                  <a:pt x="462" y="768"/>
                </a:lnTo>
                <a:lnTo>
                  <a:pt x="456" y="768"/>
                </a:lnTo>
                <a:lnTo>
                  <a:pt x="450" y="768"/>
                </a:lnTo>
                <a:lnTo>
                  <a:pt x="450" y="762"/>
                </a:lnTo>
                <a:lnTo>
                  <a:pt x="444" y="762"/>
                </a:lnTo>
                <a:lnTo>
                  <a:pt x="438" y="762"/>
                </a:lnTo>
                <a:lnTo>
                  <a:pt x="432" y="762"/>
                </a:lnTo>
                <a:lnTo>
                  <a:pt x="426" y="762"/>
                </a:lnTo>
                <a:lnTo>
                  <a:pt x="420" y="762"/>
                </a:lnTo>
                <a:lnTo>
                  <a:pt x="414" y="762"/>
                </a:lnTo>
                <a:lnTo>
                  <a:pt x="408" y="762"/>
                </a:lnTo>
                <a:lnTo>
                  <a:pt x="402" y="762"/>
                </a:lnTo>
                <a:lnTo>
                  <a:pt x="396" y="762"/>
                </a:lnTo>
                <a:lnTo>
                  <a:pt x="396" y="756"/>
                </a:lnTo>
                <a:lnTo>
                  <a:pt x="390" y="756"/>
                </a:lnTo>
                <a:lnTo>
                  <a:pt x="390" y="750"/>
                </a:lnTo>
                <a:lnTo>
                  <a:pt x="384" y="750"/>
                </a:lnTo>
                <a:lnTo>
                  <a:pt x="384" y="744"/>
                </a:lnTo>
                <a:lnTo>
                  <a:pt x="378" y="744"/>
                </a:lnTo>
                <a:lnTo>
                  <a:pt x="378" y="738"/>
                </a:lnTo>
                <a:lnTo>
                  <a:pt x="372" y="738"/>
                </a:lnTo>
                <a:lnTo>
                  <a:pt x="366" y="738"/>
                </a:lnTo>
                <a:lnTo>
                  <a:pt x="360" y="738"/>
                </a:lnTo>
                <a:lnTo>
                  <a:pt x="354" y="738"/>
                </a:lnTo>
                <a:lnTo>
                  <a:pt x="348" y="738"/>
                </a:lnTo>
                <a:lnTo>
                  <a:pt x="342" y="738"/>
                </a:lnTo>
                <a:lnTo>
                  <a:pt x="336" y="738"/>
                </a:lnTo>
                <a:lnTo>
                  <a:pt x="330" y="738"/>
                </a:lnTo>
                <a:lnTo>
                  <a:pt x="324" y="738"/>
                </a:lnTo>
                <a:lnTo>
                  <a:pt x="318" y="738"/>
                </a:lnTo>
                <a:lnTo>
                  <a:pt x="312" y="738"/>
                </a:lnTo>
                <a:lnTo>
                  <a:pt x="306" y="738"/>
                </a:lnTo>
                <a:lnTo>
                  <a:pt x="300" y="738"/>
                </a:lnTo>
                <a:lnTo>
                  <a:pt x="210" y="738"/>
                </a:lnTo>
                <a:lnTo>
                  <a:pt x="198" y="738"/>
                </a:lnTo>
                <a:lnTo>
                  <a:pt x="186" y="738"/>
                </a:lnTo>
                <a:lnTo>
                  <a:pt x="168" y="738"/>
                </a:lnTo>
                <a:lnTo>
                  <a:pt x="150" y="738"/>
                </a:lnTo>
                <a:lnTo>
                  <a:pt x="144" y="738"/>
                </a:lnTo>
                <a:lnTo>
                  <a:pt x="138" y="738"/>
                </a:lnTo>
                <a:lnTo>
                  <a:pt x="132" y="738"/>
                </a:lnTo>
                <a:lnTo>
                  <a:pt x="126" y="738"/>
                </a:lnTo>
                <a:lnTo>
                  <a:pt x="126" y="732"/>
                </a:lnTo>
                <a:lnTo>
                  <a:pt x="120" y="732"/>
                </a:lnTo>
                <a:lnTo>
                  <a:pt x="114" y="732"/>
                </a:lnTo>
                <a:lnTo>
                  <a:pt x="114" y="726"/>
                </a:lnTo>
                <a:lnTo>
                  <a:pt x="108" y="726"/>
                </a:lnTo>
                <a:lnTo>
                  <a:pt x="108" y="720"/>
                </a:lnTo>
                <a:lnTo>
                  <a:pt x="102" y="720"/>
                </a:lnTo>
                <a:lnTo>
                  <a:pt x="108" y="720"/>
                </a:lnTo>
                <a:lnTo>
                  <a:pt x="102" y="720"/>
                </a:lnTo>
                <a:lnTo>
                  <a:pt x="102" y="714"/>
                </a:lnTo>
                <a:lnTo>
                  <a:pt x="96" y="714"/>
                </a:lnTo>
                <a:lnTo>
                  <a:pt x="90" y="714"/>
                </a:lnTo>
                <a:lnTo>
                  <a:pt x="84" y="714"/>
                </a:lnTo>
                <a:lnTo>
                  <a:pt x="78" y="714"/>
                </a:lnTo>
                <a:lnTo>
                  <a:pt x="72" y="714"/>
                </a:lnTo>
                <a:lnTo>
                  <a:pt x="66" y="720"/>
                </a:lnTo>
                <a:lnTo>
                  <a:pt x="60" y="720"/>
                </a:lnTo>
                <a:lnTo>
                  <a:pt x="60" y="726"/>
                </a:lnTo>
                <a:lnTo>
                  <a:pt x="54" y="726"/>
                </a:lnTo>
                <a:lnTo>
                  <a:pt x="48" y="726"/>
                </a:lnTo>
                <a:lnTo>
                  <a:pt x="48" y="732"/>
                </a:lnTo>
                <a:lnTo>
                  <a:pt x="42" y="732"/>
                </a:lnTo>
                <a:lnTo>
                  <a:pt x="42" y="726"/>
                </a:lnTo>
                <a:lnTo>
                  <a:pt x="36" y="726"/>
                </a:lnTo>
                <a:lnTo>
                  <a:pt x="30" y="726"/>
                </a:lnTo>
                <a:lnTo>
                  <a:pt x="24" y="726"/>
                </a:lnTo>
                <a:lnTo>
                  <a:pt x="24" y="720"/>
                </a:lnTo>
                <a:lnTo>
                  <a:pt x="24" y="726"/>
                </a:lnTo>
                <a:lnTo>
                  <a:pt x="24" y="720"/>
                </a:lnTo>
                <a:lnTo>
                  <a:pt x="24" y="726"/>
                </a:lnTo>
                <a:lnTo>
                  <a:pt x="18" y="726"/>
                </a:lnTo>
                <a:lnTo>
                  <a:pt x="12" y="726"/>
                </a:lnTo>
                <a:lnTo>
                  <a:pt x="12" y="732"/>
                </a:lnTo>
                <a:lnTo>
                  <a:pt x="6" y="732"/>
                </a:lnTo>
                <a:lnTo>
                  <a:pt x="6" y="726"/>
                </a:lnTo>
                <a:lnTo>
                  <a:pt x="6" y="720"/>
                </a:lnTo>
                <a:lnTo>
                  <a:pt x="6" y="714"/>
                </a:lnTo>
                <a:lnTo>
                  <a:pt x="6" y="708"/>
                </a:lnTo>
                <a:lnTo>
                  <a:pt x="6" y="702"/>
                </a:lnTo>
                <a:lnTo>
                  <a:pt x="12" y="702"/>
                </a:lnTo>
                <a:lnTo>
                  <a:pt x="12" y="696"/>
                </a:lnTo>
                <a:lnTo>
                  <a:pt x="12" y="690"/>
                </a:lnTo>
                <a:lnTo>
                  <a:pt x="12" y="684"/>
                </a:lnTo>
                <a:lnTo>
                  <a:pt x="12" y="678"/>
                </a:lnTo>
                <a:lnTo>
                  <a:pt x="12" y="672"/>
                </a:lnTo>
                <a:lnTo>
                  <a:pt x="12" y="666"/>
                </a:lnTo>
                <a:lnTo>
                  <a:pt x="6" y="666"/>
                </a:lnTo>
                <a:lnTo>
                  <a:pt x="6" y="660"/>
                </a:lnTo>
                <a:lnTo>
                  <a:pt x="12" y="660"/>
                </a:lnTo>
                <a:lnTo>
                  <a:pt x="12" y="654"/>
                </a:lnTo>
                <a:lnTo>
                  <a:pt x="6" y="654"/>
                </a:lnTo>
                <a:lnTo>
                  <a:pt x="6" y="648"/>
                </a:lnTo>
                <a:lnTo>
                  <a:pt x="6" y="642"/>
                </a:lnTo>
                <a:lnTo>
                  <a:pt x="12" y="642"/>
                </a:lnTo>
                <a:lnTo>
                  <a:pt x="18" y="642"/>
                </a:lnTo>
                <a:lnTo>
                  <a:pt x="18" y="636"/>
                </a:lnTo>
                <a:lnTo>
                  <a:pt x="18" y="630"/>
                </a:lnTo>
                <a:lnTo>
                  <a:pt x="24" y="630"/>
                </a:lnTo>
                <a:lnTo>
                  <a:pt x="24" y="624"/>
                </a:lnTo>
                <a:lnTo>
                  <a:pt x="24" y="618"/>
                </a:lnTo>
                <a:lnTo>
                  <a:pt x="24" y="612"/>
                </a:lnTo>
                <a:lnTo>
                  <a:pt x="30" y="606"/>
                </a:lnTo>
                <a:lnTo>
                  <a:pt x="30" y="612"/>
                </a:lnTo>
                <a:lnTo>
                  <a:pt x="30" y="606"/>
                </a:lnTo>
                <a:lnTo>
                  <a:pt x="24" y="606"/>
                </a:lnTo>
                <a:lnTo>
                  <a:pt x="30" y="606"/>
                </a:lnTo>
                <a:lnTo>
                  <a:pt x="30" y="600"/>
                </a:lnTo>
                <a:lnTo>
                  <a:pt x="30" y="594"/>
                </a:lnTo>
                <a:lnTo>
                  <a:pt x="30" y="588"/>
                </a:lnTo>
                <a:lnTo>
                  <a:pt x="36" y="588"/>
                </a:lnTo>
                <a:lnTo>
                  <a:pt x="36" y="582"/>
                </a:lnTo>
                <a:lnTo>
                  <a:pt x="36" y="576"/>
                </a:lnTo>
                <a:lnTo>
                  <a:pt x="36" y="570"/>
                </a:lnTo>
                <a:lnTo>
                  <a:pt x="42" y="570"/>
                </a:lnTo>
                <a:lnTo>
                  <a:pt x="42" y="564"/>
                </a:lnTo>
                <a:lnTo>
                  <a:pt x="42" y="558"/>
                </a:lnTo>
                <a:lnTo>
                  <a:pt x="42" y="552"/>
                </a:lnTo>
                <a:lnTo>
                  <a:pt x="42" y="546"/>
                </a:lnTo>
                <a:lnTo>
                  <a:pt x="42" y="540"/>
                </a:lnTo>
                <a:lnTo>
                  <a:pt x="42" y="534"/>
                </a:lnTo>
                <a:lnTo>
                  <a:pt x="48" y="534"/>
                </a:lnTo>
                <a:lnTo>
                  <a:pt x="48" y="528"/>
                </a:lnTo>
                <a:lnTo>
                  <a:pt x="48" y="522"/>
                </a:lnTo>
                <a:lnTo>
                  <a:pt x="48" y="516"/>
                </a:lnTo>
                <a:lnTo>
                  <a:pt x="54" y="516"/>
                </a:lnTo>
                <a:lnTo>
                  <a:pt x="48" y="516"/>
                </a:lnTo>
                <a:lnTo>
                  <a:pt x="54" y="516"/>
                </a:lnTo>
                <a:lnTo>
                  <a:pt x="48" y="516"/>
                </a:lnTo>
                <a:lnTo>
                  <a:pt x="48" y="510"/>
                </a:lnTo>
                <a:lnTo>
                  <a:pt x="54" y="510"/>
                </a:lnTo>
                <a:lnTo>
                  <a:pt x="48" y="510"/>
                </a:lnTo>
                <a:lnTo>
                  <a:pt x="48" y="504"/>
                </a:lnTo>
                <a:lnTo>
                  <a:pt x="48" y="510"/>
                </a:lnTo>
                <a:lnTo>
                  <a:pt x="54" y="504"/>
                </a:lnTo>
                <a:lnTo>
                  <a:pt x="54" y="498"/>
                </a:lnTo>
                <a:lnTo>
                  <a:pt x="60" y="498"/>
                </a:lnTo>
                <a:lnTo>
                  <a:pt x="54" y="498"/>
                </a:lnTo>
                <a:lnTo>
                  <a:pt x="60" y="498"/>
                </a:lnTo>
                <a:lnTo>
                  <a:pt x="60" y="492"/>
                </a:lnTo>
                <a:lnTo>
                  <a:pt x="66" y="492"/>
                </a:lnTo>
                <a:lnTo>
                  <a:pt x="72" y="492"/>
                </a:lnTo>
                <a:lnTo>
                  <a:pt x="72" y="486"/>
                </a:lnTo>
                <a:lnTo>
                  <a:pt x="72" y="480"/>
                </a:lnTo>
                <a:lnTo>
                  <a:pt x="72" y="474"/>
                </a:lnTo>
                <a:lnTo>
                  <a:pt x="78" y="474"/>
                </a:lnTo>
                <a:lnTo>
                  <a:pt x="78" y="468"/>
                </a:lnTo>
                <a:lnTo>
                  <a:pt x="84" y="468"/>
                </a:lnTo>
                <a:lnTo>
                  <a:pt x="84" y="462"/>
                </a:lnTo>
                <a:lnTo>
                  <a:pt x="90" y="462"/>
                </a:lnTo>
                <a:lnTo>
                  <a:pt x="96" y="462"/>
                </a:lnTo>
                <a:lnTo>
                  <a:pt x="96" y="456"/>
                </a:lnTo>
                <a:lnTo>
                  <a:pt x="102" y="456"/>
                </a:lnTo>
                <a:lnTo>
                  <a:pt x="102" y="450"/>
                </a:lnTo>
                <a:lnTo>
                  <a:pt x="108" y="444"/>
                </a:lnTo>
                <a:lnTo>
                  <a:pt x="114" y="444"/>
                </a:lnTo>
                <a:lnTo>
                  <a:pt x="114" y="438"/>
                </a:lnTo>
                <a:lnTo>
                  <a:pt x="114" y="432"/>
                </a:lnTo>
                <a:lnTo>
                  <a:pt x="114" y="426"/>
                </a:lnTo>
                <a:lnTo>
                  <a:pt x="120" y="426"/>
                </a:lnTo>
                <a:lnTo>
                  <a:pt x="120" y="420"/>
                </a:lnTo>
                <a:lnTo>
                  <a:pt x="120" y="414"/>
                </a:lnTo>
                <a:lnTo>
                  <a:pt x="120" y="408"/>
                </a:lnTo>
                <a:lnTo>
                  <a:pt x="120" y="402"/>
                </a:lnTo>
                <a:lnTo>
                  <a:pt x="120" y="396"/>
                </a:lnTo>
                <a:lnTo>
                  <a:pt x="120" y="390"/>
                </a:lnTo>
                <a:lnTo>
                  <a:pt x="120" y="384"/>
                </a:lnTo>
                <a:lnTo>
                  <a:pt x="120" y="378"/>
                </a:lnTo>
                <a:lnTo>
                  <a:pt x="126" y="378"/>
                </a:lnTo>
                <a:lnTo>
                  <a:pt x="126" y="372"/>
                </a:lnTo>
                <a:lnTo>
                  <a:pt x="126" y="366"/>
                </a:lnTo>
                <a:lnTo>
                  <a:pt x="120" y="366"/>
                </a:lnTo>
                <a:lnTo>
                  <a:pt x="120" y="360"/>
                </a:lnTo>
                <a:lnTo>
                  <a:pt x="114" y="354"/>
                </a:lnTo>
                <a:lnTo>
                  <a:pt x="120" y="354"/>
                </a:lnTo>
                <a:lnTo>
                  <a:pt x="120" y="348"/>
                </a:lnTo>
                <a:lnTo>
                  <a:pt x="114" y="348"/>
                </a:lnTo>
                <a:lnTo>
                  <a:pt x="114" y="342"/>
                </a:lnTo>
                <a:lnTo>
                  <a:pt x="108" y="342"/>
                </a:lnTo>
                <a:lnTo>
                  <a:pt x="108" y="336"/>
                </a:lnTo>
                <a:lnTo>
                  <a:pt x="108" y="330"/>
                </a:lnTo>
                <a:lnTo>
                  <a:pt x="102" y="330"/>
                </a:lnTo>
                <a:lnTo>
                  <a:pt x="102" y="324"/>
                </a:lnTo>
                <a:lnTo>
                  <a:pt x="108" y="330"/>
                </a:lnTo>
                <a:lnTo>
                  <a:pt x="102" y="330"/>
                </a:lnTo>
                <a:lnTo>
                  <a:pt x="102" y="324"/>
                </a:lnTo>
                <a:lnTo>
                  <a:pt x="102" y="318"/>
                </a:lnTo>
                <a:lnTo>
                  <a:pt x="96" y="318"/>
                </a:lnTo>
                <a:lnTo>
                  <a:pt x="96" y="312"/>
                </a:lnTo>
                <a:lnTo>
                  <a:pt x="96" y="306"/>
                </a:lnTo>
                <a:lnTo>
                  <a:pt x="90" y="300"/>
                </a:lnTo>
                <a:lnTo>
                  <a:pt x="90" y="294"/>
                </a:lnTo>
                <a:lnTo>
                  <a:pt x="90" y="288"/>
                </a:lnTo>
                <a:lnTo>
                  <a:pt x="84" y="288"/>
                </a:lnTo>
                <a:lnTo>
                  <a:pt x="90" y="288"/>
                </a:lnTo>
                <a:lnTo>
                  <a:pt x="84" y="282"/>
                </a:lnTo>
                <a:lnTo>
                  <a:pt x="84" y="276"/>
                </a:lnTo>
                <a:lnTo>
                  <a:pt x="84" y="270"/>
                </a:lnTo>
                <a:lnTo>
                  <a:pt x="78" y="270"/>
                </a:lnTo>
                <a:lnTo>
                  <a:pt x="78" y="264"/>
                </a:lnTo>
                <a:lnTo>
                  <a:pt x="78" y="258"/>
                </a:lnTo>
                <a:lnTo>
                  <a:pt x="78" y="252"/>
                </a:lnTo>
                <a:lnTo>
                  <a:pt x="84" y="252"/>
                </a:lnTo>
                <a:lnTo>
                  <a:pt x="84" y="246"/>
                </a:lnTo>
                <a:lnTo>
                  <a:pt x="84" y="252"/>
                </a:lnTo>
                <a:lnTo>
                  <a:pt x="78" y="252"/>
                </a:lnTo>
                <a:lnTo>
                  <a:pt x="78" y="258"/>
                </a:lnTo>
                <a:lnTo>
                  <a:pt x="78" y="264"/>
                </a:lnTo>
                <a:lnTo>
                  <a:pt x="78" y="258"/>
                </a:lnTo>
                <a:lnTo>
                  <a:pt x="84" y="258"/>
                </a:lnTo>
                <a:lnTo>
                  <a:pt x="84" y="252"/>
                </a:lnTo>
                <a:lnTo>
                  <a:pt x="90" y="246"/>
                </a:lnTo>
                <a:lnTo>
                  <a:pt x="90" y="240"/>
                </a:lnTo>
                <a:lnTo>
                  <a:pt x="96" y="240"/>
                </a:lnTo>
                <a:lnTo>
                  <a:pt x="96" y="246"/>
                </a:lnTo>
                <a:lnTo>
                  <a:pt x="96" y="240"/>
                </a:lnTo>
                <a:lnTo>
                  <a:pt x="102" y="240"/>
                </a:lnTo>
                <a:lnTo>
                  <a:pt x="102" y="234"/>
                </a:lnTo>
                <a:lnTo>
                  <a:pt x="96" y="234"/>
                </a:lnTo>
                <a:lnTo>
                  <a:pt x="96" y="228"/>
                </a:lnTo>
                <a:lnTo>
                  <a:pt x="96" y="222"/>
                </a:lnTo>
                <a:lnTo>
                  <a:pt x="96" y="216"/>
                </a:lnTo>
                <a:lnTo>
                  <a:pt x="90" y="210"/>
                </a:lnTo>
                <a:lnTo>
                  <a:pt x="90" y="204"/>
                </a:lnTo>
                <a:lnTo>
                  <a:pt x="84" y="198"/>
                </a:lnTo>
                <a:lnTo>
                  <a:pt x="84" y="192"/>
                </a:lnTo>
                <a:lnTo>
                  <a:pt x="84" y="186"/>
                </a:lnTo>
                <a:lnTo>
                  <a:pt x="78" y="186"/>
                </a:lnTo>
                <a:lnTo>
                  <a:pt x="78" y="180"/>
                </a:lnTo>
                <a:lnTo>
                  <a:pt x="78" y="174"/>
                </a:lnTo>
                <a:lnTo>
                  <a:pt x="72" y="174"/>
                </a:lnTo>
                <a:lnTo>
                  <a:pt x="72" y="168"/>
                </a:lnTo>
                <a:lnTo>
                  <a:pt x="72" y="162"/>
                </a:lnTo>
                <a:lnTo>
                  <a:pt x="66" y="162"/>
                </a:lnTo>
                <a:lnTo>
                  <a:pt x="66" y="156"/>
                </a:lnTo>
                <a:lnTo>
                  <a:pt x="66" y="150"/>
                </a:lnTo>
                <a:lnTo>
                  <a:pt x="66" y="144"/>
                </a:lnTo>
                <a:lnTo>
                  <a:pt x="66" y="138"/>
                </a:lnTo>
                <a:lnTo>
                  <a:pt x="60" y="138"/>
                </a:lnTo>
                <a:lnTo>
                  <a:pt x="60" y="132"/>
                </a:lnTo>
                <a:lnTo>
                  <a:pt x="54" y="132"/>
                </a:lnTo>
                <a:lnTo>
                  <a:pt x="54" y="126"/>
                </a:lnTo>
                <a:lnTo>
                  <a:pt x="54" y="120"/>
                </a:lnTo>
                <a:lnTo>
                  <a:pt x="48" y="120"/>
                </a:lnTo>
                <a:lnTo>
                  <a:pt x="48" y="114"/>
                </a:lnTo>
                <a:lnTo>
                  <a:pt x="42" y="108"/>
                </a:lnTo>
                <a:lnTo>
                  <a:pt x="42" y="102"/>
                </a:lnTo>
                <a:lnTo>
                  <a:pt x="36" y="102"/>
                </a:lnTo>
                <a:lnTo>
                  <a:pt x="36" y="96"/>
                </a:lnTo>
                <a:lnTo>
                  <a:pt x="36" y="90"/>
                </a:lnTo>
                <a:lnTo>
                  <a:pt x="42" y="90"/>
                </a:lnTo>
                <a:lnTo>
                  <a:pt x="36" y="96"/>
                </a:lnTo>
                <a:lnTo>
                  <a:pt x="42" y="96"/>
                </a:lnTo>
                <a:lnTo>
                  <a:pt x="36" y="96"/>
                </a:lnTo>
                <a:lnTo>
                  <a:pt x="42" y="96"/>
                </a:lnTo>
                <a:lnTo>
                  <a:pt x="48" y="96"/>
                </a:lnTo>
                <a:lnTo>
                  <a:pt x="48" y="90"/>
                </a:lnTo>
                <a:lnTo>
                  <a:pt x="48" y="96"/>
                </a:lnTo>
                <a:lnTo>
                  <a:pt x="48" y="90"/>
                </a:lnTo>
                <a:lnTo>
                  <a:pt x="54" y="90"/>
                </a:lnTo>
                <a:lnTo>
                  <a:pt x="60" y="90"/>
                </a:lnTo>
                <a:lnTo>
                  <a:pt x="66" y="90"/>
                </a:lnTo>
                <a:lnTo>
                  <a:pt x="72" y="90"/>
                </a:lnTo>
                <a:lnTo>
                  <a:pt x="72" y="84"/>
                </a:lnTo>
                <a:lnTo>
                  <a:pt x="78" y="84"/>
                </a:lnTo>
                <a:lnTo>
                  <a:pt x="78" y="78"/>
                </a:lnTo>
                <a:lnTo>
                  <a:pt x="78" y="84"/>
                </a:lnTo>
                <a:lnTo>
                  <a:pt x="84" y="84"/>
                </a:lnTo>
                <a:lnTo>
                  <a:pt x="90" y="78"/>
                </a:lnTo>
                <a:lnTo>
                  <a:pt x="96" y="84"/>
                </a:lnTo>
                <a:lnTo>
                  <a:pt x="96" y="78"/>
                </a:lnTo>
                <a:lnTo>
                  <a:pt x="102" y="78"/>
                </a:lnTo>
                <a:lnTo>
                  <a:pt x="108" y="84"/>
                </a:lnTo>
                <a:lnTo>
                  <a:pt x="114" y="84"/>
                </a:lnTo>
                <a:lnTo>
                  <a:pt x="120" y="84"/>
                </a:lnTo>
                <a:lnTo>
                  <a:pt x="126" y="78"/>
                </a:lnTo>
                <a:lnTo>
                  <a:pt x="132" y="78"/>
                </a:lnTo>
                <a:lnTo>
                  <a:pt x="132" y="84"/>
                </a:lnTo>
                <a:lnTo>
                  <a:pt x="138" y="84"/>
                </a:lnTo>
                <a:lnTo>
                  <a:pt x="138" y="78"/>
                </a:lnTo>
                <a:lnTo>
                  <a:pt x="144" y="78"/>
                </a:lnTo>
                <a:lnTo>
                  <a:pt x="144" y="84"/>
                </a:lnTo>
                <a:lnTo>
                  <a:pt x="150" y="84"/>
                </a:lnTo>
                <a:lnTo>
                  <a:pt x="156" y="84"/>
                </a:lnTo>
                <a:lnTo>
                  <a:pt x="162" y="84"/>
                </a:lnTo>
                <a:lnTo>
                  <a:pt x="168" y="84"/>
                </a:lnTo>
                <a:lnTo>
                  <a:pt x="174" y="84"/>
                </a:lnTo>
                <a:lnTo>
                  <a:pt x="180" y="84"/>
                </a:lnTo>
                <a:lnTo>
                  <a:pt x="186" y="84"/>
                </a:lnTo>
                <a:lnTo>
                  <a:pt x="186" y="78"/>
                </a:lnTo>
                <a:lnTo>
                  <a:pt x="192" y="78"/>
                </a:lnTo>
                <a:lnTo>
                  <a:pt x="198" y="78"/>
                </a:lnTo>
                <a:lnTo>
                  <a:pt x="204" y="84"/>
                </a:lnTo>
                <a:lnTo>
                  <a:pt x="210" y="84"/>
                </a:lnTo>
                <a:lnTo>
                  <a:pt x="216" y="84"/>
                </a:lnTo>
                <a:lnTo>
                  <a:pt x="222" y="78"/>
                </a:lnTo>
                <a:lnTo>
                  <a:pt x="228" y="78"/>
                </a:lnTo>
                <a:lnTo>
                  <a:pt x="234" y="84"/>
                </a:lnTo>
                <a:lnTo>
                  <a:pt x="240" y="84"/>
                </a:lnTo>
                <a:lnTo>
                  <a:pt x="246" y="84"/>
                </a:lnTo>
                <a:lnTo>
                  <a:pt x="246" y="78"/>
                </a:lnTo>
                <a:lnTo>
                  <a:pt x="246" y="84"/>
                </a:lnTo>
                <a:lnTo>
                  <a:pt x="252" y="84"/>
                </a:lnTo>
                <a:lnTo>
                  <a:pt x="252" y="78"/>
                </a:lnTo>
                <a:lnTo>
                  <a:pt x="258" y="78"/>
                </a:lnTo>
                <a:lnTo>
                  <a:pt x="264" y="78"/>
                </a:lnTo>
                <a:lnTo>
                  <a:pt x="264" y="84"/>
                </a:lnTo>
                <a:lnTo>
                  <a:pt x="270" y="84"/>
                </a:lnTo>
                <a:lnTo>
                  <a:pt x="276" y="84"/>
                </a:lnTo>
                <a:lnTo>
                  <a:pt x="276" y="90"/>
                </a:lnTo>
                <a:lnTo>
                  <a:pt x="276" y="96"/>
                </a:lnTo>
                <a:lnTo>
                  <a:pt x="282" y="96"/>
                </a:lnTo>
                <a:lnTo>
                  <a:pt x="276" y="96"/>
                </a:lnTo>
                <a:lnTo>
                  <a:pt x="282" y="96"/>
                </a:lnTo>
                <a:lnTo>
                  <a:pt x="282" y="102"/>
                </a:lnTo>
                <a:lnTo>
                  <a:pt x="282" y="108"/>
                </a:lnTo>
                <a:lnTo>
                  <a:pt x="282" y="114"/>
                </a:lnTo>
                <a:lnTo>
                  <a:pt x="282" y="108"/>
                </a:lnTo>
                <a:lnTo>
                  <a:pt x="282" y="114"/>
                </a:lnTo>
                <a:lnTo>
                  <a:pt x="288" y="120"/>
                </a:lnTo>
                <a:lnTo>
                  <a:pt x="282" y="120"/>
                </a:lnTo>
                <a:lnTo>
                  <a:pt x="288" y="120"/>
                </a:lnTo>
                <a:lnTo>
                  <a:pt x="288" y="126"/>
                </a:lnTo>
                <a:lnTo>
                  <a:pt x="288" y="132"/>
                </a:lnTo>
                <a:lnTo>
                  <a:pt x="294" y="132"/>
                </a:lnTo>
                <a:lnTo>
                  <a:pt x="294" y="138"/>
                </a:lnTo>
                <a:lnTo>
                  <a:pt x="294" y="144"/>
                </a:lnTo>
                <a:lnTo>
                  <a:pt x="300" y="144"/>
                </a:lnTo>
                <a:lnTo>
                  <a:pt x="300" y="150"/>
                </a:lnTo>
                <a:lnTo>
                  <a:pt x="294" y="150"/>
                </a:lnTo>
                <a:lnTo>
                  <a:pt x="300" y="156"/>
                </a:lnTo>
                <a:lnTo>
                  <a:pt x="294" y="156"/>
                </a:lnTo>
                <a:lnTo>
                  <a:pt x="300" y="156"/>
                </a:lnTo>
                <a:lnTo>
                  <a:pt x="300" y="162"/>
                </a:lnTo>
                <a:lnTo>
                  <a:pt x="306" y="162"/>
                </a:lnTo>
                <a:lnTo>
                  <a:pt x="306" y="168"/>
                </a:lnTo>
                <a:lnTo>
                  <a:pt x="312" y="168"/>
                </a:lnTo>
                <a:lnTo>
                  <a:pt x="306" y="168"/>
                </a:lnTo>
                <a:lnTo>
                  <a:pt x="306" y="174"/>
                </a:lnTo>
                <a:lnTo>
                  <a:pt x="312" y="174"/>
                </a:lnTo>
                <a:lnTo>
                  <a:pt x="312" y="180"/>
                </a:lnTo>
                <a:lnTo>
                  <a:pt x="318" y="180"/>
                </a:lnTo>
                <a:lnTo>
                  <a:pt x="312" y="180"/>
                </a:lnTo>
                <a:lnTo>
                  <a:pt x="318" y="186"/>
                </a:lnTo>
                <a:lnTo>
                  <a:pt x="318" y="192"/>
                </a:lnTo>
                <a:lnTo>
                  <a:pt x="324" y="192"/>
                </a:lnTo>
                <a:lnTo>
                  <a:pt x="324" y="198"/>
                </a:lnTo>
                <a:lnTo>
                  <a:pt x="330" y="204"/>
                </a:lnTo>
                <a:lnTo>
                  <a:pt x="324" y="204"/>
                </a:lnTo>
                <a:lnTo>
                  <a:pt x="330" y="204"/>
                </a:lnTo>
                <a:lnTo>
                  <a:pt x="330" y="210"/>
                </a:lnTo>
                <a:lnTo>
                  <a:pt x="336" y="210"/>
                </a:lnTo>
                <a:lnTo>
                  <a:pt x="336" y="204"/>
                </a:lnTo>
                <a:lnTo>
                  <a:pt x="342" y="204"/>
                </a:lnTo>
                <a:lnTo>
                  <a:pt x="348" y="204"/>
                </a:lnTo>
                <a:lnTo>
                  <a:pt x="354" y="204"/>
                </a:lnTo>
                <a:lnTo>
                  <a:pt x="360" y="204"/>
                </a:lnTo>
                <a:lnTo>
                  <a:pt x="360" y="198"/>
                </a:lnTo>
                <a:lnTo>
                  <a:pt x="366" y="198"/>
                </a:lnTo>
                <a:lnTo>
                  <a:pt x="372" y="198"/>
                </a:lnTo>
                <a:lnTo>
                  <a:pt x="372" y="204"/>
                </a:lnTo>
                <a:lnTo>
                  <a:pt x="372" y="198"/>
                </a:lnTo>
                <a:lnTo>
                  <a:pt x="372" y="204"/>
                </a:lnTo>
                <a:lnTo>
                  <a:pt x="378" y="204"/>
                </a:lnTo>
                <a:lnTo>
                  <a:pt x="378" y="198"/>
                </a:lnTo>
                <a:lnTo>
                  <a:pt x="384" y="198"/>
                </a:lnTo>
                <a:lnTo>
                  <a:pt x="396" y="198"/>
                </a:lnTo>
                <a:lnTo>
                  <a:pt x="402" y="198"/>
                </a:lnTo>
                <a:lnTo>
                  <a:pt x="408" y="198"/>
                </a:lnTo>
                <a:lnTo>
                  <a:pt x="414" y="198"/>
                </a:lnTo>
                <a:lnTo>
                  <a:pt x="420" y="198"/>
                </a:lnTo>
                <a:lnTo>
                  <a:pt x="426" y="198"/>
                </a:lnTo>
                <a:lnTo>
                  <a:pt x="432" y="198"/>
                </a:lnTo>
                <a:lnTo>
                  <a:pt x="432" y="192"/>
                </a:lnTo>
                <a:lnTo>
                  <a:pt x="432" y="186"/>
                </a:lnTo>
                <a:lnTo>
                  <a:pt x="432" y="180"/>
                </a:lnTo>
                <a:lnTo>
                  <a:pt x="432" y="174"/>
                </a:lnTo>
                <a:lnTo>
                  <a:pt x="438" y="174"/>
                </a:lnTo>
                <a:lnTo>
                  <a:pt x="438" y="168"/>
                </a:lnTo>
                <a:lnTo>
                  <a:pt x="438" y="162"/>
                </a:lnTo>
                <a:lnTo>
                  <a:pt x="438" y="156"/>
                </a:lnTo>
                <a:lnTo>
                  <a:pt x="438" y="150"/>
                </a:lnTo>
                <a:lnTo>
                  <a:pt x="444" y="150"/>
                </a:lnTo>
                <a:lnTo>
                  <a:pt x="438" y="144"/>
                </a:lnTo>
                <a:lnTo>
                  <a:pt x="450" y="144"/>
                </a:lnTo>
                <a:lnTo>
                  <a:pt x="456" y="144"/>
                </a:lnTo>
                <a:lnTo>
                  <a:pt x="462" y="144"/>
                </a:lnTo>
                <a:lnTo>
                  <a:pt x="468" y="144"/>
                </a:lnTo>
                <a:lnTo>
                  <a:pt x="474" y="144"/>
                </a:lnTo>
                <a:lnTo>
                  <a:pt x="480" y="144"/>
                </a:lnTo>
                <a:lnTo>
                  <a:pt x="486" y="144"/>
                </a:lnTo>
                <a:lnTo>
                  <a:pt x="486" y="138"/>
                </a:lnTo>
                <a:lnTo>
                  <a:pt x="492" y="138"/>
                </a:lnTo>
                <a:lnTo>
                  <a:pt x="498" y="138"/>
                </a:lnTo>
                <a:lnTo>
                  <a:pt x="498" y="144"/>
                </a:lnTo>
                <a:lnTo>
                  <a:pt x="498" y="150"/>
                </a:lnTo>
                <a:lnTo>
                  <a:pt x="498" y="156"/>
                </a:lnTo>
                <a:lnTo>
                  <a:pt x="498" y="162"/>
                </a:lnTo>
                <a:lnTo>
                  <a:pt x="504" y="162"/>
                </a:lnTo>
                <a:lnTo>
                  <a:pt x="510" y="162"/>
                </a:lnTo>
                <a:lnTo>
                  <a:pt x="516" y="162"/>
                </a:lnTo>
                <a:lnTo>
                  <a:pt x="522" y="162"/>
                </a:lnTo>
                <a:lnTo>
                  <a:pt x="534" y="162"/>
                </a:lnTo>
                <a:lnTo>
                  <a:pt x="540" y="162"/>
                </a:lnTo>
                <a:lnTo>
                  <a:pt x="546" y="162"/>
                </a:lnTo>
                <a:lnTo>
                  <a:pt x="552" y="162"/>
                </a:lnTo>
                <a:lnTo>
                  <a:pt x="558" y="162"/>
                </a:lnTo>
                <a:lnTo>
                  <a:pt x="564" y="162"/>
                </a:lnTo>
                <a:lnTo>
                  <a:pt x="570" y="162"/>
                </a:lnTo>
                <a:lnTo>
                  <a:pt x="570" y="168"/>
                </a:lnTo>
                <a:lnTo>
                  <a:pt x="570" y="174"/>
                </a:lnTo>
                <a:lnTo>
                  <a:pt x="570" y="180"/>
                </a:lnTo>
                <a:lnTo>
                  <a:pt x="564" y="180"/>
                </a:lnTo>
                <a:lnTo>
                  <a:pt x="564" y="186"/>
                </a:lnTo>
                <a:lnTo>
                  <a:pt x="564" y="192"/>
                </a:lnTo>
                <a:lnTo>
                  <a:pt x="564" y="198"/>
                </a:lnTo>
                <a:lnTo>
                  <a:pt x="564" y="204"/>
                </a:lnTo>
                <a:lnTo>
                  <a:pt x="570" y="204"/>
                </a:lnTo>
                <a:lnTo>
                  <a:pt x="570" y="210"/>
                </a:lnTo>
                <a:lnTo>
                  <a:pt x="570" y="216"/>
                </a:lnTo>
                <a:lnTo>
                  <a:pt x="576" y="216"/>
                </a:lnTo>
                <a:lnTo>
                  <a:pt x="576" y="222"/>
                </a:lnTo>
                <a:lnTo>
                  <a:pt x="570" y="222"/>
                </a:lnTo>
                <a:lnTo>
                  <a:pt x="576" y="222"/>
                </a:lnTo>
                <a:lnTo>
                  <a:pt x="576" y="228"/>
                </a:lnTo>
                <a:lnTo>
                  <a:pt x="576" y="234"/>
                </a:lnTo>
                <a:lnTo>
                  <a:pt x="570" y="234"/>
                </a:lnTo>
                <a:lnTo>
                  <a:pt x="576" y="234"/>
                </a:lnTo>
                <a:lnTo>
                  <a:pt x="570" y="234"/>
                </a:lnTo>
                <a:lnTo>
                  <a:pt x="570" y="240"/>
                </a:lnTo>
                <a:lnTo>
                  <a:pt x="570" y="246"/>
                </a:lnTo>
                <a:lnTo>
                  <a:pt x="570" y="252"/>
                </a:lnTo>
                <a:lnTo>
                  <a:pt x="570" y="258"/>
                </a:lnTo>
                <a:lnTo>
                  <a:pt x="570" y="264"/>
                </a:lnTo>
                <a:lnTo>
                  <a:pt x="570" y="270"/>
                </a:lnTo>
                <a:lnTo>
                  <a:pt x="570" y="276"/>
                </a:lnTo>
                <a:lnTo>
                  <a:pt x="564" y="276"/>
                </a:lnTo>
                <a:lnTo>
                  <a:pt x="564" y="282"/>
                </a:lnTo>
                <a:lnTo>
                  <a:pt x="570" y="282"/>
                </a:lnTo>
                <a:lnTo>
                  <a:pt x="570" y="288"/>
                </a:lnTo>
                <a:lnTo>
                  <a:pt x="570" y="294"/>
                </a:lnTo>
                <a:lnTo>
                  <a:pt x="576" y="294"/>
                </a:lnTo>
                <a:lnTo>
                  <a:pt x="576" y="300"/>
                </a:lnTo>
                <a:lnTo>
                  <a:pt x="576" y="306"/>
                </a:lnTo>
                <a:lnTo>
                  <a:pt x="582" y="306"/>
                </a:lnTo>
                <a:lnTo>
                  <a:pt x="588" y="306"/>
                </a:lnTo>
                <a:lnTo>
                  <a:pt x="588" y="312"/>
                </a:lnTo>
                <a:lnTo>
                  <a:pt x="588" y="318"/>
                </a:lnTo>
                <a:lnTo>
                  <a:pt x="588" y="324"/>
                </a:lnTo>
                <a:lnTo>
                  <a:pt x="594" y="324"/>
                </a:lnTo>
                <a:lnTo>
                  <a:pt x="594" y="330"/>
                </a:lnTo>
                <a:lnTo>
                  <a:pt x="594" y="336"/>
                </a:lnTo>
                <a:lnTo>
                  <a:pt x="594" y="342"/>
                </a:lnTo>
                <a:lnTo>
                  <a:pt x="594" y="348"/>
                </a:lnTo>
                <a:lnTo>
                  <a:pt x="594" y="354"/>
                </a:lnTo>
                <a:lnTo>
                  <a:pt x="594" y="360"/>
                </a:lnTo>
                <a:lnTo>
                  <a:pt x="588" y="360"/>
                </a:lnTo>
                <a:lnTo>
                  <a:pt x="588" y="366"/>
                </a:lnTo>
                <a:lnTo>
                  <a:pt x="588" y="372"/>
                </a:lnTo>
                <a:lnTo>
                  <a:pt x="588" y="378"/>
                </a:lnTo>
                <a:lnTo>
                  <a:pt x="594" y="378"/>
                </a:lnTo>
                <a:lnTo>
                  <a:pt x="594" y="384"/>
                </a:lnTo>
                <a:lnTo>
                  <a:pt x="594" y="378"/>
                </a:lnTo>
                <a:lnTo>
                  <a:pt x="600" y="378"/>
                </a:lnTo>
                <a:lnTo>
                  <a:pt x="606" y="378"/>
                </a:lnTo>
                <a:lnTo>
                  <a:pt x="606" y="372"/>
                </a:lnTo>
                <a:lnTo>
                  <a:pt x="612" y="372"/>
                </a:lnTo>
                <a:lnTo>
                  <a:pt x="618" y="378"/>
                </a:lnTo>
                <a:lnTo>
                  <a:pt x="624" y="378"/>
                </a:lnTo>
                <a:lnTo>
                  <a:pt x="624" y="372"/>
                </a:lnTo>
                <a:lnTo>
                  <a:pt x="630" y="372"/>
                </a:lnTo>
                <a:lnTo>
                  <a:pt x="630" y="378"/>
                </a:lnTo>
                <a:lnTo>
                  <a:pt x="636" y="378"/>
                </a:lnTo>
                <a:lnTo>
                  <a:pt x="642" y="378"/>
                </a:lnTo>
                <a:lnTo>
                  <a:pt x="642" y="372"/>
                </a:lnTo>
                <a:lnTo>
                  <a:pt x="642" y="378"/>
                </a:lnTo>
                <a:lnTo>
                  <a:pt x="642" y="372"/>
                </a:lnTo>
                <a:lnTo>
                  <a:pt x="648" y="372"/>
                </a:lnTo>
                <a:lnTo>
                  <a:pt x="654" y="372"/>
                </a:lnTo>
                <a:lnTo>
                  <a:pt x="654" y="366"/>
                </a:lnTo>
                <a:lnTo>
                  <a:pt x="660" y="366"/>
                </a:lnTo>
                <a:lnTo>
                  <a:pt x="666" y="366"/>
                </a:lnTo>
                <a:lnTo>
                  <a:pt x="666" y="372"/>
                </a:lnTo>
                <a:lnTo>
                  <a:pt x="672" y="372"/>
                </a:lnTo>
                <a:lnTo>
                  <a:pt x="678" y="372"/>
                </a:lnTo>
                <a:lnTo>
                  <a:pt x="684" y="372"/>
                </a:lnTo>
                <a:lnTo>
                  <a:pt x="684" y="366"/>
                </a:lnTo>
                <a:lnTo>
                  <a:pt x="690" y="366"/>
                </a:lnTo>
                <a:lnTo>
                  <a:pt x="690" y="372"/>
                </a:lnTo>
                <a:lnTo>
                  <a:pt x="690" y="378"/>
                </a:lnTo>
                <a:lnTo>
                  <a:pt x="690" y="384"/>
                </a:lnTo>
                <a:lnTo>
                  <a:pt x="690" y="390"/>
                </a:lnTo>
                <a:lnTo>
                  <a:pt x="696" y="390"/>
                </a:lnTo>
                <a:lnTo>
                  <a:pt x="690" y="390"/>
                </a:lnTo>
                <a:lnTo>
                  <a:pt x="690" y="396"/>
                </a:lnTo>
                <a:lnTo>
                  <a:pt x="690" y="402"/>
                </a:lnTo>
                <a:lnTo>
                  <a:pt x="690" y="408"/>
                </a:lnTo>
                <a:lnTo>
                  <a:pt x="684" y="408"/>
                </a:lnTo>
                <a:lnTo>
                  <a:pt x="690" y="408"/>
                </a:lnTo>
                <a:lnTo>
                  <a:pt x="690" y="414"/>
                </a:lnTo>
                <a:lnTo>
                  <a:pt x="690" y="420"/>
                </a:lnTo>
                <a:lnTo>
                  <a:pt x="690" y="426"/>
                </a:lnTo>
                <a:lnTo>
                  <a:pt x="690" y="432"/>
                </a:lnTo>
                <a:lnTo>
                  <a:pt x="690" y="438"/>
                </a:lnTo>
                <a:lnTo>
                  <a:pt x="690" y="444"/>
                </a:lnTo>
                <a:lnTo>
                  <a:pt x="690" y="450"/>
                </a:lnTo>
                <a:lnTo>
                  <a:pt x="690" y="456"/>
                </a:lnTo>
                <a:lnTo>
                  <a:pt x="684" y="456"/>
                </a:lnTo>
                <a:lnTo>
                  <a:pt x="684" y="462"/>
                </a:lnTo>
                <a:lnTo>
                  <a:pt x="684" y="468"/>
                </a:lnTo>
                <a:lnTo>
                  <a:pt x="684" y="474"/>
                </a:lnTo>
                <a:lnTo>
                  <a:pt x="684" y="480"/>
                </a:lnTo>
                <a:lnTo>
                  <a:pt x="690" y="480"/>
                </a:lnTo>
                <a:lnTo>
                  <a:pt x="660" y="486"/>
                </a:lnTo>
                <a:lnTo>
                  <a:pt x="600" y="486"/>
                </a:lnTo>
                <a:lnTo>
                  <a:pt x="576" y="486"/>
                </a:lnTo>
                <a:lnTo>
                  <a:pt x="576" y="510"/>
                </a:lnTo>
                <a:lnTo>
                  <a:pt x="576" y="528"/>
                </a:lnTo>
                <a:lnTo>
                  <a:pt x="576" y="540"/>
                </a:lnTo>
                <a:lnTo>
                  <a:pt x="576" y="546"/>
                </a:lnTo>
                <a:lnTo>
                  <a:pt x="576" y="600"/>
                </a:lnTo>
                <a:lnTo>
                  <a:pt x="576" y="618"/>
                </a:lnTo>
                <a:lnTo>
                  <a:pt x="576" y="654"/>
                </a:lnTo>
                <a:lnTo>
                  <a:pt x="576" y="660"/>
                </a:lnTo>
                <a:lnTo>
                  <a:pt x="576" y="666"/>
                </a:lnTo>
                <a:lnTo>
                  <a:pt x="576" y="672"/>
                </a:lnTo>
                <a:lnTo>
                  <a:pt x="582" y="672"/>
                </a:lnTo>
                <a:lnTo>
                  <a:pt x="582" y="678"/>
                </a:lnTo>
                <a:lnTo>
                  <a:pt x="582" y="684"/>
                </a:lnTo>
                <a:lnTo>
                  <a:pt x="588" y="684"/>
                </a:lnTo>
                <a:lnTo>
                  <a:pt x="588" y="690"/>
                </a:lnTo>
                <a:lnTo>
                  <a:pt x="594" y="690"/>
                </a:lnTo>
                <a:lnTo>
                  <a:pt x="594" y="696"/>
                </a:lnTo>
                <a:lnTo>
                  <a:pt x="600" y="696"/>
                </a:lnTo>
                <a:lnTo>
                  <a:pt x="600" y="702"/>
                </a:lnTo>
                <a:lnTo>
                  <a:pt x="606" y="702"/>
                </a:lnTo>
                <a:lnTo>
                  <a:pt x="606" y="708"/>
                </a:lnTo>
                <a:lnTo>
                  <a:pt x="612" y="708"/>
                </a:lnTo>
                <a:lnTo>
                  <a:pt x="612" y="714"/>
                </a:lnTo>
                <a:lnTo>
                  <a:pt x="618" y="714"/>
                </a:lnTo>
                <a:lnTo>
                  <a:pt x="618" y="720"/>
                </a:lnTo>
                <a:lnTo>
                  <a:pt x="624" y="720"/>
                </a:lnTo>
                <a:lnTo>
                  <a:pt x="624" y="726"/>
                </a:lnTo>
                <a:lnTo>
                  <a:pt x="630" y="726"/>
                </a:lnTo>
                <a:lnTo>
                  <a:pt x="630" y="732"/>
                </a:lnTo>
                <a:lnTo>
                  <a:pt x="636" y="732"/>
                </a:lnTo>
                <a:lnTo>
                  <a:pt x="636" y="738"/>
                </a:lnTo>
                <a:lnTo>
                  <a:pt x="642" y="738"/>
                </a:lnTo>
                <a:lnTo>
                  <a:pt x="642" y="744"/>
                </a:lnTo>
                <a:lnTo>
                  <a:pt x="648" y="744"/>
                </a:lnTo>
                <a:lnTo>
                  <a:pt x="654" y="744"/>
                </a:lnTo>
                <a:lnTo>
                  <a:pt x="654" y="750"/>
                </a:lnTo>
                <a:close/>
                <a:moveTo>
                  <a:pt x="24" y="36"/>
                </a:moveTo>
                <a:lnTo>
                  <a:pt x="24" y="30"/>
                </a:lnTo>
                <a:lnTo>
                  <a:pt x="30" y="30"/>
                </a:lnTo>
                <a:lnTo>
                  <a:pt x="30" y="24"/>
                </a:lnTo>
                <a:lnTo>
                  <a:pt x="30" y="18"/>
                </a:lnTo>
                <a:lnTo>
                  <a:pt x="36" y="18"/>
                </a:lnTo>
                <a:lnTo>
                  <a:pt x="36" y="24"/>
                </a:lnTo>
                <a:lnTo>
                  <a:pt x="36" y="18"/>
                </a:lnTo>
                <a:lnTo>
                  <a:pt x="42" y="18"/>
                </a:lnTo>
                <a:lnTo>
                  <a:pt x="42" y="12"/>
                </a:lnTo>
                <a:lnTo>
                  <a:pt x="48" y="12"/>
                </a:lnTo>
                <a:lnTo>
                  <a:pt x="54" y="6"/>
                </a:lnTo>
                <a:lnTo>
                  <a:pt x="60" y="6"/>
                </a:lnTo>
                <a:lnTo>
                  <a:pt x="60" y="0"/>
                </a:lnTo>
                <a:lnTo>
                  <a:pt x="66" y="0"/>
                </a:lnTo>
                <a:lnTo>
                  <a:pt x="72" y="0"/>
                </a:lnTo>
                <a:lnTo>
                  <a:pt x="72" y="6"/>
                </a:lnTo>
                <a:lnTo>
                  <a:pt x="78" y="6"/>
                </a:lnTo>
                <a:lnTo>
                  <a:pt x="78" y="12"/>
                </a:lnTo>
                <a:lnTo>
                  <a:pt x="84" y="12"/>
                </a:lnTo>
                <a:lnTo>
                  <a:pt x="78" y="12"/>
                </a:lnTo>
                <a:lnTo>
                  <a:pt x="78" y="18"/>
                </a:lnTo>
                <a:lnTo>
                  <a:pt x="72" y="18"/>
                </a:lnTo>
                <a:lnTo>
                  <a:pt x="66" y="18"/>
                </a:lnTo>
                <a:lnTo>
                  <a:pt x="66" y="24"/>
                </a:lnTo>
                <a:lnTo>
                  <a:pt x="60" y="24"/>
                </a:lnTo>
                <a:lnTo>
                  <a:pt x="60" y="30"/>
                </a:lnTo>
                <a:lnTo>
                  <a:pt x="54" y="30"/>
                </a:lnTo>
                <a:lnTo>
                  <a:pt x="54" y="36"/>
                </a:lnTo>
                <a:lnTo>
                  <a:pt x="48" y="36"/>
                </a:lnTo>
                <a:lnTo>
                  <a:pt x="48" y="42"/>
                </a:lnTo>
                <a:lnTo>
                  <a:pt x="48" y="48"/>
                </a:lnTo>
                <a:lnTo>
                  <a:pt x="48" y="54"/>
                </a:lnTo>
                <a:lnTo>
                  <a:pt x="48" y="60"/>
                </a:lnTo>
                <a:lnTo>
                  <a:pt x="48" y="66"/>
                </a:lnTo>
                <a:lnTo>
                  <a:pt x="48" y="72"/>
                </a:lnTo>
                <a:lnTo>
                  <a:pt x="42" y="72"/>
                </a:lnTo>
                <a:lnTo>
                  <a:pt x="36" y="72"/>
                </a:lnTo>
                <a:lnTo>
                  <a:pt x="30" y="72"/>
                </a:lnTo>
                <a:lnTo>
                  <a:pt x="30" y="78"/>
                </a:lnTo>
                <a:lnTo>
                  <a:pt x="30" y="72"/>
                </a:lnTo>
                <a:lnTo>
                  <a:pt x="30" y="66"/>
                </a:lnTo>
                <a:lnTo>
                  <a:pt x="30" y="60"/>
                </a:lnTo>
                <a:lnTo>
                  <a:pt x="36" y="60"/>
                </a:lnTo>
                <a:lnTo>
                  <a:pt x="30" y="60"/>
                </a:lnTo>
                <a:lnTo>
                  <a:pt x="30" y="54"/>
                </a:lnTo>
                <a:lnTo>
                  <a:pt x="30" y="48"/>
                </a:lnTo>
                <a:lnTo>
                  <a:pt x="30" y="42"/>
                </a:lnTo>
                <a:lnTo>
                  <a:pt x="24" y="42"/>
                </a:lnTo>
                <a:lnTo>
                  <a:pt x="24" y="36"/>
                </a:lnTo>
                <a:close/>
                <a:moveTo>
                  <a:pt x="0" y="690"/>
                </a:moveTo>
                <a:lnTo>
                  <a:pt x="6" y="684"/>
                </a:lnTo>
                <a:lnTo>
                  <a:pt x="6" y="690"/>
                </a:lnTo>
                <a:lnTo>
                  <a:pt x="6" y="696"/>
                </a:lnTo>
                <a:lnTo>
                  <a:pt x="6" y="702"/>
                </a:lnTo>
                <a:lnTo>
                  <a:pt x="6" y="696"/>
                </a:lnTo>
                <a:lnTo>
                  <a:pt x="6" y="690"/>
                </a:lnTo>
                <a:lnTo>
                  <a:pt x="0" y="690"/>
                </a:lnTo>
                <a:close/>
                <a:moveTo>
                  <a:pt x="72" y="84"/>
                </a:moveTo>
                <a:lnTo>
                  <a:pt x="72" y="90"/>
                </a:lnTo>
                <a:lnTo>
                  <a:pt x="73" y="90"/>
                </a:lnTo>
                <a:lnTo>
                  <a:pt x="72" y="84"/>
                </a:lnTo>
                <a:close/>
                <a:moveTo>
                  <a:pt x="54" y="90"/>
                </a:moveTo>
                <a:lnTo>
                  <a:pt x="60" y="90"/>
                </a:lnTo>
                <a:lnTo>
                  <a:pt x="54" y="90"/>
                </a:lnTo>
                <a:close/>
                <a:moveTo>
                  <a:pt x="60" y="84"/>
                </a:moveTo>
                <a:lnTo>
                  <a:pt x="66" y="84"/>
                </a:lnTo>
                <a:lnTo>
                  <a:pt x="66" y="90"/>
                </a:lnTo>
                <a:lnTo>
                  <a:pt x="60" y="90"/>
                </a:lnTo>
                <a:lnTo>
                  <a:pt x="60" y="84"/>
                </a:lnTo>
                <a:close/>
                <a:moveTo>
                  <a:pt x="84" y="240"/>
                </a:moveTo>
                <a:lnTo>
                  <a:pt x="90" y="240"/>
                </a:lnTo>
                <a:lnTo>
                  <a:pt x="90" y="246"/>
                </a:lnTo>
                <a:lnTo>
                  <a:pt x="84" y="246"/>
                </a:lnTo>
                <a:lnTo>
                  <a:pt x="84" y="240"/>
                </a:lnTo>
                <a:close/>
                <a:moveTo>
                  <a:pt x="60" y="90"/>
                </a:moveTo>
                <a:lnTo>
                  <a:pt x="66" y="90"/>
                </a:lnTo>
                <a:lnTo>
                  <a:pt x="60" y="90"/>
                </a:lnTo>
                <a:close/>
              </a:path>
            </a:pathLst>
          </a:custGeom>
          <a:solidFill>
            <a:srgbClr val="A6CFF0"/>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8" name="Freeform 52">
            <a:extLst>
              <a:ext uri="{FF2B5EF4-FFF2-40B4-BE49-F238E27FC236}">
                <a16:creationId xmlns:a16="http://schemas.microsoft.com/office/drawing/2014/main" id="{2613AB95-35D7-794B-918E-9A650733942C}"/>
              </a:ext>
            </a:extLst>
          </p:cNvPr>
          <p:cNvSpPr>
            <a:spLocks/>
          </p:cNvSpPr>
          <p:nvPr>
            <p:custDataLst>
              <p:tags r:id="rId46"/>
            </p:custDataLst>
          </p:nvPr>
        </p:nvSpPr>
        <p:spPr bwMode="gray">
          <a:xfrm>
            <a:off x="4832766" y="5412525"/>
            <a:ext cx="594888" cy="471567"/>
          </a:xfrm>
          <a:custGeom>
            <a:avLst/>
            <a:gdLst>
              <a:gd name="T0" fmla="*/ 178005 w 516"/>
              <a:gd name="T1" fmla="*/ 96174 h 546"/>
              <a:gd name="T2" fmla="*/ 170223 w 516"/>
              <a:gd name="T3" fmla="*/ 101032 h 546"/>
              <a:gd name="T4" fmla="*/ 161468 w 516"/>
              <a:gd name="T5" fmla="*/ 104918 h 546"/>
              <a:gd name="T6" fmla="*/ 154660 w 516"/>
              <a:gd name="T7" fmla="*/ 111718 h 546"/>
              <a:gd name="T8" fmla="*/ 150769 w 516"/>
              <a:gd name="T9" fmla="*/ 115604 h 546"/>
              <a:gd name="T10" fmla="*/ 145906 w 516"/>
              <a:gd name="T11" fmla="*/ 120461 h 546"/>
              <a:gd name="T12" fmla="*/ 143960 w 516"/>
              <a:gd name="T13" fmla="*/ 121432 h 546"/>
              <a:gd name="T14" fmla="*/ 137151 w 516"/>
              <a:gd name="T15" fmla="*/ 128232 h 546"/>
              <a:gd name="T16" fmla="*/ 133260 w 516"/>
              <a:gd name="T17" fmla="*/ 138919 h 546"/>
              <a:gd name="T18" fmla="*/ 128397 w 516"/>
              <a:gd name="T19" fmla="*/ 143775 h 546"/>
              <a:gd name="T20" fmla="*/ 120615 w 516"/>
              <a:gd name="T21" fmla="*/ 147661 h 546"/>
              <a:gd name="T22" fmla="*/ 113807 w 516"/>
              <a:gd name="T23" fmla="*/ 156405 h 546"/>
              <a:gd name="T24" fmla="*/ 109915 w 516"/>
              <a:gd name="T25" fmla="*/ 167091 h 546"/>
              <a:gd name="T26" fmla="*/ 101161 w 516"/>
              <a:gd name="T27" fmla="*/ 169033 h 546"/>
              <a:gd name="T28" fmla="*/ 87544 w 516"/>
              <a:gd name="T29" fmla="*/ 169033 h 546"/>
              <a:gd name="T30" fmla="*/ 76844 w 516"/>
              <a:gd name="T31" fmla="*/ 167091 h 546"/>
              <a:gd name="T32" fmla="*/ 71008 w 516"/>
              <a:gd name="T33" fmla="*/ 161262 h 546"/>
              <a:gd name="T34" fmla="*/ 67116 w 516"/>
              <a:gd name="T35" fmla="*/ 158347 h 546"/>
              <a:gd name="T36" fmla="*/ 62253 w 516"/>
              <a:gd name="T37" fmla="*/ 161262 h 546"/>
              <a:gd name="T38" fmla="*/ 57389 w 516"/>
              <a:gd name="T39" fmla="*/ 165148 h 546"/>
              <a:gd name="T40" fmla="*/ 53499 w 516"/>
              <a:gd name="T41" fmla="*/ 169033 h 546"/>
              <a:gd name="T42" fmla="*/ 51553 w 516"/>
              <a:gd name="T43" fmla="*/ 180691 h 546"/>
              <a:gd name="T44" fmla="*/ 42799 w 516"/>
              <a:gd name="T45" fmla="*/ 184577 h 546"/>
              <a:gd name="T46" fmla="*/ 34045 w 516"/>
              <a:gd name="T47" fmla="*/ 190406 h 546"/>
              <a:gd name="T48" fmla="*/ 26263 w 516"/>
              <a:gd name="T49" fmla="*/ 192349 h 546"/>
              <a:gd name="T50" fmla="*/ 17509 w 516"/>
              <a:gd name="T51" fmla="*/ 192349 h 546"/>
              <a:gd name="T52" fmla="*/ 12645 w 516"/>
              <a:gd name="T53" fmla="*/ 192349 h 546"/>
              <a:gd name="T54" fmla="*/ 12645 w 516"/>
              <a:gd name="T55" fmla="*/ 188463 h 546"/>
              <a:gd name="T56" fmla="*/ 14590 w 516"/>
              <a:gd name="T57" fmla="*/ 181663 h 546"/>
              <a:gd name="T58" fmla="*/ 14590 w 516"/>
              <a:gd name="T59" fmla="*/ 170977 h 546"/>
              <a:gd name="T60" fmla="*/ 12645 w 516"/>
              <a:gd name="T61" fmla="*/ 162233 h 546"/>
              <a:gd name="T62" fmla="*/ 10700 w 516"/>
              <a:gd name="T63" fmla="*/ 161262 h 546"/>
              <a:gd name="T64" fmla="*/ 6809 w 516"/>
              <a:gd name="T65" fmla="*/ 151547 h 546"/>
              <a:gd name="T66" fmla="*/ 0 w 516"/>
              <a:gd name="T67" fmla="*/ 145719 h 546"/>
              <a:gd name="T68" fmla="*/ 0 w 516"/>
              <a:gd name="T69" fmla="*/ 133089 h 546"/>
              <a:gd name="T70" fmla="*/ 0 w 516"/>
              <a:gd name="T71" fmla="*/ 120461 h 546"/>
              <a:gd name="T72" fmla="*/ 0 w 516"/>
              <a:gd name="T73" fmla="*/ 106860 h 546"/>
              <a:gd name="T74" fmla="*/ 0 w 516"/>
              <a:gd name="T75" fmla="*/ 94232 h 546"/>
              <a:gd name="T76" fmla="*/ 19454 w 516"/>
              <a:gd name="T77" fmla="*/ 44687 h 546"/>
              <a:gd name="T78" fmla="*/ 62253 w 516"/>
              <a:gd name="T79" fmla="*/ 3886 h 546"/>
              <a:gd name="T80" fmla="*/ 68090 w 516"/>
              <a:gd name="T81" fmla="*/ 8743 h 546"/>
              <a:gd name="T82" fmla="*/ 74898 w 516"/>
              <a:gd name="T83" fmla="*/ 12629 h 546"/>
              <a:gd name="T84" fmla="*/ 81707 w 516"/>
              <a:gd name="T85" fmla="*/ 6800 h 546"/>
              <a:gd name="T86" fmla="*/ 87544 w 516"/>
              <a:gd name="T87" fmla="*/ 3886 h 546"/>
              <a:gd name="T88" fmla="*/ 94352 w 516"/>
              <a:gd name="T89" fmla="*/ 1943 h 546"/>
              <a:gd name="T90" fmla="*/ 101161 w 516"/>
              <a:gd name="T91" fmla="*/ 0 h 546"/>
              <a:gd name="T92" fmla="*/ 103107 w 516"/>
              <a:gd name="T93" fmla="*/ 1943 h 546"/>
              <a:gd name="T94" fmla="*/ 109915 w 516"/>
              <a:gd name="T95" fmla="*/ 10686 h 546"/>
              <a:gd name="T96" fmla="*/ 115751 w 516"/>
              <a:gd name="T97" fmla="*/ 21372 h 546"/>
              <a:gd name="T98" fmla="*/ 120615 w 516"/>
              <a:gd name="T99" fmla="*/ 32058 h 546"/>
              <a:gd name="T100" fmla="*/ 124506 w 516"/>
              <a:gd name="T101" fmla="*/ 37887 h 546"/>
              <a:gd name="T102" fmla="*/ 133260 w 516"/>
              <a:gd name="T103" fmla="*/ 42744 h 546"/>
              <a:gd name="T104" fmla="*/ 142015 w 516"/>
              <a:gd name="T105" fmla="*/ 46630 h 546"/>
              <a:gd name="T106" fmla="*/ 145906 w 516"/>
              <a:gd name="T107" fmla="*/ 56344 h 546"/>
              <a:gd name="T108" fmla="*/ 152714 w 516"/>
              <a:gd name="T109" fmla="*/ 62173 h 546"/>
              <a:gd name="T110" fmla="*/ 154660 w 516"/>
              <a:gd name="T111" fmla="*/ 72859 h 546"/>
              <a:gd name="T112" fmla="*/ 158550 w 516"/>
              <a:gd name="T113" fmla="*/ 76745 h 546"/>
              <a:gd name="T114" fmla="*/ 170223 w 516"/>
              <a:gd name="T115" fmla="*/ 81602 h 546"/>
              <a:gd name="T116" fmla="*/ 180923 w 516"/>
              <a:gd name="T117" fmla="*/ 83546 h 546"/>
              <a:gd name="T118" fmla="*/ 181896 w 516"/>
              <a:gd name="T119" fmla="*/ 90346 h 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16" h="546">
                <a:moveTo>
                  <a:pt x="516" y="258"/>
                </a:moveTo>
                <a:lnTo>
                  <a:pt x="510" y="258"/>
                </a:lnTo>
                <a:lnTo>
                  <a:pt x="504" y="258"/>
                </a:lnTo>
                <a:lnTo>
                  <a:pt x="498" y="258"/>
                </a:lnTo>
                <a:lnTo>
                  <a:pt x="498" y="264"/>
                </a:lnTo>
                <a:lnTo>
                  <a:pt x="498" y="270"/>
                </a:lnTo>
                <a:lnTo>
                  <a:pt x="498" y="276"/>
                </a:lnTo>
                <a:lnTo>
                  <a:pt x="492" y="276"/>
                </a:lnTo>
                <a:lnTo>
                  <a:pt x="486" y="276"/>
                </a:lnTo>
                <a:lnTo>
                  <a:pt x="480" y="276"/>
                </a:lnTo>
                <a:lnTo>
                  <a:pt x="480" y="282"/>
                </a:lnTo>
                <a:lnTo>
                  <a:pt x="474" y="282"/>
                </a:lnTo>
                <a:lnTo>
                  <a:pt x="468" y="282"/>
                </a:lnTo>
                <a:lnTo>
                  <a:pt x="462" y="282"/>
                </a:lnTo>
                <a:lnTo>
                  <a:pt x="456" y="282"/>
                </a:lnTo>
                <a:lnTo>
                  <a:pt x="456" y="288"/>
                </a:lnTo>
                <a:lnTo>
                  <a:pt x="450" y="288"/>
                </a:lnTo>
                <a:lnTo>
                  <a:pt x="450" y="294"/>
                </a:lnTo>
                <a:lnTo>
                  <a:pt x="450" y="300"/>
                </a:lnTo>
                <a:lnTo>
                  <a:pt x="444" y="300"/>
                </a:lnTo>
                <a:lnTo>
                  <a:pt x="444" y="306"/>
                </a:lnTo>
                <a:lnTo>
                  <a:pt x="438" y="306"/>
                </a:lnTo>
                <a:lnTo>
                  <a:pt x="438" y="312"/>
                </a:lnTo>
                <a:lnTo>
                  <a:pt x="432" y="312"/>
                </a:lnTo>
                <a:lnTo>
                  <a:pt x="432" y="318"/>
                </a:lnTo>
                <a:lnTo>
                  <a:pt x="432" y="324"/>
                </a:lnTo>
                <a:lnTo>
                  <a:pt x="426" y="324"/>
                </a:lnTo>
                <a:lnTo>
                  <a:pt x="426" y="318"/>
                </a:lnTo>
                <a:lnTo>
                  <a:pt x="426" y="324"/>
                </a:lnTo>
                <a:lnTo>
                  <a:pt x="420" y="324"/>
                </a:lnTo>
                <a:lnTo>
                  <a:pt x="420" y="330"/>
                </a:lnTo>
                <a:lnTo>
                  <a:pt x="414" y="330"/>
                </a:lnTo>
                <a:lnTo>
                  <a:pt x="414" y="336"/>
                </a:lnTo>
                <a:lnTo>
                  <a:pt x="408" y="336"/>
                </a:lnTo>
                <a:lnTo>
                  <a:pt x="408" y="330"/>
                </a:lnTo>
                <a:lnTo>
                  <a:pt x="408" y="336"/>
                </a:lnTo>
                <a:lnTo>
                  <a:pt x="408" y="330"/>
                </a:lnTo>
                <a:lnTo>
                  <a:pt x="408" y="336"/>
                </a:lnTo>
                <a:lnTo>
                  <a:pt x="402" y="336"/>
                </a:lnTo>
                <a:lnTo>
                  <a:pt x="396" y="336"/>
                </a:lnTo>
                <a:lnTo>
                  <a:pt x="396" y="342"/>
                </a:lnTo>
                <a:lnTo>
                  <a:pt x="402" y="342"/>
                </a:lnTo>
                <a:lnTo>
                  <a:pt x="396" y="342"/>
                </a:lnTo>
                <a:lnTo>
                  <a:pt x="390" y="342"/>
                </a:lnTo>
                <a:lnTo>
                  <a:pt x="390" y="348"/>
                </a:lnTo>
                <a:lnTo>
                  <a:pt x="384" y="348"/>
                </a:lnTo>
                <a:lnTo>
                  <a:pt x="384" y="354"/>
                </a:lnTo>
                <a:lnTo>
                  <a:pt x="384" y="360"/>
                </a:lnTo>
                <a:lnTo>
                  <a:pt x="384" y="366"/>
                </a:lnTo>
                <a:lnTo>
                  <a:pt x="384" y="372"/>
                </a:lnTo>
                <a:lnTo>
                  <a:pt x="378" y="372"/>
                </a:lnTo>
                <a:lnTo>
                  <a:pt x="378" y="378"/>
                </a:lnTo>
                <a:lnTo>
                  <a:pt x="378" y="384"/>
                </a:lnTo>
                <a:lnTo>
                  <a:pt x="372" y="390"/>
                </a:lnTo>
                <a:lnTo>
                  <a:pt x="372" y="384"/>
                </a:lnTo>
                <a:lnTo>
                  <a:pt x="372" y="390"/>
                </a:lnTo>
                <a:lnTo>
                  <a:pt x="366" y="390"/>
                </a:lnTo>
                <a:lnTo>
                  <a:pt x="366" y="396"/>
                </a:lnTo>
                <a:lnTo>
                  <a:pt x="360" y="396"/>
                </a:lnTo>
                <a:lnTo>
                  <a:pt x="360" y="402"/>
                </a:lnTo>
                <a:lnTo>
                  <a:pt x="360" y="408"/>
                </a:lnTo>
                <a:lnTo>
                  <a:pt x="354" y="408"/>
                </a:lnTo>
                <a:lnTo>
                  <a:pt x="348" y="408"/>
                </a:lnTo>
                <a:lnTo>
                  <a:pt x="342" y="408"/>
                </a:lnTo>
                <a:lnTo>
                  <a:pt x="336" y="408"/>
                </a:lnTo>
                <a:lnTo>
                  <a:pt x="336" y="414"/>
                </a:lnTo>
                <a:lnTo>
                  <a:pt x="330" y="414"/>
                </a:lnTo>
                <a:lnTo>
                  <a:pt x="324" y="414"/>
                </a:lnTo>
                <a:lnTo>
                  <a:pt x="324" y="420"/>
                </a:lnTo>
                <a:lnTo>
                  <a:pt x="324" y="426"/>
                </a:lnTo>
                <a:lnTo>
                  <a:pt x="324" y="432"/>
                </a:lnTo>
                <a:lnTo>
                  <a:pt x="318" y="438"/>
                </a:lnTo>
                <a:lnTo>
                  <a:pt x="318" y="444"/>
                </a:lnTo>
                <a:lnTo>
                  <a:pt x="312" y="450"/>
                </a:lnTo>
                <a:lnTo>
                  <a:pt x="312" y="456"/>
                </a:lnTo>
                <a:lnTo>
                  <a:pt x="312" y="462"/>
                </a:lnTo>
                <a:lnTo>
                  <a:pt x="312" y="468"/>
                </a:lnTo>
                <a:lnTo>
                  <a:pt x="306" y="468"/>
                </a:lnTo>
                <a:lnTo>
                  <a:pt x="300" y="474"/>
                </a:lnTo>
                <a:lnTo>
                  <a:pt x="294" y="474"/>
                </a:lnTo>
                <a:lnTo>
                  <a:pt x="294" y="480"/>
                </a:lnTo>
                <a:lnTo>
                  <a:pt x="294" y="474"/>
                </a:lnTo>
                <a:lnTo>
                  <a:pt x="288" y="474"/>
                </a:lnTo>
                <a:lnTo>
                  <a:pt x="282" y="474"/>
                </a:lnTo>
                <a:lnTo>
                  <a:pt x="276" y="474"/>
                </a:lnTo>
                <a:lnTo>
                  <a:pt x="270" y="480"/>
                </a:lnTo>
                <a:lnTo>
                  <a:pt x="264" y="480"/>
                </a:lnTo>
                <a:lnTo>
                  <a:pt x="258" y="480"/>
                </a:lnTo>
                <a:lnTo>
                  <a:pt x="252" y="480"/>
                </a:lnTo>
                <a:lnTo>
                  <a:pt x="246" y="474"/>
                </a:lnTo>
                <a:lnTo>
                  <a:pt x="240" y="474"/>
                </a:lnTo>
                <a:lnTo>
                  <a:pt x="234" y="474"/>
                </a:lnTo>
                <a:lnTo>
                  <a:pt x="234" y="468"/>
                </a:lnTo>
                <a:lnTo>
                  <a:pt x="228" y="468"/>
                </a:lnTo>
                <a:lnTo>
                  <a:pt x="222" y="468"/>
                </a:lnTo>
                <a:lnTo>
                  <a:pt x="216" y="468"/>
                </a:lnTo>
                <a:lnTo>
                  <a:pt x="210" y="468"/>
                </a:lnTo>
                <a:lnTo>
                  <a:pt x="210" y="462"/>
                </a:lnTo>
                <a:lnTo>
                  <a:pt x="204" y="462"/>
                </a:lnTo>
                <a:lnTo>
                  <a:pt x="204" y="456"/>
                </a:lnTo>
                <a:lnTo>
                  <a:pt x="198" y="456"/>
                </a:lnTo>
                <a:lnTo>
                  <a:pt x="198" y="450"/>
                </a:lnTo>
                <a:lnTo>
                  <a:pt x="198" y="456"/>
                </a:lnTo>
                <a:lnTo>
                  <a:pt x="198" y="450"/>
                </a:lnTo>
                <a:lnTo>
                  <a:pt x="192" y="450"/>
                </a:lnTo>
                <a:lnTo>
                  <a:pt x="192" y="444"/>
                </a:lnTo>
                <a:lnTo>
                  <a:pt x="186" y="450"/>
                </a:lnTo>
                <a:lnTo>
                  <a:pt x="186" y="444"/>
                </a:lnTo>
                <a:lnTo>
                  <a:pt x="180" y="450"/>
                </a:lnTo>
                <a:lnTo>
                  <a:pt x="180" y="444"/>
                </a:lnTo>
                <a:lnTo>
                  <a:pt x="180" y="450"/>
                </a:lnTo>
                <a:lnTo>
                  <a:pt x="180" y="444"/>
                </a:lnTo>
                <a:lnTo>
                  <a:pt x="174" y="444"/>
                </a:lnTo>
                <a:lnTo>
                  <a:pt x="174" y="450"/>
                </a:lnTo>
                <a:lnTo>
                  <a:pt x="168" y="450"/>
                </a:lnTo>
                <a:lnTo>
                  <a:pt x="162" y="450"/>
                </a:lnTo>
                <a:lnTo>
                  <a:pt x="162" y="456"/>
                </a:lnTo>
                <a:lnTo>
                  <a:pt x="156" y="456"/>
                </a:lnTo>
                <a:lnTo>
                  <a:pt x="162" y="456"/>
                </a:lnTo>
                <a:lnTo>
                  <a:pt x="162" y="462"/>
                </a:lnTo>
                <a:lnTo>
                  <a:pt x="156" y="462"/>
                </a:lnTo>
                <a:lnTo>
                  <a:pt x="156" y="456"/>
                </a:lnTo>
                <a:lnTo>
                  <a:pt x="156" y="462"/>
                </a:lnTo>
                <a:lnTo>
                  <a:pt x="156" y="468"/>
                </a:lnTo>
                <a:lnTo>
                  <a:pt x="156" y="474"/>
                </a:lnTo>
                <a:lnTo>
                  <a:pt x="150" y="474"/>
                </a:lnTo>
                <a:lnTo>
                  <a:pt x="150" y="480"/>
                </a:lnTo>
                <a:lnTo>
                  <a:pt x="150" y="486"/>
                </a:lnTo>
                <a:lnTo>
                  <a:pt x="150" y="492"/>
                </a:lnTo>
                <a:lnTo>
                  <a:pt x="144" y="492"/>
                </a:lnTo>
                <a:lnTo>
                  <a:pt x="144" y="498"/>
                </a:lnTo>
                <a:lnTo>
                  <a:pt x="144" y="504"/>
                </a:lnTo>
                <a:lnTo>
                  <a:pt x="138" y="504"/>
                </a:lnTo>
                <a:lnTo>
                  <a:pt x="132" y="504"/>
                </a:lnTo>
                <a:lnTo>
                  <a:pt x="132" y="510"/>
                </a:lnTo>
                <a:lnTo>
                  <a:pt x="126" y="510"/>
                </a:lnTo>
                <a:lnTo>
                  <a:pt x="126" y="516"/>
                </a:lnTo>
                <a:lnTo>
                  <a:pt x="120" y="516"/>
                </a:lnTo>
                <a:lnTo>
                  <a:pt x="120" y="522"/>
                </a:lnTo>
                <a:lnTo>
                  <a:pt x="114" y="522"/>
                </a:lnTo>
                <a:lnTo>
                  <a:pt x="114" y="528"/>
                </a:lnTo>
                <a:lnTo>
                  <a:pt x="108" y="534"/>
                </a:lnTo>
                <a:lnTo>
                  <a:pt x="102" y="534"/>
                </a:lnTo>
                <a:lnTo>
                  <a:pt x="96" y="534"/>
                </a:lnTo>
                <a:lnTo>
                  <a:pt x="96" y="540"/>
                </a:lnTo>
                <a:lnTo>
                  <a:pt x="90" y="546"/>
                </a:lnTo>
                <a:lnTo>
                  <a:pt x="84" y="546"/>
                </a:lnTo>
                <a:lnTo>
                  <a:pt x="78" y="546"/>
                </a:lnTo>
                <a:lnTo>
                  <a:pt x="78" y="540"/>
                </a:lnTo>
                <a:lnTo>
                  <a:pt x="72" y="540"/>
                </a:lnTo>
                <a:lnTo>
                  <a:pt x="72" y="546"/>
                </a:lnTo>
                <a:lnTo>
                  <a:pt x="66" y="546"/>
                </a:lnTo>
                <a:lnTo>
                  <a:pt x="60" y="546"/>
                </a:lnTo>
                <a:lnTo>
                  <a:pt x="54" y="546"/>
                </a:lnTo>
                <a:lnTo>
                  <a:pt x="54" y="540"/>
                </a:lnTo>
                <a:lnTo>
                  <a:pt x="48" y="540"/>
                </a:lnTo>
                <a:lnTo>
                  <a:pt x="42" y="540"/>
                </a:lnTo>
                <a:lnTo>
                  <a:pt x="42" y="546"/>
                </a:lnTo>
                <a:lnTo>
                  <a:pt x="36" y="546"/>
                </a:lnTo>
                <a:lnTo>
                  <a:pt x="36" y="540"/>
                </a:lnTo>
                <a:lnTo>
                  <a:pt x="30" y="540"/>
                </a:lnTo>
                <a:lnTo>
                  <a:pt x="36" y="540"/>
                </a:lnTo>
                <a:lnTo>
                  <a:pt x="30" y="540"/>
                </a:lnTo>
                <a:lnTo>
                  <a:pt x="36" y="534"/>
                </a:lnTo>
                <a:lnTo>
                  <a:pt x="30" y="534"/>
                </a:lnTo>
                <a:lnTo>
                  <a:pt x="36" y="534"/>
                </a:lnTo>
                <a:lnTo>
                  <a:pt x="30" y="528"/>
                </a:lnTo>
                <a:lnTo>
                  <a:pt x="36" y="528"/>
                </a:lnTo>
                <a:lnTo>
                  <a:pt x="30" y="528"/>
                </a:lnTo>
                <a:lnTo>
                  <a:pt x="30" y="522"/>
                </a:lnTo>
                <a:lnTo>
                  <a:pt x="30" y="516"/>
                </a:lnTo>
                <a:lnTo>
                  <a:pt x="36" y="516"/>
                </a:lnTo>
                <a:lnTo>
                  <a:pt x="36" y="510"/>
                </a:lnTo>
                <a:lnTo>
                  <a:pt x="42" y="510"/>
                </a:lnTo>
                <a:lnTo>
                  <a:pt x="42" y="504"/>
                </a:lnTo>
                <a:lnTo>
                  <a:pt x="48" y="498"/>
                </a:lnTo>
                <a:lnTo>
                  <a:pt x="42" y="498"/>
                </a:lnTo>
                <a:lnTo>
                  <a:pt x="42" y="492"/>
                </a:lnTo>
                <a:lnTo>
                  <a:pt x="42" y="486"/>
                </a:lnTo>
                <a:lnTo>
                  <a:pt x="42" y="480"/>
                </a:lnTo>
                <a:lnTo>
                  <a:pt x="36" y="474"/>
                </a:lnTo>
                <a:lnTo>
                  <a:pt x="36" y="468"/>
                </a:lnTo>
                <a:lnTo>
                  <a:pt x="36" y="462"/>
                </a:lnTo>
                <a:lnTo>
                  <a:pt x="30" y="462"/>
                </a:lnTo>
                <a:lnTo>
                  <a:pt x="36" y="462"/>
                </a:lnTo>
                <a:lnTo>
                  <a:pt x="36" y="456"/>
                </a:lnTo>
                <a:lnTo>
                  <a:pt x="30" y="456"/>
                </a:lnTo>
                <a:lnTo>
                  <a:pt x="30" y="450"/>
                </a:lnTo>
                <a:lnTo>
                  <a:pt x="24" y="450"/>
                </a:lnTo>
                <a:lnTo>
                  <a:pt x="30" y="450"/>
                </a:lnTo>
                <a:lnTo>
                  <a:pt x="30" y="444"/>
                </a:lnTo>
                <a:lnTo>
                  <a:pt x="30" y="450"/>
                </a:lnTo>
                <a:lnTo>
                  <a:pt x="24" y="444"/>
                </a:lnTo>
                <a:lnTo>
                  <a:pt x="24" y="438"/>
                </a:lnTo>
                <a:lnTo>
                  <a:pt x="18" y="438"/>
                </a:lnTo>
                <a:lnTo>
                  <a:pt x="24" y="438"/>
                </a:lnTo>
                <a:lnTo>
                  <a:pt x="18" y="432"/>
                </a:lnTo>
                <a:lnTo>
                  <a:pt x="18" y="426"/>
                </a:lnTo>
                <a:lnTo>
                  <a:pt x="12" y="426"/>
                </a:lnTo>
                <a:lnTo>
                  <a:pt x="6" y="426"/>
                </a:lnTo>
                <a:lnTo>
                  <a:pt x="6" y="420"/>
                </a:lnTo>
                <a:lnTo>
                  <a:pt x="0" y="420"/>
                </a:lnTo>
                <a:lnTo>
                  <a:pt x="0" y="414"/>
                </a:lnTo>
                <a:lnTo>
                  <a:pt x="0" y="408"/>
                </a:lnTo>
                <a:lnTo>
                  <a:pt x="0" y="402"/>
                </a:lnTo>
                <a:lnTo>
                  <a:pt x="0" y="396"/>
                </a:lnTo>
                <a:lnTo>
                  <a:pt x="0" y="390"/>
                </a:lnTo>
                <a:lnTo>
                  <a:pt x="0" y="384"/>
                </a:lnTo>
                <a:lnTo>
                  <a:pt x="0" y="378"/>
                </a:lnTo>
                <a:lnTo>
                  <a:pt x="0" y="372"/>
                </a:lnTo>
                <a:lnTo>
                  <a:pt x="0" y="366"/>
                </a:lnTo>
                <a:lnTo>
                  <a:pt x="0" y="360"/>
                </a:lnTo>
                <a:lnTo>
                  <a:pt x="0" y="354"/>
                </a:lnTo>
                <a:lnTo>
                  <a:pt x="0" y="348"/>
                </a:lnTo>
                <a:lnTo>
                  <a:pt x="0" y="342"/>
                </a:lnTo>
                <a:lnTo>
                  <a:pt x="0" y="336"/>
                </a:lnTo>
                <a:lnTo>
                  <a:pt x="0" y="330"/>
                </a:lnTo>
                <a:lnTo>
                  <a:pt x="0" y="324"/>
                </a:lnTo>
                <a:lnTo>
                  <a:pt x="0"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54" y="246"/>
                </a:lnTo>
                <a:lnTo>
                  <a:pt x="54" y="186"/>
                </a:lnTo>
                <a:lnTo>
                  <a:pt x="54" y="126"/>
                </a:lnTo>
                <a:lnTo>
                  <a:pt x="54" y="78"/>
                </a:lnTo>
                <a:lnTo>
                  <a:pt x="54" y="30"/>
                </a:lnTo>
                <a:lnTo>
                  <a:pt x="78" y="30"/>
                </a:lnTo>
                <a:lnTo>
                  <a:pt x="162" y="12"/>
                </a:lnTo>
                <a:lnTo>
                  <a:pt x="168" y="12"/>
                </a:lnTo>
                <a:lnTo>
                  <a:pt x="174" y="12"/>
                </a:lnTo>
                <a:lnTo>
                  <a:pt x="180" y="12"/>
                </a:lnTo>
                <a:lnTo>
                  <a:pt x="186" y="12"/>
                </a:lnTo>
                <a:lnTo>
                  <a:pt x="180" y="12"/>
                </a:lnTo>
                <a:lnTo>
                  <a:pt x="186" y="18"/>
                </a:lnTo>
                <a:lnTo>
                  <a:pt x="186" y="24"/>
                </a:lnTo>
                <a:lnTo>
                  <a:pt x="192" y="24"/>
                </a:lnTo>
                <a:lnTo>
                  <a:pt x="192" y="30"/>
                </a:lnTo>
                <a:lnTo>
                  <a:pt x="198" y="30"/>
                </a:lnTo>
                <a:lnTo>
                  <a:pt x="198" y="36"/>
                </a:lnTo>
                <a:lnTo>
                  <a:pt x="198" y="42"/>
                </a:lnTo>
                <a:lnTo>
                  <a:pt x="204" y="36"/>
                </a:lnTo>
                <a:lnTo>
                  <a:pt x="210" y="36"/>
                </a:lnTo>
                <a:lnTo>
                  <a:pt x="210" y="30"/>
                </a:lnTo>
                <a:lnTo>
                  <a:pt x="216" y="30"/>
                </a:lnTo>
                <a:lnTo>
                  <a:pt x="216" y="24"/>
                </a:lnTo>
                <a:lnTo>
                  <a:pt x="222" y="24"/>
                </a:lnTo>
                <a:lnTo>
                  <a:pt x="222" y="18"/>
                </a:lnTo>
                <a:lnTo>
                  <a:pt x="228" y="18"/>
                </a:lnTo>
                <a:lnTo>
                  <a:pt x="228" y="12"/>
                </a:lnTo>
                <a:lnTo>
                  <a:pt x="234" y="12"/>
                </a:lnTo>
                <a:lnTo>
                  <a:pt x="240" y="12"/>
                </a:lnTo>
                <a:lnTo>
                  <a:pt x="240" y="6"/>
                </a:lnTo>
                <a:lnTo>
                  <a:pt x="246" y="6"/>
                </a:lnTo>
                <a:lnTo>
                  <a:pt x="246" y="12"/>
                </a:lnTo>
                <a:lnTo>
                  <a:pt x="252" y="12"/>
                </a:lnTo>
                <a:lnTo>
                  <a:pt x="258" y="12"/>
                </a:lnTo>
                <a:lnTo>
                  <a:pt x="258" y="6"/>
                </a:lnTo>
                <a:lnTo>
                  <a:pt x="264" y="6"/>
                </a:lnTo>
                <a:lnTo>
                  <a:pt x="258" y="6"/>
                </a:lnTo>
                <a:lnTo>
                  <a:pt x="264" y="6"/>
                </a:lnTo>
                <a:lnTo>
                  <a:pt x="264" y="0"/>
                </a:lnTo>
                <a:lnTo>
                  <a:pt x="264" y="6"/>
                </a:lnTo>
                <a:lnTo>
                  <a:pt x="264" y="0"/>
                </a:lnTo>
                <a:lnTo>
                  <a:pt x="270" y="0"/>
                </a:lnTo>
                <a:lnTo>
                  <a:pt x="276" y="0"/>
                </a:lnTo>
                <a:lnTo>
                  <a:pt x="282" y="0"/>
                </a:lnTo>
                <a:lnTo>
                  <a:pt x="276" y="0"/>
                </a:lnTo>
                <a:lnTo>
                  <a:pt x="282" y="0"/>
                </a:lnTo>
                <a:lnTo>
                  <a:pt x="288" y="0"/>
                </a:lnTo>
                <a:lnTo>
                  <a:pt x="294" y="0"/>
                </a:lnTo>
                <a:lnTo>
                  <a:pt x="288" y="0"/>
                </a:lnTo>
                <a:lnTo>
                  <a:pt x="288" y="6"/>
                </a:lnTo>
                <a:lnTo>
                  <a:pt x="294" y="6"/>
                </a:lnTo>
                <a:lnTo>
                  <a:pt x="294" y="12"/>
                </a:lnTo>
                <a:lnTo>
                  <a:pt x="294" y="18"/>
                </a:lnTo>
                <a:lnTo>
                  <a:pt x="300" y="18"/>
                </a:lnTo>
                <a:lnTo>
                  <a:pt x="300" y="24"/>
                </a:lnTo>
                <a:lnTo>
                  <a:pt x="306" y="30"/>
                </a:lnTo>
                <a:lnTo>
                  <a:pt x="306" y="36"/>
                </a:lnTo>
                <a:lnTo>
                  <a:pt x="312" y="36"/>
                </a:lnTo>
                <a:lnTo>
                  <a:pt x="312" y="42"/>
                </a:lnTo>
                <a:lnTo>
                  <a:pt x="318" y="48"/>
                </a:lnTo>
                <a:lnTo>
                  <a:pt x="318" y="54"/>
                </a:lnTo>
                <a:lnTo>
                  <a:pt x="324" y="60"/>
                </a:lnTo>
                <a:lnTo>
                  <a:pt x="330" y="66"/>
                </a:lnTo>
                <a:lnTo>
                  <a:pt x="330" y="72"/>
                </a:lnTo>
                <a:lnTo>
                  <a:pt x="330" y="78"/>
                </a:lnTo>
                <a:lnTo>
                  <a:pt x="336" y="78"/>
                </a:lnTo>
                <a:lnTo>
                  <a:pt x="336" y="84"/>
                </a:lnTo>
                <a:lnTo>
                  <a:pt x="336" y="90"/>
                </a:lnTo>
                <a:lnTo>
                  <a:pt x="336" y="96"/>
                </a:lnTo>
                <a:lnTo>
                  <a:pt x="342" y="96"/>
                </a:lnTo>
                <a:lnTo>
                  <a:pt x="342" y="102"/>
                </a:lnTo>
                <a:lnTo>
                  <a:pt x="348" y="102"/>
                </a:lnTo>
                <a:lnTo>
                  <a:pt x="354" y="108"/>
                </a:lnTo>
                <a:lnTo>
                  <a:pt x="348" y="108"/>
                </a:lnTo>
                <a:lnTo>
                  <a:pt x="354" y="108"/>
                </a:lnTo>
                <a:lnTo>
                  <a:pt x="354" y="114"/>
                </a:lnTo>
                <a:lnTo>
                  <a:pt x="360" y="114"/>
                </a:lnTo>
                <a:lnTo>
                  <a:pt x="366" y="114"/>
                </a:lnTo>
                <a:lnTo>
                  <a:pt x="366" y="120"/>
                </a:lnTo>
                <a:lnTo>
                  <a:pt x="372" y="120"/>
                </a:lnTo>
                <a:lnTo>
                  <a:pt x="372" y="126"/>
                </a:lnTo>
                <a:lnTo>
                  <a:pt x="378" y="126"/>
                </a:lnTo>
                <a:lnTo>
                  <a:pt x="384" y="126"/>
                </a:lnTo>
                <a:lnTo>
                  <a:pt x="384" y="132"/>
                </a:lnTo>
                <a:lnTo>
                  <a:pt x="390" y="132"/>
                </a:lnTo>
                <a:lnTo>
                  <a:pt x="396" y="132"/>
                </a:lnTo>
                <a:lnTo>
                  <a:pt x="402" y="132"/>
                </a:lnTo>
                <a:lnTo>
                  <a:pt x="402" y="138"/>
                </a:lnTo>
                <a:lnTo>
                  <a:pt x="402" y="144"/>
                </a:lnTo>
                <a:lnTo>
                  <a:pt x="402" y="150"/>
                </a:lnTo>
                <a:lnTo>
                  <a:pt x="402" y="156"/>
                </a:lnTo>
                <a:lnTo>
                  <a:pt x="408" y="156"/>
                </a:lnTo>
                <a:lnTo>
                  <a:pt x="414" y="156"/>
                </a:lnTo>
                <a:lnTo>
                  <a:pt x="420" y="156"/>
                </a:lnTo>
                <a:lnTo>
                  <a:pt x="426" y="156"/>
                </a:lnTo>
                <a:lnTo>
                  <a:pt x="426" y="162"/>
                </a:lnTo>
                <a:lnTo>
                  <a:pt x="426" y="168"/>
                </a:lnTo>
                <a:lnTo>
                  <a:pt x="426" y="174"/>
                </a:lnTo>
                <a:lnTo>
                  <a:pt x="426" y="180"/>
                </a:lnTo>
                <a:lnTo>
                  <a:pt x="426" y="186"/>
                </a:lnTo>
                <a:lnTo>
                  <a:pt x="426" y="192"/>
                </a:lnTo>
                <a:lnTo>
                  <a:pt x="426" y="198"/>
                </a:lnTo>
                <a:lnTo>
                  <a:pt x="432" y="198"/>
                </a:lnTo>
                <a:lnTo>
                  <a:pt x="432" y="204"/>
                </a:lnTo>
                <a:lnTo>
                  <a:pt x="438" y="204"/>
                </a:lnTo>
                <a:lnTo>
                  <a:pt x="438" y="210"/>
                </a:lnTo>
                <a:lnTo>
                  <a:pt x="438" y="216"/>
                </a:lnTo>
                <a:lnTo>
                  <a:pt x="444" y="216"/>
                </a:lnTo>
                <a:lnTo>
                  <a:pt x="438" y="216"/>
                </a:lnTo>
                <a:lnTo>
                  <a:pt x="444" y="216"/>
                </a:lnTo>
                <a:lnTo>
                  <a:pt x="444" y="222"/>
                </a:lnTo>
                <a:lnTo>
                  <a:pt x="450" y="222"/>
                </a:lnTo>
                <a:lnTo>
                  <a:pt x="456" y="222"/>
                </a:lnTo>
                <a:lnTo>
                  <a:pt x="462" y="222"/>
                </a:lnTo>
                <a:lnTo>
                  <a:pt x="468" y="228"/>
                </a:lnTo>
                <a:lnTo>
                  <a:pt x="474" y="228"/>
                </a:lnTo>
                <a:lnTo>
                  <a:pt x="480" y="228"/>
                </a:lnTo>
                <a:lnTo>
                  <a:pt x="486" y="228"/>
                </a:lnTo>
                <a:lnTo>
                  <a:pt x="486" y="234"/>
                </a:lnTo>
                <a:lnTo>
                  <a:pt x="492" y="234"/>
                </a:lnTo>
                <a:lnTo>
                  <a:pt x="498" y="234"/>
                </a:lnTo>
                <a:lnTo>
                  <a:pt x="504" y="234"/>
                </a:lnTo>
                <a:lnTo>
                  <a:pt x="504" y="240"/>
                </a:lnTo>
                <a:lnTo>
                  <a:pt x="498" y="240"/>
                </a:lnTo>
                <a:lnTo>
                  <a:pt x="498" y="246"/>
                </a:lnTo>
                <a:lnTo>
                  <a:pt x="504" y="246"/>
                </a:lnTo>
                <a:lnTo>
                  <a:pt x="504" y="252"/>
                </a:lnTo>
                <a:lnTo>
                  <a:pt x="510" y="252"/>
                </a:lnTo>
                <a:lnTo>
                  <a:pt x="516" y="252"/>
                </a:lnTo>
                <a:lnTo>
                  <a:pt x="516" y="258"/>
                </a:lnTo>
                <a:close/>
              </a:path>
            </a:pathLst>
          </a:custGeom>
          <a:solidFill>
            <a:schemeClr val="accent1">
              <a:lumMod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59" name="Freeform 53">
            <a:extLst>
              <a:ext uri="{FF2B5EF4-FFF2-40B4-BE49-F238E27FC236}">
                <a16:creationId xmlns:a16="http://schemas.microsoft.com/office/drawing/2014/main" id="{0AA5E884-91AA-4E46-AA36-D841A847000A}"/>
              </a:ext>
            </a:extLst>
          </p:cNvPr>
          <p:cNvSpPr>
            <a:spLocks/>
          </p:cNvSpPr>
          <p:nvPr>
            <p:custDataLst>
              <p:tags r:id="rId47"/>
            </p:custDataLst>
          </p:nvPr>
        </p:nvSpPr>
        <p:spPr bwMode="gray">
          <a:xfrm>
            <a:off x="5165558" y="5304295"/>
            <a:ext cx="503593" cy="341252"/>
          </a:xfrm>
          <a:custGeom>
            <a:avLst/>
            <a:gdLst>
              <a:gd name="T0" fmla="*/ 115139 w 438"/>
              <a:gd name="T1" fmla="*/ 138570 h 396"/>
              <a:gd name="T2" fmla="*/ 106431 w 438"/>
              <a:gd name="T3" fmla="*/ 138570 h 396"/>
              <a:gd name="T4" fmla="*/ 101594 w 438"/>
              <a:gd name="T5" fmla="*/ 140508 h 396"/>
              <a:gd name="T6" fmla="*/ 93853 w 438"/>
              <a:gd name="T7" fmla="*/ 138570 h 396"/>
              <a:gd name="T8" fmla="*/ 85146 w 438"/>
              <a:gd name="T9" fmla="*/ 136632 h 396"/>
              <a:gd name="T10" fmla="*/ 76437 w 438"/>
              <a:gd name="T11" fmla="*/ 134694 h 396"/>
              <a:gd name="T12" fmla="*/ 76437 w 438"/>
              <a:gd name="T13" fmla="*/ 127910 h 396"/>
              <a:gd name="T14" fmla="*/ 67729 w 438"/>
              <a:gd name="T15" fmla="*/ 125973 h 396"/>
              <a:gd name="T16" fmla="*/ 57086 w 438"/>
              <a:gd name="T17" fmla="*/ 124035 h 396"/>
              <a:gd name="T18" fmla="*/ 53216 w 438"/>
              <a:gd name="T19" fmla="*/ 121127 h 396"/>
              <a:gd name="T20" fmla="*/ 48378 w 438"/>
              <a:gd name="T21" fmla="*/ 115313 h 396"/>
              <a:gd name="T22" fmla="*/ 48378 w 438"/>
              <a:gd name="T23" fmla="*/ 104654 h 396"/>
              <a:gd name="T24" fmla="*/ 42573 w 438"/>
              <a:gd name="T25" fmla="*/ 100778 h 396"/>
              <a:gd name="T26" fmla="*/ 40638 w 438"/>
              <a:gd name="T27" fmla="*/ 92057 h 396"/>
              <a:gd name="T28" fmla="*/ 31929 w 438"/>
              <a:gd name="T29" fmla="*/ 90119 h 396"/>
              <a:gd name="T30" fmla="*/ 26124 w 438"/>
              <a:gd name="T31" fmla="*/ 85274 h 396"/>
              <a:gd name="T32" fmla="*/ 21286 w 438"/>
              <a:gd name="T33" fmla="*/ 81397 h 396"/>
              <a:gd name="T34" fmla="*/ 17416 w 438"/>
              <a:gd name="T35" fmla="*/ 74615 h 396"/>
              <a:gd name="T36" fmla="*/ 12578 w 438"/>
              <a:gd name="T37" fmla="*/ 65893 h 396"/>
              <a:gd name="T38" fmla="*/ 6773 w 438"/>
              <a:gd name="T39" fmla="*/ 57172 h 396"/>
              <a:gd name="T40" fmla="*/ 1935 w 438"/>
              <a:gd name="T41" fmla="*/ 49420 h 396"/>
              <a:gd name="T42" fmla="*/ 3871 w 438"/>
              <a:gd name="T43" fmla="*/ 44575 h 396"/>
              <a:gd name="T44" fmla="*/ 12578 w 438"/>
              <a:gd name="T45" fmla="*/ 46513 h 396"/>
              <a:gd name="T46" fmla="*/ 17416 w 438"/>
              <a:gd name="T47" fmla="*/ 49420 h 396"/>
              <a:gd name="T48" fmla="*/ 26124 w 438"/>
              <a:gd name="T49" fmla="*/ 46513 h 396"/>
              <a:gd name="T50" fmla="*/ 29994 w 438"/>
              <a:gd name="T51" fmla="*/ 49420 h 396"/>
              <a:gd name="T52" fmla="*/ 37735 w 438"/>
              <a:gd name="T53" fmla="*/ 44575 h 396"/>
              <a:gd name="T54" fmla="*/ 42573 w 438"/>
              <a:gd name="T55" fmla="*/ 37792 h 396"/>
              <a:gd name="T56" fmla="*/ 46443 w 438"/>
              <a:gd name="T57" fmla="*/ 31978 h 396"/>
              <a:gd name="T58" fmla="*/ 53216 w 438"/>
              <a:gd name="T59" fmla="*/ 26164 h 396"/>
              <a:gd name="T60" fmla="*/ 59989 w 438"/>
              <a:gd name="T61" fmla="*/ 21319 h 396"/>
              <a:gd name="T62" fmla="*/ 67729 w 438"/>
              <a:gd name="T63" fmla="*/ 19380 h 396"/>
              <a:gd name="T64" fmla="*/ 71599 w 438"/>
              <a:gd name="T65" fmla="*/ 12597 h 396"/>
              <a:gd name="T66" fmla="*/ 76437 w 438"/>
              <a:gd name="T67" fmla="*/ 3876 h 396"/>
              <a:gd name="T68" fmla="*/ 85146 w 438"/>
              <a:gd name="T69" fmla="*/ 0 h 396"/>
              <a:gd name="T70" fmla="*/ 95788 w 438"/>
              <a:gd name="T71" fmla="*/ 0 h 396"/>
              <a:gd name="T72" fmla="*/ 101594 w 438"/>
              <a:gd name="T73" fmla="*/ 3876 h 396"/>
              <a:gd name="T74" fmla="*/ 110302 w 438"/>
              <a:gd name="T75" fmla="*/ 6783 h 396"/>
              <a:gd name="T76" fmla="*/ 117075 w 438"/>
              <a:gd name="T77" fmla="*/ 6783 h 396"/>
              <a:gd name="T78" fmla="*/ 123848 w 438"/>
              <a:gd name="T79" fmla="*/ 10659 h 396"/>
              <a:gd name="T80" fmla="*/ 131588 w 438"/>
              <a:gd name="T81" fmla="*/ 12597 h 396"/>
              <a:gd name="T82" fmla="*/ 138361 w 438"/>
              <a:gd name="T83" fmla="*/ 17442 h 396"/>
              <a:gd name="T84" fmla="*/ 149004 w 438"/>
              <a:gd name="T85" fmla="*/ 19380 h 396"/>
              <a:gd name="T86" fmla="*/ 152875 w 438"/>
              <a:gd name="T87" fmla="*/ 21319 h 396"/>
              <a:gd name="T88" fmla="*/ 152875 w 438"/>
              <a:gd name="T89" fmla="*/ 30039 h 396"/>
              <a:gd name="T90" fmla="*/ 152875 w 438"/>
              <a:gd name="T91" fmla="*/ 36823 h 396"/>
              <a:gd name="T92" fmla="*/ 152875 w 438"/>
              <a:gd name="T93" fmla="*/ 42637 h 396"/>
              <a:gd name="T94" fmla="*/ 152875 w 438"/>
              <a:gd name="T95" fmla="*/ 53296 h 396"/>
              <a:gd name="T96" fmla="*/ 152875 w 438"/>
              <a:gd name="T97" fmla="*/ 57172 h 396"/>
              <a:gd name="T98" fmla="*/ 152875 w 438"/>
              <a:gd name="T99" fmla="*/ 63955 h 396"/>
              <a:gd name="T100" fmla="*/ 149004 w 438"/>
              <a:gd name="T101" fmla="*/ 65893 h 396"/>
              <a:gd name="T102" fmla="*/ 149004 w 438"/>
              <a:gd name="T103" fmla="*/ 70738 h 396"/>
              <a:gd name="T104" fmla="*/ 149004 w 438"/>
              <a:gd name="T105" fmla="*/ 76552 h 396"/>
              <a:gd name="T106" fmla="*/ 152875 w 438"/>
              <a:gd name="T107" fmla="*/ 83336 h 396"/>
              <a:gd name="T108" fmla="*/ 152875 w 438"/>
              <a:gd name="T109" fmla="*/ 92057 h 396"/>
              <a:gd name="T110" fmla="*/ 150939 w 438"/>
              <a:gd name="T111" fmla="*/ 95933 h 396"/>
              <a:gd name="T112" fmla="*/ 142231 w 438"/>
              <a:gd name="T113" fmla="*/ 104654 h 396"/>
              <a:gd name="T114" fmla="*/ 142231 w 438"/>
              <a:gd name="T115" fmla="*/ 113376 h 396"/>
              <a:gd name="T116" fmla="*/ 142231 w 438"/>
              <a:gd name="T117" fmla="*/ 120159 h 396"/>
              <a:gd name="T118" fmla="*/ 123848 w 438"/>
              <a:gd name="T119" fmla="*/ 138570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396">
                <a:moveTo>
                  <a:pt x="342" y="396"/>
                </a:moveTo>
                <a:lnTo>
                  <a:pt x="336" y="396"/>
                </a:lnTo>
                <a:lnTo>
                  <a:pt x="330" y="396"/>
                </a:lnTo>
                <a:lnTo>
                  <a:pt x="324" y="396"/>
                </a:lnTo>
                <a:lnTo>
                  <a:pt x="324" y="390"/>
                </a:lnTo>
                <a:lnTo>
                  <a:pt x="324" y="396"/>
                </a:lnTo>
                <a:lnTo>
                  <a:pt x="318" y="390"/>
                </a:lnTo>
                <a:lnTo>
                  <a:pt x="312" y="390"/>
                </a:lnTo>
                <a:lnTo>
                  <a:pt x="306" y="390"/>
                </a:lnTo>
                <a:lnTo>
                  <a:pt x="300" y="390"/>
                </a:lnTo>
                <a:lnTo>
                  <a:pt x="300" y="396"/>
                </a:lnTo>
                <a:lnTo>
                  <a:pt x="300" y="390"/>
                </a:lnTo>
                <a:lnTo>
                  <a:pt x="294" y="390"/>
                </a:lnTo>
                <a:lnTo>
                  <a:pt x="294" y="396"/>
                </a:lnTo>
                <a:lnTo>
                  <a:pt x="288" y="396"/>
                </a:lnTo>
                <a:lnTo>
                  <a:pt x="282" y="396"/>
                </a:lnTo>
                <a:lnTo>
                  <a:pt x="282" y="390"/>
                </a:lnTo>
                <a:lnTo>
                  <a:pt x="276" y="390"/>
                </a:lnTo>
                <a:lnTo>
                  <a:pt x="270" y="390"/>
                </a:lnTo>
                <a:lnTo>
                  <a:pt x="264" y="390"/>
                </a:lnTo>
                <a:lnTo>
                  <a:pt x="264" y="384"/>
                </a:lnTo>
                <a:lnTo>
                  <a:pt x="258" y="384"/>
                </a:lnTo>
                <a:lnTo>
                  <a:pt x="252" y="384"/>
                </a:lnTo>
                <a:lnTo>
                  <a:pt x="246" y="384"/>
                </a:lnTo>
                <a:lnTo>
                  <a:pt x="240" y="384"/>
                </a:lnTo>
                <a:lnTo>
                  <a:pt x="234" y="384"/>
                </a:lnTo>
                <a:lnTo>
                  <a:pt x="228" y="384"/>
                </a:lnTo>
                <a:lnTo>
                  <a:pt x="228" y="378"/>
                </a:lnTo>
                <a:lnTo>
                  <a:pt x="222" y="378"/>
                </a:lnTo>
                <a:lnTo>
                  <a:pt x="216" y="378"/>
                </a:lnTo>
                <a:lnTo>
                  <a:pt x="216" y="372"/>
                </a:lnTo>
                <a:lnTo>
                  <a:pt x="210" y="372"/>
                </a:lnTo>
                <a:lnTo>
                  <a:pt x="210" y="366"/>
                </a:lnTo>
                <a:lnTo>
                  <a:pt x="216" y="366"/>
                </a:lnTo>
                <a:lnTo>
                  <a:pt x="216" y="360"/>
                </a:lnTo>
                <a:lnTo>
                  <a:pt x="210" y="360"/>
                </a:lnTo>
                <a:lnTo>
                  <a:pt x="204" y="360"/>
                </a:lnTo>
                <a:lnTo>
                  <a:pt x="198" y="360"/>
                </a:lnTo>
                <a:lnTo>
                  <a:pt x="198" y="354"/>
                </a:lnTo>
                <a:lnTo>
                  <a:pt x="192" y="354"/>
                </a:lnTo>
                <a:lnTo>
                  <a:pt x="186" y="354"/>
                </a:lnTo>
                <a:lnTo>
                  <a:pt x="180" y="354"/>
                </a:lnTo>
                <a:lnTo>
                  <a:pt x="174" y="348"/>
                </a:lnTo>
                <a:lnTo>
                  <a:pt x="168" y="348"/>
                </a:lnTo>
                <a:lnTo>
                  <a:pt x="162" y="348"/>
                </a:lnTo>
                <a:lnTo>
                  <a:pt x="156" y="348"/>
                </a:lnTo>
                <a:lnTo>
                  <a:pt x="156" y="342"/>
                </a:lnTo>
                <a:lnTo>
                  <a:pt x="150" y="342"/>
                </a:lnTo>
                <a:lnTo>
                  <a:pt x="156" y="342"/>
                </a:lnTo>
                <a:lnTo>
                  <a:pt x="150" y="342"/>
                </a:lnTo>
                <a:lnTo>
                  <a:pt x="150" y="336"/>
                </a:lnTo>
                <a:lnTo>
                  <a:pt x="150" y="330"/>
                </a:lnTo>
                <a:lnTo>
                  <a:pt x="144" y="330"/>
                </a:lnTo>
                <a:lnTo>
                  <a:pt x="144" y="324"/>
                </a:lnTo>
                <a:lnTo>
                  <a:pt x="138" y="324"/>
                </a:lnTo>
                <a:lnTo>
                  <a:pt x="138" y="318"/>
                </a:lnTo>
                <a:lnTo>
                  <a:pt x="138" y="312"/>
                </a:lnTo>
                <a:lnTo>
                  <a:pt x="138" y="306"/>
                </a:lnTo>
                <a:lnTo>
                  <a:pt x="138" y="300"/>
                </a:lnTo>
                <a:lnTo>
                  <a:pt x="138" y="294"/>
                </a:lnTo>
                <a:lnTo>
                  <a:pt x="138" y="288"/>
                </a:lnTo>
                <a:lnTo>
                  <a:pt x="138" y="282"/>
                </a:lnTo>
                <a:lnTo>
                  <a:pt x="132" y="282"/>
                </a:lnTo>
                <a:lnTo>
                  <a:pt x="126" y="282"/>
                </a:lnTo>
                <a:lnTo>
                  <a:pt x="120" y="282"/>
                </a:lnTo>
                <a:lnTo>
                  <a:pt x="114" y="282"/>
                </a:lnTo>
                <a:lnTo>
                  <a:pt x="114" y="276"/>
                </a:lnTo>
                <a:lnTo>
                  <a:pt x="114" y="270"/>
                </a:lnTo>
                <a:lnTo>
                  <a:pt x="114" y="264"/>
                </a:lnTo>
                <a:lnTo>
                  <a:pt x="114" y="258"/>
                </a:lnTo>
                <a:lnTo>
                  <a:pt x="108" y="258"/>
                </a:lnTo>
                <a:lnTo>
                  <a:pt x="102" y="258"/>
                </a:lnTo>
                <a:lnTo>
                  <a:pt x="96" y="258"/>
                </a:lnTo>
                <a:lnTo>
                  <a:pt x="96" y="252"/>
                </a:lnTo>
                <a:lnTo>
                  <a:pt x="90" y="252"/>
                </a:lnTo>
                <a:lnTo>
                  <a:pt x="84" y="252"/>
                </a:lnTo>
                <a:lnTo>
                  <a:pt x="84" y="246"/>
                </a:lnTo>
                <a:lnTo>
                  <a:pt x="78" y="246"/>
                </a:lnTo>
                <a:lnTo>
                  <a:pt x="78" y="240"/>
                </a:lnTo>
                <a:lnTo>
                  <a:pt x="72" y="240"/>
                </a:lnTo>
                <a:lnTo>
                  <a:pt x="66" y="240"/>
                </a:lnTo>
                <a:lnTo>
                  <a:pt x="66" y="234"/>
                </a:lnTo>
                <a:lnTo>
                  <a:pt x="60" y="234"/>
                </a:lnTo>
                <a:lnTo>
                  <a:pt x="66" y="234"/>
                </a:lnTo>
                <a:lnTo>
                  <a:pt x="60" y="228"/>
                </a:lnTo>
                <a:lnTo>
                  <a:pt x="54" y="228"/>
                </a:lnTo>
                <a:lnTo>
                  <a:pt x="54" y="222"/>
                </a:lnTo>
                <a:lnTo>
                  <a:pt x="48" y="222"/>
                </a:lnTo>
                <a:lnTo>
                  <a:pt x="48" y="216"/>
                </a:lnTo>
                <a:lnTo>
                  <a:pt x="48" y="210"/>
                </a:lnTo>
                <a:lnTo>
                  <a:pt x="48" y="204"/>
                </a:lnTo>
                <a:lnTo>
                  <a:pt x="42" y="204"/>
                </a:lnTo>
                <a:lnTo>
                  <a:pt x="42" y="198"/>
                </a:lnTo>
                <a:lnTo>
                  <a:pt x="42" y="192"/>
                </a:lnTo>
                <a:lnTo>
                  <a:pt x="36" y="186"/>
                </a:lnTo>
                <a:lnTo>
                  <a:pt x="30" y="180"/>
                </a:lnTo>
                <a:lnTo>
                  <a:pt x="30" y="174"/>
                </a:lnTo>
                <a:lnTo>
                  <a:pt x="24" y="168"/>
                </a:lnTo>
                <a:lnTo>
                  <a:pt x="24" y="162"/>
                </a:lnTo>
                <a:lnTo>
                  <a:pt x="18" y="162"/>
                </a:lnTo>
                <a:lnTo>
                  <a:pt x="18" y="156"/>
                </a:lnTo>
                <a:lnTo>
                  <a:pt x="12" y="150"/>
                </a:lnTo>
                <a:lnTo>
                  <a:pt x="12" y="144"/>
                </a:lnTo>
                <a:lnTo>
                  <a:pt x="6" y="144"/>
                </a:lnTo>
                <a:lnTo>
                  <a:pt x="6" y="138"/>
                </a:lnTo>
                <a:lnTo>
                  <a:pt x="6" y="132"/>
                </a:lnTo>
                <a:lnTo>
                  <a:pt x="0" y="132"/>
                </a:lnTo>
                <a:lnTo>
                  <a:pt x="0" y="126"/>
                </a:lnTo>
                <a:lnTo>
                  <a:pt x="6" y="126"/>
                </a:lnTo>
                <a:lnTo>
                  <a:pt x="12" y="126"/>
                </a:lnTo>
                <a:lnTo>
                  <a:pt x="18" y="126"/>
                </a:lnTo>
                <a:lnTo>
                  <a:pt x="24" y="126"/>
                </a:lnTo>
                <a:lnTo>
                  <a:pt x="30" y="126"/>
                </a:lnTo>
                <a:lnTo>
                  <a:pt x="30" y="132"/>
                </a:lnTo>
                <a:lnTo>
                  <a:pt x="36" y="132"/>
                </a:lnTo>
                <a:lnTo>
                  <a:pt x="36" y="138"/>
                </a:lnTo>
                <a:lnTo>
                  <a:pt x="42" y="138"/>
                </a:lnTo>
                <a:lnTo>
                  <a:pt x="48" y="138"/>
                </a:lnTo>
                <a:lnTo>
                  <a:pt x="48" y="132"/>
                </a:lnTo>
                <a:lnTo>
                  <a:pt x="48" y="138"/>
                </a:lnTo>
                <a:lnTo>
                  <a:pt x="48" y="132"/>
                </a:lnTo>
                <a:lnTo>
                  <a:pt x="54" y="132"/>
                </a:lnTo>
                <a:lnTo>
                  <a:pt x="60" y="132"/>
                </a:lnTo>
                <a:lnTo>
                  <a:pt x="66" y="132"/>
                </a:lnTo>
                <a:lnTo>
                  <a:pt x="72" y="132"/>
                </a:lnTo>
                <a:lnTo>
                  <a:pt x="72" y="138"/>
                </a:lnTo>
                <a:lnTo>
                  <a:pt x="78" y="138"/>
                </a:lnTo>
                <a:lnTo>
                  <a:pt x="84" y="138"/>
                </a:lnTo>
                <a:lnTo>
                  <a:pt x="84" y="144"/>
                </a:lnTo>
                <a:lnTo>
                  <a:pt x="84" y="138"/>
                </a:lnTo>
                <a:lnTo>
                  <a:pt x="90" y="138"/>
                </a:lnTo>
                <a:lnTo>
                  <a:pt x="96" y="138"/>
                </a:lnTo>
                <a:lnTo>
                  <a:pt x="96" y="132"/>
                </a:lnTo>
                <a:lnTo>
                  <a:pt x="102" y="132"/>
                </a:lnTo>
                <a:lnTo>
                  <a:pt x="108" y="126"/>
                </a:lnTo>
                <a:lnTo>
                  <a:pt x="108" y="120"/>
                </a:lnTo>
                <a:lnTo>
                  <a:pt x="114" y="120"/>
                </a:lnTo>
                <a:lnTo>
                  <a:pt x="114" y="114"/>
                </a:lnTo>
                <a:lnTo>
                  <a:pt x="120" y="114"/>
                </a:lnTo>
                <a:lnTo>
                  <a:pt x="120" y="108"/>
                </a:lnTo>
                <a:lnTo>
                  <a:pt x="126" y="108"/>
                </a:lnTo>
                <a:lnTo>
                  <a:pt x="126" y="102"/>
                </a:lnTo>
                <a:lnTo>
                  <a:pt x="132" y="102"/>
                </a:lnTo>
                <a:lnTo>
                  <a:pt x="132" y="96"/>
                </a:lnTo>
                <a:lnTo>
                  <a:pt x="132" y="90"/>
                </a:lnTo>
                <a:lnTo>
                  <a:pt x="138" y="90"/>
                </a:lnTo>
                <a:lnTo>
                  <a:pt x="138" y="84"/>
                </a:lnTo>
                <a:lnTo>
                  <a:pt x="144" y="84"/>
                </a:lnTo>
                <a:lnTo>
                  <a:pt x="144" y="78"/>
                </a:lnTo>
                <a:lnTo>
                  <a:pt x="150" y="72"/>
                </a:lnTo>
                <a:lnTo>
                  <a:pt x="156" y="72"/>
                </a:lnTo>
                <a:lnTo>
                  <a:pt x="162" y="72"/>
                </a:lnTo>
                <a:lnTo>
                  <a:pt x="162" y="66"/>
                </a:lnTo>
                <a:lnTo>
                  <a:pt x="168" y="66"/>
                </a:lnTo>
                <a:lnTo>
                  <a:pt x="168" y="60"/>
                </a:lnTo>
                <a:lnTo>
                  <a:pt x="174" y="60"/>
                </a:lnTo>
                <a:lnTo>
                  <a:pt x="180" y="60"/>
                </a:lnTo>
                <a:lnTo>
                  <a:pt x="180" y="54"/>
                </a:lnTo>
                <a:lnTo>
                  <a:pt x="186" y="54"/>
                </a:lnTo>
                <a:lnTo>
                  <a:pt x="192" y="54"/>
                </a:lnTo>
                <a:lnTo>
                  <a:pt x="198" y="54"/>
                </a:lnTo>
                <a:lnTo>
                  <a:pt x="198" y="48"/>
                </a:lnTo>
                <a:lnTo>
                  <a:pt x="204" y="42"/>
                </a:lnTo>
                <a:lnTo>
                  <a:pt x="198" y="36"/>
                </a:lnTo>
                <a:lnTo>
                  <a:pt x="204" y="36"/>
                </a:lnTo>
                <a:lnTo>
                  <a:pt x="204" y="30"/>
                </a:lnTo>
                <a:lnTo>
                  <a:pt x="204" y="24"/>
                </a:lnTo>
                <a:lnTo>
                  <a:pt x="204" y="18"/>
                </a:lnTo>
                <a:lnTo>
                  <a:pt x="210" y="18"/>
                </a:lnTo>
                <a:lnTo>
                  <a:pt x="216" y="12"/>
                </a:lnTo>
                <a:lnTo>
                  <a:pt x="222" y="6"/>
                </a:lnTo>
                <a:lnTo>
                  <a:pt x="228" y="6"/>
                </a:lnTo>
                <a:lnTo>
                  <a:pt x="234" y="6"/>
                </a:lnTo>
                <a:lnTo>
                  <a:pt x="234" y="0"/>
                </a:lnTo>
                <a:lnTo>
                  <a:pt x="240" y="0"/>
                </a:lnTo>
                <a:lnTo>
                  <a:pt x="246" y="0"/>
                </a:lnTo>
                <a:lnTo>
                  <a:pt x="252" y="0"/>
                </a:lnTo>
                <a:lnTo>
                  <a:pt x="258" y="0"/>
                </a:lnTo>
                <a:lnTo>
                  <a:pt x="264" y="0"/>
                </a:lnTo>
                <a:lnTo>
                  <a:pt x="270" y="0"/>
                </a:lnTo>
                <a:lnTo>
                  <a:pt x="276" y="0"/>
                </a:lnTo>
                <a:lnTo>
                  <a:pt x="282" y="0"/>
                </a:lnTo>
                <a:lnTo>
                  <a:pt x="288" y="0"/>
                </a:lnTo>
                <a:lnTo>
                  <a:pt x="288" y="6"/>
                </a:lnTo>
                <a:lnTo>
                  <a:pt x="288" y="12"/>
                </a:lnTo>
                <a:lnTo>
                  <a:pt x="288" y="18"/>
                </a:lnTo>
                <a:lnTo>
                  <a:pt x="294" y="18"/>
                </a:lnTo>
                <a:lnTo>
                  <a:pt x="300" y="18"/>
                </a:lnTo>
                <a:lnTo>
                  <a:pt x="306" y="18"/>
                </a:lnTo>
                <a:lnTo>
                  <a:pt x="312" y="18"/>
                </a:lnTo>
                <a:lnTo>
                  <a:pt x="318" y="18"/>
                </a:lnTo>
                <a:lnTo>
                  <a:pt x="318" y="24"/>
                </a:lnTo>
                <a:lnTo>
                  <a:pt x="324" y="24"/>
                </a:lnTo>
                <a:lnTo>
                  <a:pt x="324" y="18"/>
                </a:lnTo>
                <a:lnTo>
                  <a:pt x="330" y="18"/>
                </a:lnTo>
                <a:lnTo>
                  <a:pt x="336" y="18"/>
                </a:lnTo>
                <a:lnTo>
                  <a:pt x="336" y="24"/>
                </a:lnTo>
                <a:lnTo>
                  <a:pt x="342" y="24"/>
                </a:lnTo>
                <a:lnTo>
                  <a:pt x="342" y="30"/>
                </a:lnTo>
                <a:lnTo>
                  <a:pt x="348" y="30"/>
                </a:lnTo>
                <a:lnTo>
                  <a:pt x="354" y="30"/>
                </a:lnTo>
                <a:lnTo>
                  <a:pt x="360" y="30"/>
                </a:lnTo>
                <a:lnTo>
                  <a:pt x="360" y="36"/>
                </a:lnTo>
                <a:lnTo>
                  <a:pt x="366" y="36"/>
                </a:lnTo>
                <a:lnTo>
                  <a:pt x="372" y="36"/>
                </a:lnTo>
                <a:lnTo>
                  <a:pt x="372" y="42"/>
                </a:lnTo>
                <a:lnTo>
                  <a:pt x="378" y="42"/>
                </a:lnTo>
                <a:lnTo>
                  <a:pt x="378" y="48"/>
                </a:lnTo>
                <a:lnTo>
                  <a:pt x="384" y="48"/>
                </a:lnTo>
                <a:lnTo>
                  <a:pt x="390" y="48"/>
                </a:lnTo>
                <a:lnTo>
                  <a:pt x="396" y="48"/>
                </a:lnTo>
                <a:lnTo>
                  <a:pt x="402" y="48"/>
                </a:lnTo>
                <a:lnTo>
                  <a:pt x="408" y="54"/>
                </a:lnTo>
                <a:lnTo>
                  <a:pt x="414" y="54"/>
                </a:lnTo>
                <a:lnTo>
                  <a:pt x="420" y="54"/>
                </a:lnTo>
                <a:lnTo>
                  <a:pt x="420" y="60"/>
                </a:lnTo>
                <a:lnTo>
                  <a:pt x="414" y="60"/>
                </a:lnTo>
                <a:lnTo>
                  <a:pt x="420" y="60"/>
                </a:lnTo>
                <a:lnTo>
                  <a:pt x="426" y="60"/>
                </a:lnTo>
                <a:lnTo>
                  <a:pt x="432" y="60"/>
                </a:lnTo>
                <a:lnTo>
                  <a:pt x="432" y="66"/>
                </a:lnTo>
                <a:lnTo>
                  <a:pt x="426" y="72"/>
                </a:lnTo>
                <a:lnTo>
                  <a:pt x="426" y="78"/>
                </a:lnTo>
                <a:lnTo>
                  <a:pt x="432" y="78"/>
                </a:lnTo>
                <a:lnTo>
                  <a:pt x="432" y="84"/>
                </a:lnTo>
                <a:lnTo>
                  <a:pt x="432" y="90"/>
                </a:lnTo>
                <a:lnTo>
                  <a:pt x="432" y="96"/>
                </a:lnTo>
                <a:lnTo>
                  <a:pt x="438" y="96"/>
                </a:lnTo>
                <a:lnTo>
                  <a:pt x="438" y="102"/>
                </a:lnTo>
                <a:lnTo>
                  <a:pt x="432" y="102"/>
                </a:lnTo>
                <a:lnTo>
                  <a:pt x="432" y="108"/>
                </a:lnTo>
                <a:lnTo>
                  <a:pt x="432" y="114"/>
                </a:lnTo>
                <a:lnTo>
                  <a:pt x="438" y="114"/>
                </a:lnTo>
                <a:lnTo>
                  <a:pt x="432" y="114"/>
                </a:lnTo>
                <a:lnTo>
                  <a:pt x="432" y="120"/>
                </a:lnTo>
                <a:lnTo>
                  <a:pt x="432" y="126"/>
                </a:lnTo>
                <a:lnTo>
                  <a:pt x="432" y="132"/>
                </a:lnTo>
                <a:lnTo>
                  <a:pt x="432" y="138"/>
                </a:lnTo>
                <a:lnTo>
                  <a:pt x="432" y="144"/>
                </a:lnTo>
                <a:lnTo>
                  <a:pt x="432" y="150"/>
                </a:lnTo>
                <a:lnTo>
                  <a:pt x="432" y="156"/>
                </a:lnTo>
                <a:lnTo>
                  <a:pt x="438" y="156"/>
                </a:lnTo>
                <a:lnTo>
                  <a:pt x="432" y="162"/>
                </a:lnTo>
                <a:lnTo>
                  <a:pt x="432" y="168"/>
                </a:lnTo>
                <a:lnTo>
                  <a:pt x="432" y="162"/>
                </a:lnTo>
                <a:lnTo>
                  <a:pt x="432" y="168"/>
                </a:lnTo>
                <a:lnTo>
                  <a:pt x="426" y="168"/>
                </a:lnTo>
                <a:lnTo>
                  <a:pt x="426" y="174"/>
                </a:lnTo>
                <a:lnTo>
                  <a:pt x="432" y="174"/>
                </a:lnTo>
                <a:lnTo>
                  <a:pt x="432" y="180"/>
                </a:lnTo>
                <a:lnTo>
                  <a:pt x="426" y="180"/>
                </a:lnTo>
                <a:lnTo>
                  <a:pt x="426" y="186"/>
                </a:lnTo>
                <a:lnTo>
                  <a:pt x="426" y="180"/>
                </a:lnTo>
                <a:lnTo>
                  <a:pt x="420" y="180"/>
                </a:lnTo>
                <a:lnTo>
                  <a:pt x="420" y="186"/>
                </a:lnTo>
                <a:lnTo>
                  <a:pt x="414" y="186"/>
                </a:lnTo>
                <a:lnTo>
                  <a:pt x="420" y="186"/>
                </a:lnTo>
                <a:lnTo>
                  <a:pt x="420" y="192"/>
                </a:lnTo>
                <a:lnTo>
                  <a:pt x="414" y="192"/>
                </a:lnTo>
                <a:lnTo>
                  <a:pt x="420" y="198"/>
                </a:lnTo>
                <a:lnTo>
                  <a:pt x="426" y="198"/>
                </a:lnTo>
                <a:lnTo>
                  <a:pt x="426" y="204"/>
                </a:lnTo>
                <a:lnTo>
                  <a:pt x="426" y="210"/>
                </a:lnTo>
                <a:lnTo>
                  <a:pt x="426" y="216"/>
                </a:lnTo>
                <a:lnTo>
                  <a:pt x="420" y="216"/>
                </a:lnTo>
                <a:lnTo>
                  <a:pt x="420" y="222"/>
                </a:lnTo>
                <a:lnTo>
                  <a:pt x="426" y="222"/>
                </a:lnTo>
                <a:lnTo>
                  <a:pt x="426" y="228"/>
                </a:lnTo>
                <a:lnTo>
                  <a:pt x="426" y="234"/>
                </a:lnTo>
                <a:lnTo>
                  <a:pt x="432" y="234"/>
                </a:lnTo>
                <a:lnTo>
                  <a:pt x="432" y="240"/>
                </a:lnTo>
                <a:lnTo>
                  <a:pt x="438" y="240"/>
                </a:lnTo>
                <a:lnTo>
                  <a:pt x="438" y="246"/>
                </a:lnTo>
                <a:lnTo>
                  <a:pt x="432" y="252"/>
                </a:lnTo>
                <a:lnTo>
                  <a:pt x="432" y="258"/>
                </a:lnTo>
                <a:lnTo>
                  <a:pt x="426" y="258"/>
                </a:lnTo>
                <a:lnTo>
                  <a:pt x="426" y="264"/>
                </a:lnTo>
                <a:lnTo>
                  <a:pt x="426" y="258"/>
                </a:lnTo>
                <a:lnTo>
                  <a:pt x="426" y="264"/>
                </a:lnTo>
                <a:lnTo>
                  <a:pt x="426" y="270"/>
                </a:lnTo>
                <a:lnTo>
                  <a:pt x="420" y="276"/>
                </a:lnTo>
                <a:lnTo>
                  <a:pt x="420" y="282"/>
                </a:lnTo>
                <a:lnTo>
                  <a:pt x="414" y="288"/>
                </a:lnTo>
                <a:lnTo>
                  <a:pt x="408" y="288"/>
                </a:lnTo>
                <a:lnTo>
                  <a:pt x="402" y="294"/>
                </a:lnTo>
                <a:lnTo>
                  <a:pt x="408" y="294"/>
                </a:lnTo>
                <a:lnTo>
                  <a:pt x="408" y="300"/>
                </a:lnTo>
                <a:lnTo>
                  <a:pt x="408" y="306"/>
                </a:lnTo>
                <a:lnTo>
                  <a:pt x="402" y="312"/>
                </a:lnTo>
                <a:lnTo>
                  <a:pt x="402" y="318"/>
                </a:lnTo>
                <a:lnTo>
                  <a:pt x="396" y="318"/>
                </a:lnTo>
                <a:lnTo>
                  <a:pt x="396" y="324"/>
                </a:lnTo>
                <a:lnTo>
                  <a:pt x="402" y="324"/>
                </a:lnTo>
                <a:lnTo>
                  <a:pt x="402" y="330"/>
                </a:lnTo>
                <a:lnTo>
                  <a:pt x="402" y="336"/>
                </a:lnTo>
                <a:lnTo>
                  <a:pt x="402" y="330"/>
                </a:lnTo>
                <a:lnTo>
                  <a:pt x="396" y="336"/>
                </a:lnTo>
                <a:lnTo>
                  <a:pt x="372" y="366"/>
                </a:lnTo>
                <a:lnTo>
                  <a:pt x="354" y="384"/>
                </a:lnTo>
                <a:lnTo>
                  <a:pt x="348" y="390"/>
                </a:lnTo>
                <a:lnTo>
                  <a:pt x="342" y="396"/>
                </a:lnTo>
                <a:close/>
              </a:path>
            </a:pathLst>
          </a:custGeom>
          <a:solidFill>
            <a:schemeClr val="accent1">
              <a:lumMod val="50000"/>
            </a:schemeClr>
          </a:solidFill>
          <a:ln w="9525" cap="flat" cmpd="sng">
            <a:solidFill>
              <a:schemeClr val="bg1"/>
            </a:solidFill>
            <a:prstDash val="solid"/>
            <a:round/>
            <a:headEnd type="none" w="med" len="med"/>
            <a:tailEnd type="none" w="med" len="med"/>
          </a:ln>
          <a:effectLst/>
        </p:spPr>
        <p:txBody>
          <a:bodyPr/>
          <a:lstStyle/>
          <a:p>
            <a:endParaRPr lang="en-CA" sz="612"/>
          </a:p>
        </p:txBody>
      </p:sp>
      <p:sp>
        <p:nvSpPr>
          <p:cNvPr id="60" name="Freeform 54">
            <a:extLst>
              <a:ext uri="{FF2B5EF4-FFF2-40B4-BE49-F238E27FC236}">
                <a16:creationId xmlns:a16="http://schemas.microsoft.com/office/drawing/2014/main" id="{6E85E3E3-31A2-354A-9A1C-6B4FBC952D8D}"/>
              </a:ext>
            </a:extLst>
          </p:cNvPr>
          <p:cNvSpPr>
            <a:spLocks/>
          </p:cNvSpPr>
          <p:nvPr>
            <p:custDataLst>
              <p:tags r:id="rId48"/>
            </p:custDataLst>
          </p:nvPr>
        </p:nvSpPr>
        <p:spPr bwMode="gray">
          <a:xfrm>
            <a:off x="4957929" y="4936549"/>
            <a:ext cx="752446" cy="491446"/>
          </a:xfrm>
          <a:custGeom>
            <a:avLst/>
            <a:gdLst>
              <a:gd name="T0" fmla="*/ 149223 w 654"/>
              <a:gd name="T1" fmla="*/ 151045 h 570"/>
              <a:gd name="T2" fmla="*/ 136626 w 654"/>
              <a:gd name="T3" fmla="*/ 161696 h 570"/>
              <a:gd name="T4" fmla="*/ 127905 w 654"/>
              <a:gd name="T5" fmla="*/ 172346 h 570"/>
              <a:gd name="T6" fmla="*/ 115309 w 654"/>
              <a:gd name="T7" fmla="*/ 181060 h 570"/>
              <a:gd name="T8" fmla="*/ 106588 w 654"/>
              <a:gd name="T9" fmla="*/ 191711 h 570"/>
              <a:gd name="T10" fmla="*/ 93991 w 654"/>
              <a:gd name="T11" fmla="*/ 199457 h 570"/>
              <a:gd name="T12" fmla="*/ 81394 w 654"/>
              <a:gd name="T13" fmla="*/ 198489 h 570"/>
              <a:gd name="T14" fmla="*/ 72674 w 654"/>
              <a:gd name="T15" fmla="*/ 195585 h 570"/>
              <a:gd name="T16" fmla="*/ 62015 w 654"/>
              <a:gd name="T17" fmla="*/ 191711 h 570"/>
              <a:gd name="T18" fmla="*/ 46511 w 654"/>
              <a:gd name="T19" fmla="*/ 189775 h 570"/>
              <a:gd name="T20" fmla="*/ 21317 w 654"/>
              <a:gd name="T21" fmla="*/ 184933 h 570"/>
              <a:gd name="T22" fmla="*/ 10659 w 654"/>
              <a:gd name="T23" fmla="*/ 176219 h 570"/>
              <a:gd name="T24" fmla="*/ 1938 w 654"/>
              <a:gd name="T25" fmla="*/ 165569 h 570"/>
              <a:gd name="T26" fmla="*/ 0 w 654"/>
              <a:gd name="T27" fmla="*/ 117157 h 570"/>
              <a:gd name="T28" fmla="*/ 37791 w 654"/>
              <a:gd name="T29" fmla="*/ 91014 h 570"/>
              <a:gd name="T30" fmla="*/ 40697 w 654"/>
              <a:gd name="T31" fmla="*/ 74555 h 570"/>
              <a:gd name="T32" fmla="*/ 40697 w 654"/>
              <a:gd name="T33" fmla="*/ 63904 h 570"/>
              <a:gd name="T34" fmla="*/ 46511 w 654"/>
              <a:gd name="T35" fmla="*/ 60031 h 570"/>
              <a:gd name="T36" fmla="*/ 55232 w 654"/>
              <a:gd name="T37" fmla="*/ 63904 h 570"/>
              <a:gd name="T38" fmla="*/ 65891 w 654"/>
              <a:gd name="T39" fmla="*/ 63904 h 570"/>
              <a:gd name="T40" fmla="*/ 72674 w 654"/>
              <a:gd name="T41" fmla="*/ 71650 h 570"/>
              <a:gd name="T42" fmla="*/ 85271 w 654"/>
              <a:gd name="T43" fmla="*/ 76491 h 570"/>
              <a:gd name="T44" fmla="*/ 97867 w 654"/>
              <a:gd name="T45" fmla="*/ 74555 h 570"/>
              <a:gd name="T46" fmla="*/ 106588 w 654"/>
              <a:gd name="T47" fmla="*/ 71650 h 570"/>
              <a:gd name="T48" fmla="*/ 115309 w 654"/>
              <a:gd name="T49" fmla="*/ 83269 h 570"/>
              <a:gd name="T50" fmla="*/ 125967 w 654"/>
              <a:gd name="T51" fmla="*/ 87141 h 570"/>
              <a:gd name="T52" fmla="*/ 129843 w 654"/>
              <a:gd name="T53" fmla="*/ 93919 h 570"/>
              <a:gd name="T54" fmla="*/ 138564 w 654"/>
              <a:gd name="T55" fmla="*/ 104570 h 570"/>
              <a:gd name="T56" fmla="*/ 147285 w 654"/>
              <a:gd name="T57" fmla="*/ 101665 h 570"/>
              <a:gd name="T58" fmla="*/ 155037 w 654"/>
              <a:gd name="T59" fmla="*/ 100696 h 570"/>
              <a:gd name="T60" fmla="*/ 155037 w 654"/>
              <a:gd name="T61" fmla="*/ 81332 h 570"/>
              <a:gd name="T62" fmla="*/ 142440 w 654"/>
              <a:gd name="T63" fmla="*/ 85205 h 570"/>
              <a:gd name="T64" fmla="*/ 131781 w 654"/>
              <a:gd name="T65" fmla="*/ 76491 h 570"/>
              <a:gd name="T66" fmla="*/ 127905 w 654"/>
              <a:gd name="T67" fmla="*/ 63904 h 570"/>
              <a:gd name="T68" fmla="*/ 131781 w 654"/>
              <a:gd name="T69" fmla="*/ 49380 h 570"/>
              <a:gd name="T70" fmla="*/ 131781 w 654"/>
              <a:gd name="T71" fmla="*/ 33889 h 570"/>
              <a:gd name="T72" fmla="*/ 127905 w 654"/>
              <a:gd name="T73" fmla="*/ 23238 h 570"/>
              <a:gd name="T74" fmla="*/ 131781 w 654"/>
              <a:gd name="T75" fmla="*/ 17428 h 570"/>
              <a:gd name="T76" fmla="*/ 140502 w 654"/>
              <a:gd name="T77" fmla="*/ 6778 h 570"/>
              <a:gd name="T78" fmla="*/ 161820 w 654"/>
              <a:gd name="T79" fmla="*/ 1936 h 570"/>
              <a:gd name="T80" fmla="*/ 177323 w 654"/>
              <a:gd name="T81" fmla="*/ 6778 h 570"/>
              <a:gd name="T82" fmla="*/ 191858 w 654"/>
              <a:gd name="T83" fmla="*/ 14523 h 570"/>
              <a:gd name="T84" fmla="*/ 206392 w 654"/>
              <a:gd name="T85" fmla="*/ 19365 h 570"/>
              <a:gd name="T86" fmla="*/ 218020 w 654"/>
              <a:gd name="T87" fmla="*/ 26143 h 570"/>
              <a:gd name="T88" fmla="*/ 221897 w 654"/>
              <a:gd name="T89" fmla="*/ 30016 h 570"/>
              <a:gd name="T90" fmla="*/ 223834 w 654"/>
              <a:gd name="T91" fmla="*/ 37761 h 570"/>
              <a:gd name="T92" fmla="*/ 232555 w 654"/>
              <a:gd name="T93" fmla="*/ 49380 h 570"/>
              <a:gd name="T94" fmla="*/ 225772 w 654"/>
              <a:gd name="T95" fmla="*/ 57126 h 570"/>
              <a:gd name="T96" fmla="*/ 223834 w 654"/>
              <a:gd name="T97" fmla="*/ 65840 h 570"/>
              <a:gd name="T98" fmla="*/ 223834 w 654"/>
              <a:gd name="T99" fmla="*/ 76491 h 570"/>
              <a:gd name="T100" fmla="*/ 223834 w 654"/>
              <a:gd name="T101" fmla="*/ 87141 h 570"/>
              <a:gd name="T102" fmla="*/ 218020 w 654"/>
              <a:gd name="T103" fmla="*/ 101665 h 570"/>
              <a:gd name="T104" fmla="*/ 213175 w 654"/>
              <a:gd name="T105" fmla="*/ 112316 h 570"/>
              <a:gd name="T106" fmla="*/ 221897 w 654"/>
              <a:gd name="T107" fmla="*/ 117157 h 570"/>
              <a:gd name="T108" fmla="*/ 204455 w 654"/>
              <a:gd name="T109" fmla="*/ 123935 h 570"/>
              <a:gd name="T110" fmla="*/ 189920 w 654"/>
              <a:gd name="T111" fmla="*/ 129744 h 570"/>
              <a:gd name="T112" fmla="*/ 168603 w 654"/>
              <a:gd name="T113" fmla="*/ 135553 h 570"/>
              <a:gd name="T114" fmla="*/ 165695 w 654"/>
              <a:gd name="T115" fmla="*/ 145236 h 5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54" h="570">
                <a:moveTo>
                  <a:pt x="468" y="426"/>
                </a:moveTo>
                <a:lnTo>
                  <a:pt x="462" y="426"/>
                </a:lnTo>
                <a:lnTo>
                  <a:pt x="456" y="426"/>
                </a:lnTo>
                <a:lnTo>
                  <a:pt x="450" y="426"/>
                </a:lnTo>
                <a:lnTo>
                  <a:pt x="444" y="426"/>
                </a:lnTo>
                <a:lnTo>
                  <a:pt x="438" y="426"/>
                </a:lnTo>
                <a:lnTo>
                  <a:pt x="432" y="426"/>
                </a:lnTo>
                <a:lnTo>
                  <a:pt x="426" y="426"/>
                </a:lnTo>
                <a:lnTo>
                  <a:pt x="420" y="426"/>
                </a:lnTo>
                <a:lnTo>
                  <a:pt x="414" y="426"/>
                </a:lnTo>
                <a:lnTo>
                  <a:pt x="414" y="432"/>
                </a:lnTo>
                <a:lnTo>
                  <a:pt x="408" y="432"/>
                </a:lnTo>
                <a:lnTo>
                  <a:pt x="402" y="432"/>
                </a:lnTo>
                <a:lnTo>
                  <a:pt x="396" y="438"/>
                </a:lnTo>
                <a:lnTo>
                  <a:pt x="390" y="444"/>
                </a:lnTo>
                <a:lnTo>
                  <a:pt x="384" y="444"/>
                </a:lnTo>
                <a:lnTo>
                  <a:pt x="384" y="450"/>
                </a:lnTo>
                <a:lnTo>
                  <a:pt x="384" y="456"/>
                </a:lnTo>
                <a:lnTo>
                  <a:pt x="384" y="462"/>
                </a:lnTo>
                <a:lnTo>
                  <a:pt x="378" y="462"/>
                </a:lnTo>
                <a:lnTo>
                  <a:pt x="384" y="468"/>
                </a:lnTo>
                <a:lnTo>
                  <a:pt x="378" y="474"/>
                </a:lnTo>
                <a:lnTo>
                  <a:pt x="378" y="480"/>
                </a:lnTo>
                <a:lnTo>
                  <a:pt x="372" y="480"/>
                </a:lnTo>
                <a:lnTo>
                  <a:pt x="366" y="480"/>
                </a:lnTo>
                <a:lnTo>
                  <a:pt x="360" y="480"/>
                </a:lnTo>
                <a:lnTo>
                  <a:pt x="360" y="486"/>
                </a:lnTo>
                <a:lnTo>
                  <a:pt x="354" y="486"/>
                </a:lnTo>
                <a:lnTo>
                  <a:pt x="348" y="486"/>
                </a:lnTo>
                <a:lnTo>
                  <a:pt x="348" y="492"/>
                </a:lnTo>
                <a:lnTo>
                  <a:pt x="342" y="492"/>
                </a:lnTo>
                <a:lnTo>
                  <a:pt x="342" y="498"/>
                </a:lnTo>
                <a:lnTo>
                  <a:pt x="336" y="498"/>
                </a:lnTo>
                <a:lnTo>
                  <a:pt x="330" y="498"/>
                </a:lnTo>
                <a:lnTo>
                  <a:pt x="324" y="504"/>
                </a:lnTo>
                <a:lnTo>
                  <a:pt x="324" y="510"/>
                </a:lnTo>
                <a:lnTo>
                  <a:pt x="318" y="510"/>
                </a:lnTo>
                <a:lnTo>
                  <a:pt x="318" y="516"/>
                </a:lnTo>
                <a:lnTo>
                  <a:pt x="312" y="516"/>
                </a:lnTo>
                <a:lnTo>
                  <a:pt x="312" y="522"/>
                </a:lnTo>
                <a:lnTo>
                  <a:pt x="312" y="528"/>
                </a:lnTo>
                <a:lnTo>
                  <a:pt x="306" y="528"/>
                </a:lnTo>
                <a:lnTo>
                  <a:pt x="306" y="534"/>
                </a:lnTo>
                <a:lnTo>
                  <a:pt x="300" y="534"/>
                </a:lnTo>
                <a:lnTo>
                  <a:pt x="300" y="540"/>
                </a:lnTo>
                <a:lnTo>
                  <a:pt x="294" y="540"/>
                </a:lnTo>
                <a:lnTo>
                  <a:pt x="294" y="546"/>
                </a:lnTo>
                <a:lnTo>
                  <a:pt x="288" y="546"/>
                </a:lnTo>
                <a:lnTo>
                  <a:pt x="288" y="552"/>
                </a:lnTo>
                <a:lnTo>
                  <a:pt x="282" y="558"/>
                </a:lnTo>
                <a:lnTo>
                  <a:pt x="276" y="558"/>
                </a:lnTo>
                <a:lnTo>
                  <a:pt x="276" y="564"/>
                </a:lnTo>
                <a:lnTo>
                  <a:pt x="270" y="564"/>
                </a:lnTo>
                <a:lnTo>
                  <a:pt x="264" y="564"/>
                </a:lnTo>
                <a:lnTo>
                  <a:pt x="264" y="570"/>
                </a:lnTo>
                <a:lnTo>
                  <a:pt x="264" y="564"/>
                </a:lnTo>
                <a:lnTo>
                  <a:pt x="258" y="564"/>
                </a:lnTo>
                <a:lnTo>
                  <a:pt x="252" y="564"/>
                </a:lnTo>
                <a:lnTo>
                  <a:pt x="252" y="558"/>
                </a:lnTo>
                <a:lnTo>
                  <a:pt x="246" y="558"/>
                </a:lnTo>
                <a:lnTo>
                  <a:pt x="240" y="558"/>
                </a:lnTo>
                <a:lnTo>
                  <a:pt x="234" y="558"/>
                </a:lnTo>
                <a:lnTo>
                  <a:pt x="228" y="558"/>
                </a:lnTo>
                <a:lnTo>
                  <a:pt x="228" y="564"/>
                </a:lnTo>
                <a:lnTo>
                  <a:pt x="228" y="558"/>
                </a:lnTo>
                <a:lnTo>
                  <a:pt x="228" y="564"/>
                </a:lnTo>
                <a:lnTo>
                  <a:pt x="222" y="564"/>
                </a:lnTo>
                <a:lnTo>
                  <a:pt x="216" y="564"/>
                </a:lnTo>
                <a:lnTo>
                  <a:pt x="216" y="558"/>
                </a:lnTo>
                <a:lnTo>
                  <a:pt x="210" y="558"/>
                </a:lnTo>
                <a:lnTo>
                  <a:pt x="210" y="552"/>
                </a:lnTo>
                <a:lnTo>
                  <a:pt x="204" y="552"/>
                </a:lnTo>
                <a:lnTo>
                  <a:pt x="198" y="552"/>
                </a:lnTo>
                <a:lnTo>
                  <a:pt x="192" y="552"/>
                </a:lnTo>
                <a:lnTo>
                  <a:pt x="186" y="552"/>
                </a:lnTo>
                <a:lnTo>
                  <a:pt x="180" y="552"/>
                </a:lnTo>
                <a:lnTo>
                  <a:pt x="180" y="546"/>
                </a:lnTo>
                <a:lnTo>
                  <a:pt x="180" y="552"/>
                </a:lnTo>
                <a:lnTo>
                  <a:pt x="180" y="546"/>
                </a:lnTo>
                <a:lnTo>
                  <a:pt x="174" y="546"/>
                </a:lnTo>
                <a:lnTo>
                  <a:pt x="174" y="540"/>
                </a:lnTo>
                <a:lnTo>
                  <a:pt x="168" y="540"/>
                </a:lnTo>
                <a:lnTo>
                  <a:pt x="168" y="534"/>
                </a:lnTo>
                <a:lnTo>
                  <a:pt x="168" y="540"/>
                </a:lnTo>
                <a:lnTo>
                  <a:pt x="162" y="534"/>
                </a:lnTo>
                <a:lnTo>
                  <a:pt x="156" y="534"/>
                </a:lnTo>
                <a:lnTo>
                  <a:pt x="150" y="534"/>
                </a:lnTo>
                <a:lnTo>
                  <a:pt x="144" y="534"/>
                </a:lnTo>
                <a:lnTo>
                  <a:pt x="138" y="534"/>
                </a:lnTo>
                <a:lnTo>
                  <a:pt x="132" y="534"/>
                </a:lnTo>
                <a:lnTo>
                  <a:pt x="126" y="534"/>
                </a:lnTo>
                <a:lnTo>
                  <a:pt x="84" y="540"/>
                </a:lnTo>
                <a:lnTo>
                  <a:pt x="78" y="540"/>
                </a:lnTo>
                <a:lnTo>
                  <a:pt x="78" y="534"/>
                </a:lnTo>
                <a:lnTo>
                  <a:pt x="72" y="534"/>
                </a:lnTo>
                <a:lnTo>
                  <a:pt x="66" y="534"/>
                </a:lnTo>
                <a:lnTo>
                  <a:pt x="66" y="528"/>
                </a:lnTo>
                <a:lnTo>
                  <a:pt x="60" y="528"/>
                </a:lnTo>
                <a:lnTo>
                  <a:pt x="60" y="522"/>
                </a:lnTo>
                <a:lnTo>
                  <a:pt x="54" y="522"/>
                </a:lnTo>
                <a:lnTo>
                  <a:pt x="54" y="516"/>
                </a:lnTo>
                <a:lnTo>
                  <a:pt x="48" y="516"/>
                </a:lnTo>
                <a:lnTo>
                  <a:pt x="48" y="510"/>
                </a:lnTo>
                <a:lnTo>
                  <a:pt x="42" y="510"/>
                </a:lnTo>
                <a:lnTo>
                  <a:pt x="42" y="504"/>
                </a:lnTo>
                <a:lnTo>
                  <a:pt x="36" y="504"/>
                </a:lnTo>
                <a:lnTo>
                  <a:pt x="36" y="498"/>
                </a:lnTo>
                <a:lnTo>
                  <a:pt x="30" y="498"/>
                </a:lnTo>
                <a:lnTo>
                  <a:pt x="30" y="492"/>
                </a:lnTo>
                <a:lnTo>
                  <a:pt x="24" y="492"/>
                </a:lnTo>
                <a:lnTo>
                  <a:pt x="24" y="486"/>
                </a:lnTo>
                <a:lnTo>
                  <a:pt x="18" y="486"/>
                </a:lnTo>
                <a:lnTo>
                  <a:pt x="18" y="480"/>
                </a:lnTo>
                <a:lnTo>
                  <a:pt x="12" y="480"/>
                </a:lnTo>
                <a:lnTo>
                  <a:pt x="12" y="474"/>
                </a:lnTo>
                <a:lnTo>
                  <a:pt x="6" y="474"/>
                </a:lnTo>
                <a:lnTo>
                  <a:pt x="6" y="468"/>
                </a:lnTo>
                <a:lnTo>
                  <a:pt x="6" y="462"/>
                </a:lnTo>
                <a:lnTo>
                  <a:pt x="0" y="462"/>
                </a:lnTo>
                <a:lnTo>
                  <a:pt x="0" y="456"/>
                </a:lnTo>
                <a:lnTo>
                  <a:pt x="0" y="450"/>
                </a:lnTo>
                <a:lnTo>
                  <a:pt x="0" y="444"/>
                </a:lnTo>
                <a:lnTo>
                  <a:pt x="0" y="408"/>
                </a:lnTo>
                <a:lnTo>
                  <a:pt x="0" y="390"/>
                </a:lnTo>
                <a:lnTo>
                  <a:pt x="0" y="336"/>
                </a:lnTo>
                <a:lnTo>
                  <a:pt x="0" y="330"/>
                </a:lnTo>
                <a:lnTo>
                  <a:pt x="0" y="318"/>
                </a:lnTo>
                <a:lnTo>
                  <a:pt x="0" y="300"/>
                </a:lnTo>
                <a:lnTo>
                  <a:pt x="0" y="276"/>
                </a:lnTo>
                <a:lnTo>
                  <a:pt x="24" y="276"/>
                </a:lnTo>
                <a:lnTo>
                  <a:pt x="84" y="276"/>
                </a:lnTo>
                <a:lnTo>
                  <a:pt x="114" y="270"/>
                </a:lnTo>
                <a:lnTo>
                  <a:pt x="108" y="270"/>
                </a:lnTo>
                <a:lnTo>
                  <a:pt x="108" y="264"/>
                </a:lnTo>
                <a:lnTo>
                  <a:pt x="108" y="258"/>
                </a:lnTo>
                <a:lnTo>
                  <a:pt x="108" y="252"/>
                </a:lnTo>
                <a:lnTo>
                  <a:pt x="108" y="246"/>
                </a:lnTo>
                <a:lnTo>
                  <a:pt x="114" y="246"/>
                </a:lnTo>
                <a:lnTo>
                  <a:pt x="114" y="240"/>
                </a:lnTo>
                <a:lnTo>
                  <a:pt x="114" y="234"/>
                </a:lnTo>
                <a:lnTo>
                  <a:pt x="114" y="228"/>
                </a:lnTo>
                <a:lnTo>
                  <a:pt x="114" y="222"/>
                </a:lnTo>
                <a:lnTo>
                  <a:pt x="114" y="216"/>
                </a:lnTo>
                <a:lnTo>
                  <a:pt x="114" y="210"/>
                </a:lnTo>
                <a:lnTo>
                  <a:pt x="114" y="204"/>
                </a:lnTo>
                <a:lnTo>
                  <a:pt x="114" y="198"/>
                </a:lnTo>
                <a:lnTo>
                  <a:pt x="108" y="198"/>
                </a:lnTo>
                <a:lnTo>
                  <a:pt x="114" y="198"/>
                </a:lnTo>
                <a:lnTo>
                  <a:pt x="114" y="192"/>
                </a:lnTo>
                <a:lnTo>
                  <a:pt x="114" y="186"/>
                </a:lnTo>
                <a:lnTo>
                  <a:pt x="114" y="180"/>
                </a:lnTo>
                <a:lnTo>
                  <a:pt x="120" y="180"/>
                </a:lnTo>
                <a:lnTo>
                  <a:pt x="114" y="180"/>
                </a:lnTo>
                <a:lnTo>
                  <a:pt x="114" y="174"/>
                </a:lnTo>
                <a:lnTo>
                  <a:pt x="114" y="168"/>
                </a:lnTo>
                <a:lnTo>
                  <a:pt x="114" y="162"/>
                </a:lnTo>
                <a:lnTo>
                  <a:pt x="114" y="156"/>
                </a:lnTo>
                <a:lnTo>
                  <a:pt x="120" y="156"/>
                </a:lnTo>
                <a:lnTo>
                  <a:pt x="120" y="162"/>
                </a:lnTo>
                <a:lnTo>
                  <a:pt x="126" y="162"/>
                </a:lnTo>
                <a:lnTo>
                  <a:pt x="132" y="162"/>
                </a:lnTo>
                <a:lnTo>
                  <a:pt x="132" y="168"/>
                </a:lnTo>
                <a:lnTo>
                  <a:pt x="132" y="174"/>
                </a:lnTo>
                <a:lnTo>
                  <a:pt x="132" y="180"/>
                </a:lnTo>
                <a:lnTo>
                  <a:pt x="126" y="180"/>
                </a:lnTo>
                <a:lnTo>
                  <a:pt x="132" y="180"/>
                </a:lnTo>
                <a:lnTo>
                  <a:pt x="132" y="186"/>
                </a:lnTo>
                <a:lnTo>
                  <a:pt x="138" y="186"/>
                </a:lnTo>
                <a:lnTo>
                  <a:pt x="144" y="186"/>
                </a:lnTo>
                <a:lnTo>
                  <a:pt x="150" y="180"/>
                </a:lnTo>
                <a:lnTo>
                  <a:pt x="156" y="180"/>
                </a:lnTo>
                <a:lnTo>
                  <a:pt x="156" y="174"/>
                </a:lnTo>
                <a:lnTo>
                  <a:pt x="162" y="174"/>
                </a:lnTo>
                <a:lnTo>
                  <a:pt x="168" y="174"/>
                </a:lnTo>
                <a:lnTo>
                  <a:pt x="174" y="174"/>
                </a:lnTo>
                <a:lnTo>
                  <a:pt x="180" y="174"/>
                </a:lnTo>
                <a:lnTo>
                  <a:pt x="186" y="174"/>
                </a:lnTo>
                <a:lnTo>
                  <a:pt x="186" y="168"/>
                </a:lnTo>
                <a:lnTo>
                  <a:pt x="186" y="174"/>
                </a:lnTo>
                <a:lnTo>
                  <a:pt x="186" y="180"/>
                </a:lnTo>
                <a:lnTo>
                  <a:pt x="186" y="186"/>
                </a:lnTo>
                <a:lnTo>
                  <a:pt x="186" y="192"/>
                </a:lnTo>
                <a:lnTo>
                  <a:pt x="186" y="198"/>
                </a:lnTo>
                <a:lnTo>
                  <a:pt x="192" y="198"/>
                </a:lnTo>
                <a:lnTo>
                  <a:pt x="198" y="198"/>
                </a:lnTo>
                <a:lnTo>
                  <a:pt x="198" y="204"/>
                </a:lnTo>
                <a:lnTo>
                  <a:pt x="204" y="204"/>
                </a:lnTo>
                <a:lnTo>
                  <a:pt x="204" y="198"/>
                </a:lnTo>
                <a:lnTo>
                  <a:pt x="204" y="204"/>
                </a:lnTo>
                <a:lnTo>
                  <a:pt x="210" y="204"/>
                </a:lnTo>
                <a:lnTo>
                  <a:pt x="216" y="204"/>
                </a:lnTo>
                <a:lnTo>
                  <a:pt x="216" y="210"/>
                </a:lnTo>
                <a:lnTo>
                  <a:pt x="222" y="210"/>
                </a:lnTo>
                <a:lnTo>
                  <a:pt x="222" y="216"/>
                </a:lnTo>
                <a:lnTo>
                  <a:pt x="222" y="210"/>
                </a:lnTo>
                <a:lnTo>
                  <a:pt x="228" y="216"/>
                </a:lnTo>
                <a:lnTo>
                  <a:pt x="234" y="210"/>
                </a:lnTo>
                <a:lnTo>
                  <a:pt x="240" y="216"/>
                </a:lnTo>
                <a:lnTo>
                  <a:pt x="246" y="216"/>
                </a:lnTo>
                <a:lnTo>
                  <a:pt x="246" y="210"/>
                </a:lnTo>
                <a:lnTo>
                  <a:pt x="252" y="210"/>
                </a:lnTo>
                <a:lnTo>
                  <a:pt x="252" y="216"/>
                </a:lnTo>
                <a:lnTo>
                  <a:pt x="258" y="216"/>
                </a:lnTo>
                <a:lnTo>
                  <a:pt x="264" y="216"/>
                </a:lnTo>
                <a:lnTo>
                  <a:pt x="270" y="216"/>
                </a:lnTo>
                <a:lnTo>
                  <a:pt x="276" y="216"/>
                </a:lnTo>
                <a:lnTo>
                  <a:pt x="276" y="210"/>
                </a:lnTo>
                <a:lnTo>
                  <a:pt x="282" y="210"/>
                </a:lnTo>
                <a:lnTo>
                  <a:pt x="282" y="204"/>
                </a:lnTo>
                <a:lnTo>
                  <a:pt x="282" y="198"/>
                </a:lnTo>
                <a:lnTo>
                  <a:pt x="282" y="192"/>
                </a:lnTo>
                <a:lnTo>
                  <a:pt x="288" y="192"/>
                </a:lnTo>
                <a:lnTo>
                  <a:pt x="294" y="192"/>
                </a:lnTo>
                <a:lnTo>
                  <a:pt x="294" y="198"/>
                </a:lnTo>
                <a:lnTo>
                  <a:pt x="294" y="204"/>
                </a:lnTo>
                <a:lnTo>
                  <a:pt x="300" y="204"/>
                </a:lnTo>
                <a:lnTo>
                  <a:pt x="300" y="210"/>
                </a:lnTo>
                <a:lnTo>
                  <a:pt x="306" y="210"/>
                </a:lnTo>
                <a:lnTo>
                  <a:pt x="306" y="216"/>
                </a:lnTo>
                <a:lnTo>
                  <a:pt x="306" y="222"/>
                </a:lnTo>
                <a:lnTo>
                  <a:pt x="306" y="228"/>
                </a:lnTo>
                <a:lnTo>
                  <a:pt x="312" y="228"/>
                </a:lnTo>
                <a:lnTo>
                  <a:pt x="312" y="234"/>
                </a:lnTo>
                <a:lnTo>
                  <a:pt x="318" y="234"/>
                </a:lnTo>
                <a:lnTo>
                  <a:pt x="324" y="234"/>
                </a:lnTo>
                <a:lnTo>
                  <a:pt x="324" y="228"/>
                </a:lnTo>
                <a:lnTo>
                  <a:pt x="330" y="228"/>
                </a:lnTo>
                <a:lnTo>
                  <a:pt x="330" y="234"/>
                </a:lnTo>
                <a:lnTo>
                  <a:pt x="336" y="234"/>
                </a:lnTo>
                <a:lnTo>
                  <a:pt x="342" y="234"/>
                </a:lnTo>
                <a:lnTo>
                  <a:pt x="342" y="240"/>
                </a:lnTo>
                <a:lnTo>
                  <a:pt x="348" y="240"/>
                </a:lnTo>
                <a:lnTo>
                  <a:pt x="354" y="240"/>
                </a:lnTo>
                <a:lnTo>
                  <a:pt x="354" y="246"/>
                </a:lnTo>
                <a:lnTo>
                  <a:pt x="360" y="246"/>
                </a:lnTo>
                <a:lnTo>
                  <a:pt x="360" y="252"/>
                </a:lnTo>
                <a:lnTo>
                  <a:pt x="366" y="252"/>
                </a:lnTo>
                <a:lnTo>
                  <a:pt x="366" y="258"/>
                </a:lnTo>
                <a:lnTo>
                  <a:pt x="360" y="258"/>
                </a:lnTo>
                <a:lnTo>
                  <a:pt x="366" y="258"/>
                </a:lnTo>
                <a:lnTo>
                  <a:pt x="366" y="264"/>
                </a:lnTo>
                <a:lnTo>
                  <a:pt x="366" y="270"/>
                </a:lnTo>
                <a:lnTo>
                  <a:pt x="366" y="264"/>
                </a:lnTo>
                <a:lnTo>
                  <a:pt x="372" y="264"/>
                </a:lnTo>
                <a:lnTo>
                  <a:pt x="378" y="264"/>
                </a:lnTo>
                <a:lnTo>
                  <a:pt x="378" y="270"/>
                </a:lnTo>
                <a:lnTo>
                  <a:pt x="378" y="276"/>
                </a:lnTo>
                <a:lnTo>
                  <a:pt x="384" y="276"/>
                </a:lnTo>
                <a:lnTo>
                  <a:pt x="384" y="282"/>
                </a:lnTo>
                <a:lnTo>
                  <a:pt x="384" y="288"/>
                </a:lnTo>
                <a:lnTo>
                  <a:pt x="390" y="288"/>
                </a:lnTo>
                <a:lnTo>
                  <a:pt x="390" y="294"/>
                </a:lnTo>
                <a:lnTo>
                  <a:pt x="390" y="300"/>
                </a:lnTo>
                <a:lnTo>
                  <a:pt x="390" y="294"/>
                </a:lnTo>
                <a:lnTo>
                  <a:pt x="396" y="294"/>
                </a:lnTo>
                <a:lnTo>
                  <a:pt x="402" y="294"/>
                </a:lnTo>
                <a:lnTo>
                  <a:pt x="402" y="300"/>
                </a:lnTo>
                <a:lnTo>
                  <a:pt x="402" y="294"/>
                </a:lnTo>
                <a:lnTo>
                  <a:pt x="408" y="294"/>
                </a:lnTo>
                <a:lnTo>
                  <a:pt x="414" y="294"/>
                </a:lnTo>
                <a:lnTo>
                  <a:pt x="414" y="288"/>
                </a:lnTo>
                <a:lnTo>
                  <a:pt x="420" y="288"/>
                </a:lnTo>
                <a:lnTo>
                  <a:pt x="426" y="288"/>
                </a:lnTo>
                <a:lnTo>
                  <a:pt x="426" y="294"/>
                </a:lnTo>
                <a:lnTo>
                  <a:pt x="426" y="300"/>
                </a:lnTo>
                <a:lnTo>
                  <a:pt x="432" y="300"/>
                </a:lnTo>
                <a:lnTo>
                  <a:pt x="438" y="300"/>
                </a:lnTo>
                <a:lnTo>
                  <a:pt x="438" y="294"/>
                </a:lnTo>
                <a:lnTo>
                  <a:pt x="438" y="288"/>
                </a:lnTo>
                <a:lnTo>
                  <a:pt x="438" y="282"/>
                </a:lnTo>
                <a:lnTo>
                  <a:pt x="438" y="276"/>
                </a:lnTo>
                <a:lnTo>
                  <a:pt x="438" y="270"/>
                </a:lnTo>
                <a:lnTo>
                  <a:pt x="438" y="264"/>
                </a:lnTo>
                <a:lnTo>
                  <a:pt x="438" y="258"/>
                </a:lnTo>
                <a:lnTo>
                  <a:pt x="438" y="252"/>
                </a:lnTo>
                <a:lnTo>
                  <a:pt x="438" y="246"/>
                </a:lnTo>
                <a:lnTo>
                  <a:pt x="438" y="240"/>
                </a:lnTo>
                <a:lnTo>
                  <a:pt x="438" y="234"/>
                </a:lnTo>
                <a:lnTo>
                  <a:pt x="438" y="228"/>
                </a:lnTo>
                <a:lnTo>
                  <a:pt x="432" y="228"/>
                </a:lnTo>
                <a:lnTo>
                  <a:pt x="426" y="228"/>
                </a:lnTo>
                <a:lnTo>
                  <a:pt x="420" y="228"/>
                </a:lnTo>
                <a:lnTo>
                  <a:pt x="414" y="234"/>
                </a:lnTo>
                <a:lnTo>
                  <a:pt x="420" y="240"/>
                </a:lnTo>
                <a:lnTo>
                  <a:pt x="420" y="246"/>
                </a:lnTo>
                <a:lnTo>
                  <a:pt x="414" y="240"/>
                </a:lnTo>
                <a:lnTo>
                  <a:pt x="408" y="240"/>
                </a:lnTo>
                <a:lnTo>
                  <a:pt x="402" y="240"/>
                </a:lnTo>
                <a:lnTo>
                  <a:pt x="396" y="240"/>
                </a:lnTo>
                <a:lnTo>
                  <a:pt x="390" y="240"/>
                </a:lnTo>
                <a:lnTo>
                  <a:pt x="390" y="234"/>
                </a:lnTo>
                <a:lnTo>
                  <a:pt x="390" y="228"/>
                </a:lnTo>
                <a:lnTo>
                  <a:pt x="384" y="228"/>
                </a:lnTo>
                <a:lnTo>
                  <a:pt x="384" y="222"/>
                </a:lnTo>
                <a:lnTo>
                  <a:pt x="378" y="222"/>
                </a:lnTo>
                <a:lnTo>
                  <a:pt x="378" y="216"/>
                </a:lnTo>
                <a:lnTo>
                  <a:pt x="372" y="216"/>
                </a:lnTo>
                <a:lnTo>
                  <a:pt x="372" y="210"/>
                </a:lnTo>
                <a:lnTo>
                  <a:pt x="366" y="210"/>
                </a:lnTo>
                <a:lnTo>
                  <a:pt x="360" y="210"/>
                </a:lnTo>
                <a:lnTo>
                  <a:pt x="360" y="204"/>
                </a:lnTo>
                <a:lnTo>
                  <a:pt x="360" y="198"/>
                </a:lnTo>
                <a:lnTo>
                  <a:pt x="360" y="192"/>
                </a:lnTo>
                <a:lnTo>
                  <a:pt x="354" y="192"/>
                </a:lnTo>
                <a:lnTo>
                  <a:pt x="360" y="186"/>
                </a:lnTo>
                <a:lnTo>
                  <a:pt x="360" y="180"/>
                </a:lnTo>
                <a:lnTo>
                  <a:pt x="360" y="174"/>
                </a:lnTo>
                <a:lnTo>
                  <a:pt x="360" y="168"/>
                </a:lnTo>
                <a:lnTo>
                  <a:pt x="360" y="162"/>
                </a:lnTo>
                <a:lnTo>
                  <a:pt x="366" y="162"/>
                </a:lnTo>
                <a:lnTo>
                  <a:pt x="366" y="156"/>
                </a:lnTo>
                <a:lnTo>
                  <a:pt x="366" y="150"/>
                </a:lnTo>
                <a:lnTo>
                  <a:pt x="366" y="144"/>
                </a:lnTo>
                <a:lnTo>
                  <a:pt x="372" y="144"/>
                </a:lnTo>
                <a:lnTo>
                  <a:pt x="372" y="138"/>
                </a:lnTo>
                <a:lnTo>
                  <a:pt x="372" y="132"/>
                </a:lnTo>
                <a:lnTo>
                  <a:pt x="372" y="126"/>
                </a:lnTo>
                <a:lnTo>
                  <a:pt x="372" y="120"/>
                </a:lnTo>
                <a:lnTo>
                  <a:pt x="366" y="120"/>
                </a:lnTo>
                <a:lnTo>
                  <a:pt x="366" y="114"/>
                </a:lnTo>
                <a:lnTo>
                  <a:pt x="372" y="114"/>
                </a:lnTo>
                <a:lnTo>
                  <a:pt x="372" y="108"/>
                </a:lnTo>
                <a:lnTo>
                  <a:pt x="372" y="102"/>
                </a:lnTo>
                <a:lnTo>
                  <a:pt x="372" y="96"/>
                </a:lnTo>
                <a:lnTo>
                  <a:pt x="372" y="90"/>
                </a:lnTo>
                <a:lnTo>
                  <a:pt x="372" y="84"/>
                </a:lnTo>
                <a:lnTo>
                  <a:pt x="372" y="78"/>
                </a:lnTo>
                <a:lnTo>
                  <a:pt x="366" y="78"/>
                </a:lnTo>
                <a:lnTo>
                  <a:pt x="372" y="78"/>
                </a:lnTo>
                <a:lnTo>
                  <a:pt x="366" y="78"/>
                </a:lnTo>
                <a:lnTo>
                  <a:pt x="366" y="72"/>
                </a:lnTo>
                <a:lnTo>
                  <a:pt x="366" y="66"/>
                </a:lnTo>
                <a:lnTo>
                  <a:pt x="360" y="66"/>
                </a:lnTo>
                <a:lnTo>
                  <a:pt x="360" y="72"/>
                </a:lnTo>
                <a:lnTo>
                  <a:pt x="354" y="72"/>
                </a:lnTo>
                <a:lnTo>
                  <a:pt x="354" y="66"/>
                </a:lnTo>
                <a:lnTo>
                  <a:pt x="354" y="60"/>
                </a:lnTo>
                <a:lnTo>
                  <a:pt x="360" y="60"/>
                </a:lnTo>
                <a:lnTo>
                  <a:pt x="360" y="54"/>
                </a:lnTo>
                <a:lnTo>
                  <a:pt x="366" y="54"/>
                </a:lnTo>
                <a:lnTo>
                  <a:pt x="372" y="54"/>
                </a:lnTo>
                <a:lnTo>
                  <a:pt x="372" y="48"/>
                </a:lnTo>
                <a:lnTo>
                  <a:pt x="378" y="48"/>
                </a:lnTo>
                <a:lnTo>
                  <a:pt x="378" y="42"/>
                </a:lnTo>
                <a:lnTo>
                  <a:pt x="384" y="36"/>
                </a:lnTo>
                <a:lnTo>
                  <a:pt x="384" y="30"/>
                </a:lnTo>
                <a:lnTo>
                  <a:pt x="390" y="30"/>
                </a:lnTo>
                <a:lnTo>
                  <a:pt x="390" y="24"/>
                </a:lnTo>
                <a:lnTo>
                  <a:pt x="384" y="18"/>
                </a:lnTo>
                <a:lnTo>
                  <a:pt x="390" y="18"/>
                </a:lnTo>
                <a:lnTo>
                  <a:pt x="396" y="18"/>
                </a:lnTo>
                <a:lnTo>
                  <a:pt x="402" y="12"/>
                </a:lnTo>
                <a:lnTo>
                  <a:pt x="408" y="12"/>
                </a:lnTo>
                <a:lnTo>
                  <a:pt x="414" y="12"/>
                </a:lnTo>
                <a:lnTo>
                  <a:pt x="420" y="12"/>
                </a:lnTo>
                <a:lnTo>
                  <a:pt x="426" y="12"/>
                </a:lnTo>
                <a:lnTo>
                  <a:pt x="432" y="12"/>
                </a:lnTo>
                <a:lnTo>
                  <a:pt x="438" y="12"/>
                </a:lnTo>
                <a:lnTo>
                  <a:pt x="444" y="6"/>
                </a:lnTo>
                <a:lnTo>
                  <a:pt x="456" y="6"/>
                </a:lnTo>
                <a:lnTo>
                  <a:pt x="462" y="6"/>
                </a:lnTo>
                <a:lnTo>
                  <a:pt x="468" y="6"/>
                </a:lnTo>
                <a:lnTo>
                  <a:pt x="474" y="6"/>
                </a:lnTo>
                <a:lnTo>
                  <a:pt x="480" y="6"/>
                </a:lnTo>
                <a:lnTo>
                  <a:pt x="486" y="6"/>
                </a:lnTo>
                <a:lnTo>
                  <a:pt x="492" y="0"/>
                </a:lnTo>
                <a:lnTo>
                  <a:pt x="492" y="6"/>
                </a:lnTo>
                <a:lnTo>
                  <a:pt x="498" y="12"/>
                </a:lnTo>
                <a:lnTo>
                  <a:pt x="498" y="18"/>
                </a:lnTo>
                <a:lnTo>
                  <a:pt x="504" y="24"/>
                </a:lnTo>
                <a:lnTo>
                  <a:pt x="510" y="24"/>
                </a:lnTo>
                <a:lnTo>
                  <a:pt x="516" y="24"/>
                </a:lnTo>
                <a:lnTo>
                  <a:pt x="522" y="24"/>
                </a:lnTo>
                <a:lnTo>
                  <a:pt x="528" y="24"/>
                </a:lnTo>
                <a:lnTo>
                  <a:pt x="528" y="30"/>
                </a:lnTo>
                <a:lnTo>
                  <a:pt x="534" y="30"/>
                </a:lnTo>
                <a:lnTo>
                  <a:pt x="534" y="36"/>
                </a:lnTo>
                <a:lnTo>
                  <a:pt x="540" y="42"/>
                </a:lnTo>
                <a:lnTo>
                  <a:pt x="546" y="42"/>
                </a:lnTo>
                <a:lnTo>
                  <a:pt x="552" y="42"/>
                </a:lnTo>
                <a:lnTo>
                  <a:pt x="552" y="48"/>
                </a:lnTo>
                <a:lnTo>
                  <a:pt x="558" y="48"/>
                </a:lnTo>
                <a:lnTo>
                  <a:pt x="564" y="48"/>
                </a:lnTo>
                <a:lnTo>
                  <a:pt x="570" y="48"/>
                </a:lnTo>
                <a:lnTo>
                  <a:pt x="570" y="54"/>
                </a:lnTo>
                <a:lnTo>
                  <a:pt x="576" y="54"/>
                </a:lnTo>
                <a:lnTo>
                  <a:pt x="582" y="54"/>
                </a:lnTo>
                <a:lnTo>
                  <a:pt x="588" y="54"/>
                </a:lnTo>
                <a:lnTo>
                  <a:pt x="582" y="54"/>
                </a:lnTo>
                <a:lnTo>
                  <a:pt x="588" y="60"/>
                </a:lnTo>
                <a:lnTo>
                  <a:pt x="594" y="60"/>
                </a:lnTo>
                <a:lnTo>
                  <a:pt x="600" y="60"/>
                </a:lnTo>
                <a:lnTo>
                  <a:pt x="600" y="66"/>
                </a:lnTo>
                <a:lnTo>
                  <a:pt x="606" y="66"/>
                </a:lnTo>
                <a:lnTo>
                  <a:pt x="612" y="66"/>
                </a:lnTo>
                <a:lnTo>
                  <a:pt x="612" y="72"/>
                </a:lnTo>
                <a:lnTo>
                  <a:pt x="612" y="78"/>
                </a:lnTo>
                <a:lnTo>
                  <a:pt x="618" y="78"/>
                </a:lnTo>
                <a:lnTo>
                  <a:pt x="612" y="78"/>
                </a:lnTo>
                <a:lnTo>
                  <a:pt x="612" y="84"/>
                </a:lnTo>
                <a:lnTo>
                  <a:pt x="618" y="84"/>
                </a:lnTo>
                <a:lnTo>
                  <a:pt x="618" y="78"/>
                </a:lnTo>
                <a:lnTo>
                  <a:pt x="618" y="84"/>
                </a:lnTo>
                <a:lnTo>
                  <a:pt x="624" y="78"/>
                </a:lnTo>
                <a:lnTo>
                  <a:pt x="624" y="84"/>
                </a:lnTo>
                <a:lnTo>
                  <a:pt x="624" y="78"/>
                </a:lnTo>
                <a:lnTo>
                  <a:pt x="624" y="84"/>
                </a:lnTo>
                <a:lnTo>
                  <a:pt x="624" y="90"/>
                </a:lnTo>
                <a:lnTo>
                  <a:pt x="630" y="90"/>
                </a:lnTo>
                <a:lnTo>
                  <a:pt x="630" y="96"/>
                </a:lnTo>
                <a:lnTo>
                  <a:pt x="636" y="96"/>
                </a:lnTo>
                <a:lnTo>
                  <a:pt x="636" y="102"/>
                </a:lnTo>
                <a:lnTo>
                  <a:pt x="630" y="102"/>
                </a:lnTo>
                <a:lnTo>
                  <a:pt x="630" y="108"/>
                </a:lnTo>
                <a:lnTo>
                  <a:pt x="636" y="108"/>
                </a:lnTo>
                <a:lnTo>
                  <a:pt x="636" y="114"/>
                </a:lnTo>
                <a:lnTo>
                  <a:pt x="642" y="114"/>
                </a:lnTo>
                <a:lnTo>
                  <a:pt x="642" y="120"/>
                </a:lnTo>
                <a:lnTo>
                  <a:pt x="642" y="126"/>
                </a:lnTo>
                <a:lnTo>
                  <a:pt x="648" y="126"/>
                </a:lnTo>
                <a:lnTo>
                  <a:pt x="648" y="132"/>
                </a:lnTo>
                <a:lnTo>
                  <a:pt x="654" y="132"/>
                </a:lnTo>
                <a:lnTo>
                  <a:pt x="654" y="138"/>
                </a:lnTo>
                <a:lnTo>
                  <a:pt x="648" y="138"/>
                </a:lnTo>
                <a:lnTo>
                  <a:pt x="648" y="144"/>
                </a:lnTo>
                <a:lnTo>
                  <a:pt x="642" y="144"/>
                </a:lnTo>
                <a:lnTo>
                  <a:pt x="642" y="150"/>
                </a:lnTo>
                <a:lnTo>
                  <a:pt x="636" y="150"/>
                </a:lnTo>
                <a:lnTo>
                  <a:pt x="630" y="150"/>
                </a:lnTo>
                <a:lnTo>
                  <a:pt x="630" y="156"/>
                </a:lnTo>
                <a:lnTo>
                  <a:pt x="630" y="162"/>
                </a:lnTo>
                <a:lnTo>
                  <a:pt x="636" y="162"/>
                </a:lnTo>
                <a:lnTo>
                  <a:pt x="636" y="168"/>
                </a:lnTo>
                <a:lnTo>
                  <a:pt x="636" y="174"/>
                </a:lnTo>
                <a:lnTo>
                  <a:pt x="630" y="174"/>
                </a:lnTo>
                <a:lnTo>
                  <a:pt x="630" y="180"/>
                </a:lnTo>
                <a:lnTo>
                  <a:pt x="630" y="186"/>
                </a:lnTo>
                <a:lnTo>
                  <a:pt x="630" y="180"/>
                </a:lnTo>
                <a:lnTo>
                  <a:pt x="624" y="180"/>
                </a:lnTo>
                <a:lnTo>
                  <a:pt x="624" y="186"/>
                </a:lnTo>
                <a:lnTo>
                  <a:pt x="630" y="186"/>
                </a:lnTo>
                <a:lnTo>
                  <a:pt x="624" y="186"/>
                </a:lnTo>
                <a:lnTo>
                  <a:pt x="630" y="186"/>
                </a:lnTo>
                <a:lnTo>
                  <a:pt x="630" y="192"/>
                </a:lnTo>
                <a:lnTo>
                  <a:pt x="624" y="192"/>
                </a:lnTo>
                <a:lnTo>
                  <a:pt x="630" y="192"/>
                </a:lnTo>
                <a:lnTo>
                  <a:pt x="630" y="198"/>
                </a:lnTo>
                <a:lnTo>
                  <a:pt x="630" y="204"/>
                </a:lnTo>
                <a:lnTo>
                  <a:pt x="630" y="210"/>
                </a:lnTo>
                <a:lnTo>
                  <a:pt x="630" y="216"/>
                </a:lnTo>
                <a:lnTo>
                  <a:pt x="630" y="222"/>
                </a:lnTo>
                <a:lnTo>
                  <a:pt x="630" y="228"/>
                </a:lnTo>
                <a:lnTo>
                  <a:pt x="630" y="234"/>
                </a:lnTo>
                <a:lnTo>
                  <a:pt x="636" y="234"/>
                </a:lnTo>
                <a:lnTo>
                  <a:pt x="642" y="234"/>
                </a:lnTo>
                <a:lnTo>
                  <a:pt x="642" y="240"/>
                </a:lnTo>
                <a:lnTo>
                  <a:pt x="636" y="240"/>
                </a:lnTo>
                <a:lnTo>
                  <a:pt x="636" y="246"/>
                </a:lnTo>
                <a:lnTo>
                  <a:pt x="630" y="246"/>
                </a:lnTo>
                <a:lnTo>
                  <a:pt x="624" y="252"/>
                </a:lnTo>
                <a:lnTo>
                  <a:pt x="618" y="252"/>
                </a:lnTo>
                <a:lnTo>
                  <a:pt x="612" y="252"/>
                </a:lnTo>
                <a:lnTo>
                  <a:pt x="612" y="258"/>
                </a:lnTo>
                <a:lnTo>
                  <a:pt x="612" y="264"/>
                </a:lnTo>
                <a:lnTo>
                  <a:pt x="612" y="270"/>
                </a:lnTo>
                <a:lnTo>
                  <a:pt x="612" y="276"/>
                </a:lnTo>
                <a:lnTo>
                  <a:pt x="612" y="282"/>
                </a:lnTo>
                <a:lnTo>
                  <a:pt x="612" y="288"/>
                </a:lnTo>
                <a:lnTo>
                  <a:pt x="612" y="294"/>
                </a:lnTo>
                <a:lnTo>
                  <a:pt x="606" y="294"/>
                </a:lnTo>
                <a:lnTo>
                  <a:pt x="606" y="300"/>
                </a:lnTo>
                <a:lnTo>
                  <a:pt x="606" y="306"/>
                </a:lnTo>
                <a:lnTo>
                  <a:pt x="600" y="306"/>
                </a:lnTo>
                <a:lnTo>
                  <a:pt x="594" y="306"/>
                </a:lnTo>
                <a:lnTo>
                  <a:pt x="600" y="312"/>
                </a:lnTo>
                <a:lnTo>
                  <a:pt x="606" y="312"/>
                </a:lnTo>
                <a:lnTo>
                  <a:pt x="600" y="318"/>
                </a:lnTo>
                <a:lnTo>
                  <a:pt x="606" y="318"/>
                </a:lnTo>
                <a:lnTo>
                  <a:pt x="606" y="324"/>
                </a:lnTo>
                <a:lnTo>
                  <a:pt x="612" y="324"/>
                </a:lnTo>
                <a:lnTo>
                  <a:pt x="612" y="330"/>
                </a:lnTo>
                <a:lnTo>
                  <a:pt x="612" y="324"/>
                </a:lnTo>
                <a:lnTo>
                  <a:pt x="612" y="330"/>
                </a:lnTo>
                <a:lnTo>
                  <a:pt x="618" y="336"/>
                </a:lnTo>
                <a:lnTo>
                  <a:pt x="618" y="330"/>
                </a:lnTo>
                <a:lnTo>
                  <a:pt x="624" y="330"/>
                </a:lnTo>
                <a:lnTo>
                  <a:pt x="624" y="324"/>
                </a:lnTo>
                <a:lnTo>
                  <a:pt x="624" y="330"/>
                </a:lnTo>
                <a:lnTo>
                  <a:pt x="618" y="336"/>
                </a:lnTo>
                <a:lnTo>
                  <a:pt x="612" y="336"/>
                </a:lnTo>
                <a:lnTo>
                  <a:pt x="606" y="336"/>
                </a:lnTo>
                <a:lnTo>
                  <a:pt x="594" y="342"/>
                </a:lnTo>
                <a:lnTo>
                  <a:pt x="588" y="342"/>
                </a:lnTo>
                <a:lnTo>
                  <a:pt x="582" y="348"/>
                </a:lnTo>
                <a:lnTo>
                  <a:pt x="576" y="348"/>
                </a:lnTo>
                <a:lnTo>
                  <a:pt x="570" y="348"/>
                </a:lnTo>
                <a:lnTo>
                  <a:pt x="564" y="348"/>
                </a:lnTo>
                <a:lnTo>
                  <a:pt x="564" y="354"/>
                </a:lnTo>
                <a:lnTo>
                  <a:pt x="558" y="354"/>
                </a:lnTo>
                <a:lnTo>
                  <a:pt x="552" y="354"/>
                </a:lnTo>
                <a:lnTo>
                  <a:pt x="546" y="360"/>
                </a:lnTo>
                <a:lnTo>
                  <a:pt x="540" y="360"/>
                </a:lnTo>
                <a:lnTo>
                  <a:pt x="534" y="360"/>
                </a:lnTo>
                <a:lnTo>
                  <a:pt x="534" y="366"/>
                </a:lnTo>
                <a:lnTo>
                  <a:pt x="528" y="366"/>
                </a:lnTo>
                <a:lnTo>
                  <a:pt x="522" y="366"/>
                </a:lnTo>
                <a:lnTo>
                  <a:pt x="516" y="366"/>
                </a:lnTo>
                <a:lnTo>
                  <a:pt x="510" y="372"/>
                </a:lnTo>
                <a:lnTo>
                  <a:pt x="504" y="372"/>
                </a:lnTo>
                <a:lnTo>
                  <a:pt x="492" y="378"/>
                </a:lnTo>
                <a:lnTo>
                  <a:pt x="486" y="378"/>
                </a:lnTo>
                <a:lnTo>
                  <a:pt x="480" y="378"/>
                </a:lnTo>
                <a:lnTo>
                  <a:pt x="474" y="384"/>
                </a:lnTo>
                <a:lnTo>
                  <a:pt x="468" y="384"/>
                </a:lnTo>
                <a:lnTo>
                  <a:pt x="462" y="384"/>
                </a:lnTo>
                <a:lnTo>
                  <a:pt x="456" y="390"/>
                </a:lnTo>
                <a:lnTo>
                  <a:pt x="462" y="390"/>
                </a:lnTo>
                <a:lnTo>
                  <a:pt x="456" y="390"/>
                </a:lnTo>
                <a:lnTo>
                  <a:pt x="456" y="396"/>
                </a:lnTo>
                <a:lnTo>
                  <a:pt x="462" y="396"/>
                </a:lnTo>
                <a:lnTo>
                  <a:pt x="462" y="402"/>
                </a:lnTo>
                <a:lnTo>
                  <a:pt x="468" y="408"/>
                </a:lnTo>
                <a:lnTo>
                  <a:pt x="468" y="414"/>
                </a:lnTo>
                <a:lnTo>
                  <a:pt x="468" y="420"/>
                </a:lnTo>
                <a:lnTo>
                  <a:pt x="468" y="426"/>
                </a:lnTo>
                <a:close/>
              </a:path>
            </a:pathLst>
          </a:custGeom>
          <a:solidFill>
            <a:schemeClr val="accent1">
              <a:lumMod val="50000"/>
            </a:schemeClr>
          </a:solidFill>
          <a:ln w="9525" cap="flat" cmpd="sng">
            <a:solidFill>
              <a:schemeClr val="bg1"/>
            </a:solidFill>
            <a:prstDash val="solid"/>
            <a:round/>
            <a:headEnd type="none" w="med" len="med"/>
            <a:tailEnd type="none" w="med" len="med"/>
          </a:ln>
          <a:effectLst/>
        </p:spPr>
        <p:txBody>
          <a:bodyPr/>
          <a:lstStyle/>
          <a:p>
            <a:endParaRPr lang="en-CA" sz="612"/>
          </a:p>
        </p:txBody>
      </p:sp>
      <p:sp>
        <p:nvSpPr>
          <p:cNvPr id="61" name="Freeform 55">
            <a:extLst>
              <a:ext uri="{FF2B5EF4-FFF2-40B4-BE49-F238E27FC236}">
                <a16:creationId xmlns:a16="http://schemas.microsoft.com/office/drawing/2014/main" id="{70A6F375-854A-0E44-8F12-05028771F873}"/>
              </a:ext>
            </a:extLst>
          </p:cNvPr>
          <p:cNvSpPr>
            <a:spLocks noEditPoints="1"/>
          </p:cNvSpPr>
          <p:nvPr>
            <p:custDataLst>
              <p:tags r:id="rId49"/>
            </p:custDataLst>
          </p:nvPr>
        </p:nvSpPr>
        <p:spPr bwMode="gray">
          <a:xfrm>
            <a:off x="5639693" y="4992864"/>
            <a:ext cx="209094" cy="383217"/>
          </a:xfrm>
          <a:custGeom>
            <a:avLst/>
            <a:gdLst>
              <a:gd name="T0" fmla="*/ 10861 w 180"/>
              <a:gd name="T1" fmla="*/ 1941 h 444"/>
              <a:gd name="T2" fmla="*/ 15798 w 180"/>
              <a:gd name="T3" fmla="*/ 3881 h 444"/>
              <a:gd name="T4" fmla="*/ 22710 w 180"/>
              <a:gd name="T5" fmla="*/ 3881 h 444"/>
              <a:gd name="T6" fmla="*/ 26660 w 180"/>
              <a:gd name="T7" fmla="*/ 6792 h 444"/>
              <a:gd name="T8" fmla="*/ 30609 w 180"/>
              <a:gd name="T9" fmla="*/ 3881 h 444"/>
              <a:gd name="T10" fmla="*/ 37521 w 180"/>
              <a:gd name="T11" fmla="*/ 12613 h 444"/>
              <a:gd name="T12" fmla="*/ 37521 w 180"/>
              <a:gd name="T13" fmla="*/ 14553 h 444"/>
              <a:gd name="T14" fmla="*/ 39496 w 180"/>
              <a:gd name="T15" fmla="*/ 23285 h 444"/>
              <a:gd name="T16" fmla="*/ 39496 w 180"/>
              <a:gd name="T17" fmla="*/ 30076 h 444"/>
              <a:gd name="T18" fmla="*/ 39496 w 180"/>
              <a:gd name="T19" fmla="*/ 33958 h 444"/>
              <a:gd name="T20" fmla="*/ 46407 w 180"/>
              <a:gd name="T21" fmla="*/ 40749 h 444"/>
              <a:gd name="T22" fmla="*/ 39496 w 180"/>
              <a:gd name="T23" fmla="*/ 44630 h 444"/>
              <a:gd name="T24" fmla="*/ 35546 w 180"/>
              <a:gd name="T25" fmla="*/ 57242 h 444"/>
              <a:gd name="T26" fmla="*/ 37521 w 180"/>
              <a:gd name="T27" fmla="*/ 70826 h 444"/>
              <a:gd name="T28" fmla="*/ 37521 w 180"/>
              <a:gd name="T29" fmla="*/ 79558 h 444"/>
              <a:gd name="T30" fmla="*/ 44433 w 180"/>
              <a:gd name="T31" fmla="*/ 83439 h 444"/>
              <a:gd name="T32" fmla="*/ 53319 w 180"/>
              <a:gd name="T33" fmla="*/ 92171 h 444"/>
              <a:gd name="T34" fmla="*/ 64180 w 180"/>
              <a:gd name="T35" fmla="*/ 106724 h 444"/>
              <a:gd name="T36" fmla="*/ 66155 w 180"/>
              <a:gd name="T37" fmla="*/ 121277 h 444"/>
              <a:gd name="T38" fmla="*/ 64180 w 180"/>
              <a:gd name="T39" fmla="*/ 134860 h 444"/>
              <a:gd name="T40" fmla="*/ 57269 w 180"/>
              <a:gd name="T41" fmla="*/ 138741 h 444"/>
              <a:gd name="T42" fmla="*/ 53319 w 180"/>
              <a:gd name="T43" fmla="*/ 140681 h 444"/>
              <a:gd name="T44" fmla="*/ 50357 w 180"/>
              <a:gd name="T45" fmla="*/ 145533 h 444"/>
              <a:gd name="T46" fmla="*/ 55294 w 180"/>
              <a:gd name="T47" fmla="*/ 151354 h 444"/>
              <a:gd name="T48" fmla="*/ 55294 w 180"/>
              <a:gd name="T49" fmla="*/ 158145 h 444"/>
              <a:gd name="T50" fmla="*/ 50357 w 180"/>
              <a:gd name="T51" fmla="*/ 154264 h 444"/>
              <a:gd name="T52" fmla="*/ 46407 w 180"/>
              <a:gd name="T53" fmla="*/ 149413 h 444"/>
              <a:gd name="T54" fmla="*/ 39496 w 180"/>
              <a:gd name="T55" fmla="*/ 140681 h 444"/>
              <a:gd name="T56" fmla="*/ 37521 w 180"/>
              <a:gd name="T57" fmla="*/ 136801 h 444"/>
              <a:gd name="T58" fmla="*/ 33571 w 180"/>
              <a:gd name="T59" fmla="*/ 130979 h 444"/>
              <a:gd name="T60" fmla="*/ 35546 w 180"/>
              <a:gd name="T61" fmla="*/ 126128 h 444"/>
              <a:gd name="T62" fmla="*/ 39496 w 180"/>
              <a:gd name="T63" fmla="*/ 120307 h 444"/>
              <a:gd name="T64" fmla="*/ 39496 w 180"/>
              <a:gd name="T65" fmla="*/ 108664 h 444"/>
              <a:gd name="T66" fmla="*/ 37521 w 180"/>
              <a:gd name="T67" fmla="*/ 104783 h 444"/>
              <a:gd name="T68" fmla="*/ 28634 w 180"/>
              <a:gd name="T69" fmla="*/ 104783 h 444"/>
              <a:gd name="T70" fmla="*/ 19747 w 180"/>
              <a:gd name="T71" fmla="*/ 106724 h 444"/>
              <a:gd name="T72" fmla="*/ 15798 w 180"/>
              <a:gd name="T73" fmla="*/ 100903 h 444"/>
              <a:gd name="T74" fmla="*/ 10861 w 180"/>
              <a:gd name="T75" fmla="*/ 94111 h 444"/>
              <a:gd name="T76" fmla="*/ 6911 w 180"/>
              <a:gd name="T77" fmla="*/ 94111 h 444"/>
              <a:gd name="T78" fmla="*/ 3949 w 180"/>
              <a:gd name="T79" fmla="*/ 90230 h 444"/>
              <a:gd name="T80" fmla="*/ 1975 w 180"/>
              <a:gd name="T81" fmla="*/ 85379 h 444"/>
              <a:gd name="T82" fmla="*/ 6911 w 180"/>
              <a:gd name="T83" fmla="*/ 79558 h 444"/>
              <a:gd name="T84" fmla="*/ 6911 w 180"/>
              <a:gd name="T85" fmla="*/ 67915 h 444"/>
              <a:gd name="T86" fmla="*/ 15798 w 180"/>
              <a:gd name="T87" fmla="*/ 64034 h 444"/>
              <a:gd name="T88" fmla="*/ 12836 w 180"/>
              <a:gd name="T89" fmla="*/ 60154 h 444"/>
              <a:gd name="T90" fmla="*/ 12836 w 180"/>
              <a:gd name="T91" fmla="*/ 49481 h 444"/>
              <a:gd name="T92" fmla="*/ 12836 w 180"/>
              <a:gd name="T93" fmla="*/ 42690 h 444"/>
              <a:gd name="T94" fmla="*/ 12836 w 180"/>
              <a:gd name="T95" fmla="*/ 40749 h 444"/>
              <a:gd name="T96" fmla="*/ 15798 w 180"/>
              <a:gd name="T97" fmla="*/ 36868 h 444"/>
              <a:gd name="T98" fmla="*/ 15798 w 180"/>
              <a:gd name="T99" fmla="*/ 30076 h 444"/>
              <a:gd name="T100" fmla="*/ 22710 w 180"/>
              <a:gd name="T101" fmla="*/ 26196 h 444"/>
              <a:gd name="T102" fmla="*/ 17773 w 180"/>
              <a:gd name="T103" fmla="*/ 19405 h 444"/>
              <a:gd name="T104" fmla="*/ 12836 w 180"/>
              <a:gd name="T105" fmla="*/ 12613 h 444"/>
              <a:gd name="T106" fmla="*/ 10861 w 180"/>
              <a:gd name="T107" fmla="*/ 8732 h 444"/>
              <a:gd name="T108" fmla="*/ 8887 w 180"/>
              <a:gd name="T109" fmla="*/ 6792 h 444"/>
              <a:gd name="T110" fmla="*/ 8887 w 180"/>
              <a:gd name="T111" fmla="*/ 3881 h 444"/>
              <a:gd name="T112" fmla="*/ 44433 w 180"/>
              <a:gd name="T113" fmla="*/ 56273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0" h="444">
                <a:moveTo>
                  <a:pt x="18" y="6"/>
                </a:moveTo>
                <a:lnTo>
                  <a:pt x="18" y="0"/>
                </a:lnTo>
                <a:lnTo>
                  <a:pt x="18" y="6"/>
                </a:lnTo>
                <a:lnTo>
                  <a:pt x="24" y="6"/>
                </a:lnTo>
                <a:lnTo>
                  <a:pt x="30" y="6"/>
                </a:lnTo>
                <a:lnTo>
                  <a:pt x="30" y="12"/>
                </a:lnTo>
                <a:lnTo>
                  <a:pt x="30" y="6"/>
                </a:lnTo>
                <a:lnTo>
                  <a:pt x="36" y="6"/>
                </a:lnTo>
                <a:lnTo>
                  <a:pt x="36" y="12"/>
                </a:lnTo>
                <a:lnTo>
                  <a:pt x="42" y="12"/>
                </a:lnTo>
                <a:lnTo>
                  <a:pt x="42" y="18"/>
                </a:lnTo>
                <a:lnTo>
                  <a:pt x="48" y="18"/>
                </a:lnTo>
                <a:lnTo>
                  <a:pt x="48" y="12"/>
                </a:lnTo>
                <a:lnTo>
                  <a:pt x="54" y="12"/>
                </a:lnTo>
                <a:lnTo>
                  <a:pt x="60" y="12"/>
                </a:lnTo>
                <a:lnTo>
                  <a:pt x="60" y="18"/>
                </a:lnTo>
                <a:lnTo>
                  <a:pt x="60" y="12"/>
                </a:lnTo>
                <a:lnTo>
                  <a:pt x="66" y="12"/>
                </a:lnTo>
                <a:lnTo>
                  <a:pt x="66" y="18"/>
                </a:lnTo>
                <a:lnTo>
                  <a:pt x="72" y="18"/>
                </a:lnTo>
                <a:lnTo>
                  <a:pt x="72" y="12"/>
                </a:lnTo>
                <a:lnTo>
                  <a:pt x="78" y="12"/>
                </a:lnTo>
                <a:lnTo>
                  <a:pt x="78" y="6"/>
                </a:lnTo>
                <a:lnTo>
                  <a:pt x="78" y="12"/>
                </a:lnTo>
                <a:lnTo>
                  <a:pt x="84" y="12"/>
                </a:lnTo>
                <a:lnTo>
                  <a:pt x="90" y="24"/>
                </a:lnTo>
                <a:lnTo>
                  <a:pt x="96" y="24"/>
                </a:lnTo>
                <a:lnTo>
                  <a:pt x="96" y="30"/>
                </a:lnTo>
                <a:lnTo>
                  <a:pt x="102" y="30"/>
                </a:lnTo>
                <a:lnTo>
                  <a:pt x="102" y="36"/>
                </a:lnTo>
                <a:lnTo>
                  <a:pt x="102" y="42"/>
                </a:lnTo>
                <a:lnTo>
                  <a:pt x="108" y="42"/>
                </a:lnTo>
                <a:lnTo>
                  <a:pt x="102" y="42"/>
                </a:lnTo>
                <a:lnTo>
                  <a:pt x="108" y="42"/>
                </a:lnTo>
                <a:lnTo>
                  <a:pt x="102" y="42"/>
                </a:lnTo>
                <a:lnTo>
                  <a:pt x="108" y="42"/>
                </a:lnTo>
                <a:lnTo>
                  <a:pt x="108" y="48"/>
                </a:lnTo>
                <a:lnTo>
                  <a:pt x="108" y="54"/>
                </a:lnTo>
                <a:lnTo>
                  <a:pt x="108" y="60"/>
                </a:lnTo>
                <a:lnTo>
                  <a:pt x="108" y="66"/>
                </a:lnTo>
                <a:lnTo>
                  <a:pt x="108" y="72"/>
                </a:lnTo>
                <a:lnTo>
                  <a:pt x="108" y="78"/>
                </a:lnTo>
                <a:lnTo>
                  <a:pt x="114" y="78"/>
                </a:lnTo>
                <a:lnTo>
                  <a:pt x="114" y="84"/>
                </a:lnTo>
                <a:lnTo>
                  <a:pt x="108" y="84"/>
                </a:lnTo>
                <a:lnTo>
                  <a:pt x="114" y="84"/>
                </a:lnTo>
                <a:lnTo>
                  <a:pt x="108" y="90"/>
                </a:lnTo>
                <a:lnTo>
                  <a:pt x="114" y="90"/>
                </a:lnTo>
                <a:lnTo>
                  <a:pt x="108" y="90"/>
                </a:lnTo>
                <a:lnTo>
                  <a:pt x="108" y="96"/>
                </a:lnTo>
                <a:lnTo>
                  <a:pt x="108" y="102"/>
                </a:lnTo>
                <a:lnTo>
                  <a:pt x="114" y="102"/>
                </a:lnTo>
                <a:lnTo>
                  <a:pt x="120" y="108"/>
                </a:lnTo>
                <a:lnTo>
                  <a:pt x="120" y="114"/>
                </a:lnTo>
                <a:lnTo>
                  <a:pt x="126" y="114"/>
                </a:lnTo>
                <a:lnTo>
                  <a:pt x="126" y="120"/>
                </a:lnTo>
                <a:lnTo>
                  <a:pt x="126" y="126"/>
                </a:lnTo>
                <a:lnTo>
                  <a:pt x="120" y="126"/>
                </a:lnTo>
                <a:lnTo>
                  <a:pt x="114" y="126"/>
                </a:lnTo>
                <a:lnTo>
                  <a:pt x="108" y="126"/>
                </a:lnTo>
                <a:lnTo>
                  <a:pt x="108" y="132"/>
                </a:lnTo>
                <a:lnTo>
                  <a:pt x="108" y="138"/>
                </a:lnTo>
                <a:lnTo>
                  <a:pt x="102" y="150"/>
                </a:lnTo>
                <a:lnTo>
                  <a:pt x="102" y="156"/>
                </a:lnTo>
                <a:lnTo>
                  <a:pt x="96" y="162"/>
                </a:lnTo>
                <a:lnTo>
                  <a:pt x="96" y="168"/>
                </a:lnTo>
                <a:lnTo>
                  <a:pt x="102" y="180"/>
                </a:lnTo>
                <a:lnTo>
                  <a:pt x="102" y="186"/>
                </a:lnTo>
                <a:lnTo>
                  <a:pt x="102" y="192"/>
                </a:lnTo>
                <a:lnTo>
                  <a:pt x="102" y="198"/>
                </a:lnTo>
                <a:lnTo>
                  <a:pt x="102" y="204"/>
                </a:lnTo>
                <a:lnTo>
                  <a:pt x="108" y="210"/>
                </a:lnTo>
                <a:lnTo>
                  <a:pt x="108" y="216"/>
                </a:lnTo>
                <a:lnTo>
                  <a:pt x="108" y="222"/>
                </a:lnTo>
                <a:lnTo>
                  <a:pt x="102" y="222"/>
                </a:lnTo>
                <a:lnTo>
                  <a:pt x="102" y="228"/>
                </a:lnTo>
                <a:lnTo>
                  <a:pt x="108" y="228"/>
                </a:lnTo>
                <a:lnTo>
                  <a:pt x="108" y="234"/>
                </a:lnTo>
                <a:lnTo>
                  <a:pt x="114" y="234"/>
                </a:lnTo>
                <a:lnTo>
                  <a:pt x="120" y="234"/>
                </a:lnTo>
                <a:lnTo>
                  <a:pt x="126" y="234"/>
                </a:lnTo>
                <a:lnTo>
                  <a:pt x="132" y="240"/>
                </a:lnTo>
                <a:lnTo>
                  <a:pt x="132" y="246"/>
                </a:lnTo>
                <a:lnTo>
                  <a:pt x="138" y="246"/>
                </a:lnTo>
                <a:lnTo>
                  <a:pt x="144" y="258"/>
                </a:lnTo>
                <a:lnTo>
                  <a:pt x="150" y="264"/>
                </a:lnTo>
                <a:lnTo>
                  <a:pt x="156" y="276"/>
                </a:lnTo>
                <a:lnTo>
                  <a:pt x="162" y="282"/>
                </a:lnTo>
                <a:lnTo>
                  <a:pt x="174" y="294"/>
                </a:lnTo>
                <a:lnTo>
                  <a:pt x="174" y="300"/>
                </a:lnTo>
                <a:lnTo>
                  <a:pt x="180" y="306"/>
                </a:lnTo>
                <a:lnTo>
                  <a:pt x="180" y="318"/>
                </a:lnTo>
                <a:lnTo>
                  <a:pt x="174" y="330"/>
                </a:lnTo>
                <a:lnTo>
                  <a:pt x="174" y="336"/>
                </a:lnTo>
                <a:lnTo>
                  <a:pt x="180" y="342"/>
                </a:lnTo>
                <a:lnTo>
                  <a:pt x="180" y="348"/>
                </a:lnTo>
                <a:lnTo>
                  <a:pt x="180" y="354"/>
                </a:lnTo>
                <a:lnTo>
                  <a:pt x="180" y="360"/>
                </a:lnTo>
                <a:lnTo>
                  <a:pt x="174" y="372"/>
                </a:lnTo>
                <a:lnTo>
                  <a:pt x="174" y="378"/>
                </a:lnTo>
                <a:lnTo>
                  <a:pt x="174" y="384"/>
                </a:lnTo>
                <a:lnTo>
                  <a:pt x="168" y="384"/>
                </a:lnTo>
                <a:lnTo>
                  <a:pt x="168" y="390"/>
                </a:lnTo>
                <a:lnTo>
                  <a:pt x="162" y="390"/>
                </a:lnTo>
                <a:lnTo>
                  <a:pt x="156" y="390"/>
                </a:lnTo>
                <a:lnTo>
                  <a:pt x="156" y="384"/>
                </a:lnTo>
                <a:lnTo>
                  <a:pt x="156" y="390"/>
                </a:lnTo>
                <a:lnTo>
                  <a:pt x="150" y="390"/>
                </a:lnTo>
                <a:lnTo>
                  <a:pt x="150" y="396"/>
                </a:lnTo>
                <a:lnTo>
                  <a:pt x="144" y="396"/>
                </a:lnTo>
                <a:lnTo>
                  <a:pt x="144" y="402"/>
                </a:lnTo>
                <a:lnTo>
                  <a:pt x="150" y="402"/>
                </a:lnTo>
                <a:lnTo>
                  <a:pt x="144" y="402"/>
                </a:lnTo>
                <a:lnTo>
                  <a:pt x="144" y="408"/>
                </a:lnTo>
                <a:lnTo>
                  <a:pt x="138" y="408"/>
                </a:lnTo>
                <a:lnTo>
                  <a:pt x="138" y="414"/>
                </a:lnTo>
                <a:lnTo>
                  <a:pt x="144" y="414"/>
                </a:lnTo>
                <a:lnTo>
                  <a:pt x="144" y="420"/>
                </a:lnTo>
                <a:lnTo>
                  <a:pt x="144" y="426"/>
                </a:lnTo>
                <a:lnTo>
                  <a:pt x="150" y="426"/>
                </a:lnTo>
                <a:lnTo>
                  <a:pt x="150" y="432"/>
                </a:lnTo>
                <a:lnTo>
                  <a:pt x="144" y="432"/>
                </a:lnTo>
                <a:lnTo>
                  <a:pt x="144" y="438"/>
                </a:lnTo>
                <a:lnTo>
                  <a:pt x="150" y="438"/>
                </a:lnTo>
                <a:lnTo>
                  <a:pt x="150" y="444"/>
                </a:lnTo>
                <a:lnTo>
                  <a:pt x="138" y="444"/>
                </a:lnTo>
                <a:lnTo>
                  <a:pt x="132" y="444"/>
                </a:lnTo>
                <a:lnTo>
                  <a:pt x="132" y="438"/>
                </a:lnTo>
                <a:lnTo>
                  <a:pt x="138" y="438"/>
                </a:lnTo>
                <a:lnTo>
                  <a:pt x="138" y="432"/>
                </a:lnTo>
                <a:lnTo>
                  <a:pt x="138" y="426"/>
                </a:lnTo>
                <a:lnTo>
                  <a:pt x="132" y="426"/>
                </a:lnTo>
                <a:lnTo>
                  <a:pt x="126" y="420"/>
                </a:lnTo>
                <a:lnTo>
                  <a:pt x="126" y="426"/>
                </a:lnTo>
                <a:lnTo>
                  <a:pt x="126" y="420"/>
                </a:lnTo>
                <a:lnTo>
                  <a:pt x="120" y="414"/>
                </a:lnTo>
                <a:lnTo>
                  <a:pt x="120" y="408"/>
                </a:lnTo>
                <a:lnTo>
                  <a:pt x="114" y="408"/>
                </a:lnTo>
                <a:lnTo>
                  <a:pt x="108" y="402"/>
                </a:lnTo>
                <a:lnTo>
                  <a:pt x="108" y="396"/>
                </a:lnTo>
                <a:lnTo>
                  <a:pt x="102" y="396"/>
                </a:lnTo>
                <a:lnTo>
                  <a:pt x="96" y="396"/>
                </a:lnTo>
                <a:lnTo>
                  <a:pt x="96" y="390"/>
                </a:lnTo>
                <a:lnTo>
                  <a:pt x="96" y="384"/>
                </a:lnTo>
                <a:lnTo>
                  <a:pt x="102" y="384"/>
                </a:lnTo>
                <a:lnTo>
                  <a:pt x="96" y="384"/>
                </a:lnTo>
                <a:lnTo>
                  <a:pt x="96" y="378"/>
                </a:lnTo>
                <a:lnTo>
                  <a:pt x="90" y="378"/>
                </a:lnTo>
                <a:lnTo>
                  <a:pt x="90" y="372"/>
                </a:lnTo>
                <a:lnTo>
                  <a:pt x="90" y="366"/>
                </a:lnTo>
                <a:lnTo>
                  <a:pt x="96" y="366"/>
                </a:lnTo>
                <a:lnTo>
                  <a:pt x="96" y="360"/>
                </a:lnTo>
                <a:lnTo>
                  <a:pt x="102" y="360"/>
                </a:lnTo>
                <a:lnTo>
                  <a:pt x="102" y="354"/>
                </a:lnTo>
                <a:lnTo>
                  <a:pt x="96" y="354"/>
                </a:lnTo>
                <a:lnTo>
                  <a:pt x="96" y="348"/>
                </a:lnTo>
                <a:lnTo>
                  <a:pt x="102" y="348"/>
                </a:lnTo>
                <a:lnTo>
                  <a:pt x="102" y="342"/>
                </a:lnTo>
                <a:lnTo>
                  <a:pt x="108" y="342"/>
                </a:lnTo>
                <a:lnTo>
                  <a:pt x="108" y="336"/>
                </a:lnTo>
                <a:lnTo>
                  <a:pt x="108" y="330"/>
                </a:lnTo>
                <a:lnTo>
                  <a:pt x="108" y="324"/>
                </a:lnTo>
                <a:lnTo>
                  <a:pt x="108" y="318"/>
                </a:lnTo>
                <a:lnTo>
                  <a:pt x="108" y="312"/>
                </a:lnTo>
                <a:lnTo>
                  <a:pt x="108" y="306"/>
                </a:lnTo>
                <a:lnTo>
                  <a:pt x="102" y="306"/>
                </a:lnTo>
                <a:lnTo>
                  <a:pt x="102" y="300"/>
                </a:lnTo>
                <a:lnTo>
                  <a:pt x="108" y="300"/>
                </a:lnTo>
                <a:lnTo>
                  <a:pt x="102" y="300"/>
                </a:lnTo>
                <a:lnTo>
                  <a:pt x="102" y="294"/>
                </a:lnTo>
                <a:lnTo>
                  <a:pt x="96" y="288"/>
                </a:lnTo>
                <a:lnTo>
                  <a:pt x="90" y="288"/>
                </a:lnTo>
                <a:lnTo>
                  <a:pt x="84" y="288"/>
                </a:lnTo>
                <a:lnTo>
                  <a:pt x="78" y="288"/>
                </a:lnTo>
                <a:lnTo>
                  <a:pt x="78" y="294"/>
                </a:lnTo>
                <a:lnTo>
                  <a:pt x="72" y="294"/>
                </a:lnTo>
                <a:lnTo>
                  <a:pt x="66" y="294"/>
                </a:lnTo>
                <a:lnTo>
                  <a:pt x="60" y="294"/>
                </a:lnTo>
                <a:lnTo>
                  <a:pt x="60" y="300"/>
                </a:lnTo>
                <a:lnTo>
                  <a:pt x="54" y="300"/>
                </a:lnTo>
                <a:lnTo>
                  <a:pt x="54" y="294"/>
                </a:lnTo>
                <a:lnTo>
                  <a:pt x="48" y="294"/>
                </a:lnTo>
                <a:lnTo>
                  <a:pt x="48" y="288"/>
                </a:lnTo>
                <a:lnTo>
                  <a:pt x="42" y="288"/>
                </a:lnTo>
                <a:lnTo>
                  <a:pt x="42" y="282"/>
                </a:lnTo>
                <a:lnTo>
                  <a:pt x="42" y="276"/>
                </a:lnTo>
                <a:lnTo>
                  <a:pt x="36" y="276"/>
                </a:lnTo>
                <a:lnTo>
                  <a:pt x="36" y="270"/>
                </a:lnTo>
                <a:lnTo>
                  <a:pt x="36" y="264"/>
                </a:lnTo>
                <a:lnTo>
                  <a:pt x="30" y="264"/>
                </a:lnTo>
                <a:lnTo>
                  <a:pt x="30" y="258"/>
                </a:lnTo>
                <a:lnTo>
                  <a:pt x="30" y="264"/>
                </a:lnTo>
                <a:lnTo>
                  <a:pt x="24" y="264"/>
                </a:lnTo>
                <a:lnTo>
                  <a:pt x="24" y="270"/>
                </a:lnTo>
                <a:lnTo>
                  <a:pt x="18" y="264"/>
                </a:lnTo>
                <a:lnTo>
                  <a:pt x="18" y="258"/>
                </a:lnTo>
                <a:lnTo>
                  <a:pt x="18" y="264"/>
                </a:lnTo>
                <a:lnTo>
                  <a:pt x="18" y="258"/>
                </a:lnTo>
                <a:lnTo>
                  <a:pt x="12" y="258"/>
                </a:lnTo>
                <a:lnTo>
                  <a:pt x="12" y="252"/>
                </a:lnTo>
                <a:lnTo>
                  <a:pt x="6" y="252"/>
                </a:lnTo>
                <a:lnTo>
                  <a:pt x="12" y="246"/>
                </a:lnTo>
                <a:lnTo>
                  <a:pt x="6" y="246"/>
                </a:lnTo>
                <a:lnTo>
                  <a:pt x="0" y="240"/>
                </a:lnTo>
                <a:lnTo>
                  <a:pt x="6" y="240"/>
                </a:lnTo>
                <a:lnTo>
                  <a:pt x="12" y="240"/>
                </a:lnTo>
                <a:lnTo>
                  <a:pt x="12" y="234"/>
                </a:lnTo>
                <a:lnTo>
                  <a:pt x="12" y="228"/>
                </a:lnTo>
                <a:lnTo>
                  <a:pt x="18" y="228"/>
                </a:lnTo>
                <a:lnTo>
                  <a:pt x="18" y="222"/>
                </a:lnTo>
                <a:lnTo>
                  <a:pt x="18" y="216"/>
                </a:lnTo>
                <a:lnTo>
                  <a:pt x="18" y="210"/>
                </a:lnTo>
                <a:lnTo>
                  <a:pt x="18" y="204"/>
                </a:lnTo>
                <a:lnTo>
                  <a:pt x="18" y="198"/>
                </a:lnTo>
                <a:lnTo>
                  <a:pt x="18" y="192"/>
                </a:lnTo>
                <a:lnTo>
                  <a:pt x="18" y="186"/>
                </a:lnTo>
                <a:lnTo>
                  <a:pt x="24" y="186"/>
                </a:lnTo>
                <a:lnTo>
                  <a:pt x="30" y="186"/>
                </a:lnTo>
                <a:lnTo>
                  <a:pt x="36" y="180"/>
                </a:lnTo>
                <a:lnTo>
                  <a:pt x="42" y="180"/>
                </a:lnTo>
                <a:lnTo>
                  <a:pt x="42" y="174"/>
                </a:lnTo>
                <a:lnTo>
                  <a:pt x="48" y="174"/>
                </a:lnTo>
                <a:lnTo>
                  <a:pt x="48" y="168"/>
                </a:lnTo>
                <a:lnTo>
                  <a:pt x="42" y="168"/>
                </a:lnTo>
                <a:lnTo>
                  <a:pt x="36" y="168"/>
                </a:lnTo>
                <a:lnTo>
                  <a:pt x="36" y="162"/>
                </a:lnTo>
                <a:lnTo>
                  <a:pt x="36" y="156"/>
                </a:lnTo>
                <a:lnTo>
                  <a:pt x="36" y="150"/>
                </a:lnTo>
                <a:lnTo>
                  <a:pt x="36" y="144"/>
                </a:lnTo>
                <a:lnTo>
                  <a:pt x="36" y="138"/>
                </a:lnTo>
                <a:lnTo>
                  <a:pt x="36" y="132"/>
                </a:lnTo>
                <a:lnTo>
                  <a:pt x="36" y="126"/>
                </a:lnTo>
                <a:lnTo>
                  <a:pt x="30" y="126"/>
                </a:lnTo>
                <a:lnTo>
                  <a:pt x="36" y="126"/>
                </a:lnTo>
                <a:lnTo>
                  <a:pt x="36" y="120"/>
                </a:lnTo>
                <a:lnTo>
                  <a:pt x="30" y="120"/>
                </a:lnTo>
                <a:lnTo>
                  <a:pt x="36" y="120"/>
                </a:lnTo>
                <a:lnTo>
                  <a:pt x="30" y="120"/>
                </a:lnTo>
                <a:lnTo>
                  <a:pt x="30" y="114"/>
                </a:lnTo>
                <a:lnTo>
                  <a:pt x="36" y="114"/>
                </a:lnTo>
                <a:lnTo>
                  <a:pt x="36" y="120"/>
                </a:lnTo>
                <a:lnTo>
                  <a:pt x="36" y="114"/>
                </a:lnTo>
                <a:lnTo>
                  <a:pt x="36" y="108"/>
                </a:lnTo>
                <a:lnTo>
                  <a:pt x="42" y="108"/>
                </a:lnTo>
                <a:lnTo>
                  <a:pt x="42" y="102"/>
                </a:lnTo>
                <a:lnTo>
                  <a:pt x="42" y="96"/>
                </a:lnTo>
                <a:lnTo>
                  <a:pt x="36" y="96"/>
                </a:lnTo>
                <a:lnTo>
                  <a:pt x="36" y="90"/>
                </a:lnTo>
                <a:lnTo>
                  <a:pt x="36" y="84"/>
                </a:lnTo>
                <a:lnTo>
                  <a:pt x="42" y="84"/>
                </a:lnTo>
                <a:lnTo>
                  <a:pt x="48" y="84"/>
                </a:lnTo>
                <a:lnTo>
                  <a:pt x="48" y="78"/>
                </a:lnTo>
                <a:lnTo>
                  <a:pt x="54" y="78"/>
                </a:lnTo>
                <a:lnTo>
                  <a:pt x="54" y="72"/>
                </a:lnTo>
                <a:lnTo>
                  <a:pt x="60" y="72"/>
                </a:lnTo>
                <a:lnTo>
                  <a:pt x="60" y="66"/>
                </a:lnTo>
                <a:lnTo>
                  <a:pt x="54" y="66"/>
                </a:lnTo>
                <a:lnTo>
                  <a:pt x="54" y="60"/>
                </a:lnTo>
                <a:lnTo>
                  <a:pt x="48" y="60"/>
                </a:lnTo>
                <a:lnTo>
                  <a:pt x="48" y="54"/>
                </a:lnTo>
                <a:lnTo>
                  <a:pt x="48" y="48"/>
                </a:lnTo>
                <a:lnTo>
                  <a:pt x="42" y="48"/>
                </a:lnTo>
                <a:lnTo>
                  <a:pt x="42" y="42"/>
                </a:lnTo>
                <a:lnTo>
                  <a:pt x="36" y="42"/>
                </a:lnTo>
                <a:lnTo>
                  <a:pt x="36" y="36"/>
                </a:lnTo>
                <a:lnTo>
                  <a:pt x="42" y="36"/>
                </a:lnTo>
                <a:lnTo>
                  <a:pt x="42" y="30"/>
                </a:lnTo>
                <a:lnTo>
                  <a:pt x="36" y="30"/>
                </a:lnTo>
                <a:lnTo>
                  <a:pt x="36" y="24"/>
                </a:lnTo>
                <a:lnTo>
                  <a:pt x="30" y="24"/>
                </a:lnTo>
                <a:lnTo>
                  <a:pt x="30" y="18"/>
                </a:lnTo>
                <a:lnTo>
                  <a:pt x="30" y="12"/>
                </a:lnTo>
                <a:lnTo>
                  <a:pt x="30" y="18"/>
                </a:lnTo>
                <a:lnTo>
                  <a:pt x="30" y="12"/>
                </a:lnTo>
                <a:lnTo>
                  <a:pt x="24" y="18"/>
                </a:lnTo>
                <a:lnTo>
                  <a:pt x="24" y="12"/>
                </a:lnTo>
                <a:lnTo>
                  <a:pt x="24" y="18"/>
                </a:lnTo>
                <a:lnTo>
                  <a:pt x="18" y="18"/>
                </a:lnTo>
                <a:lnTo>
                  <a:pt x="18" y="12"/>
                </a:lnTo>
                <a:lnTo>
                  <a:pt x="24" y="12"/>
                </a:lnTo>
                <a:lnTo>
                  <a:pt x="18" y="12"/>
                </a:lnTo>
                <a:lnTo>
                  <a:pt x="18" y="6"/>
                </a:lnTo>
                <a:close/>
                <a:moveTo>
                  <a:pt x="114" y="150"/>
                </a:moveTo>
                <a:lnTo>
                  <a:pt x="120" y="150"/>
                </a:lnTo>
                <a:lnTo>
                  <a:pt x="120" y="156"/>
                </a:lnTo>
                <a:lnTo>
                  <a:pt x="114" y="156"/>
                </a:lnTo>
                <a:lnTo>
                  <a:pt x="114" y="150"/>
                </a:lnTo>
                <a:close/>
              </a:path>
            </a:pathLst>
          </a:custGeom>
          <a:solidFill>
            <a:schemeClr val="accent1">
              <a:lumMod val="50000"/>
            </a:schemeClr>
          </a:solidFill>
          <a:ln w="9525" cap="flat" cmpd="sng">
            <a:solidFill>
              <a:schemeClr val="bg1"/>
            </a:solidFill>
            <a:prstDash val="solid"/>
            <a:round/>
            <a:headEnd type="none" w="med" len="med"/>
            <a:tailEnd type="none" w="med" len="med"/>
          </a:ln>
          <a:effectLst/>
        </p:spPr>
        <p:txBody>
          <a:bodyPr/>
          <a:lstStyle/>
          <a:p>
            <a:endParaRPr lang="en-CA" sz="612"/>
          </a:p>
        </p:txBody>
      </p:sp>
      <p:sp>
        <p:nvSpPr>
          <p:cNvPr id="62" name="Freeform 56">
            <a:extLst>
              <a:ext uri="{FF2B5EF4-FFF2-40B4-BE49-F238E27FC236}">
                <a16:creationId xmlns:a16="http://schemas.microsoft.com/office/drawing/2014/main" id="{422AFED7-0F96-A647-9CB5-F2B04183E128}"/>
              </a:ext>
            </a:extLst>
          </p:cNvPr>
          <p:cNvSpPr>
            <a:spLocks noEditPoints="1"/>
          </p:cNvSpPr>
          <p:nvPr>
            <p:custDataLst>
              <p:tags r:id="rId50"/>
            </p:custDataLst>
          </p:nvPr>
        </p:nvSpPr>
        <p:spPr bwMode="gray">
          <a:xfrm>
            <a:off x="6318514" y="5091151"/>
            <a:ext cx="80988" cy="51906"/>
          </a:xfrm>
          <a:custGeom>
            <a:avLst/>
            <a:gdLst>
              <a:gd name="T0" fmla="*/ 0 w 72"/>
              <a:gd name="T1" fmla="*/ 6741 h 60"/>
              <a:gd name="T2" fmla="*/ 0 w 72"/>
              <a:gd name="T3" fmla="*/ 3852 h 60"/>
              <a:gd name="T4" fmla="*/ 0 w 72"/>
              <a:gd name="T5" fmla="*/ 1926 h 60"/>
              <a:gd name="T6" fmla="*/ 1868 w 72"/>
              <a:gd name="T7" fmla="*/ 0 h 60"/>
              <a:gd name="T8" fmla="*/ 3738 w 72"/>
              <a:gd name="T9" fmla="*/ 0 h 60"/>
              <a:gd name="T10" fmla="*/ 3738 w 72"/>
              <a:gd name="T11" fmla="*/ 1926 h 60"/>
              <a:gd name="T12" fmla="*/ 3738 w 72"/>
              <a:gd name="T13" fmla="*/ 3852 h 60"/>
              <a:gd name="T14" fmla="*/ 3738 w 72"/>
              <a:gd name="T15" fmla="*/ 6741 h 60"/>
              <a:gd name="T16" fmla="*/ 3738 w 72"/>
              <a:gd name="T17" fmla="*/ 7704 h 60"/>
              <a:gd name="T18" fmla="*/ 3738 w 72"/>
              <a:gd name="T19" fmla="*/ 10594 h 60"/>
              <a:gd name="T20" fmla="*/ 6540 w 72"/>
              <a:gd name="T21" fmla="*/ 10594 h 60"/>
              <a:gd name="T22" fmla="*/ 3738 w 72"/>
              <a:gd name="T23" fmla="*/ 10594 h 60"/>
              <a:gd name="T24" fmla="*/ 3738 w 72"/>
              <a:gd name="T25" fmla="*/ 12520 h 60"/>
              <a:gd name="T26" fmla="*/ 3738 w 72"/>
              <a:gd name="T27" fmla="*/ 10594 h 60"/>
              <a:gd name="T28" fmla="*/ 1868 w 72"/>
              <a:gd name="T29" fmla="*/ 10594 h 60"/>
              <a:gd name="T30" fmla="*/ 0 w 72"/>
              <a:gd name="T31" fmla="*/ 10594 h 60"/>
              <a:gd name="T32" fmla="*/ 0 w 72"/>
              <a:gd name="T33" fmla="*/ 7704 h 60"/>
              <a:gd name="T34" fmla="*/ 0 w 72"/>
              <a:gd name="T35" fmla="*/ 6741 h 60"/>
              <a:gd name="T36" fmla="*/ 24294 w 72"/>
              <a:gd name="T37" fmla="*/ 14446 h 60"/>
              <a:gd name="T38" fmla="*/ 24294 w 72"/>
              <a:gd name="T39" fmla="*/ 16372 h 60"/>
              <a:gd name="T40" fmla="*/ 24294 w 72"/>
              <a:gd name="T41" fmla="*/ 18298 h 60"/>
              <a:gd name="T42" fmla="*/ 24294 w 72"/>
              <a:gd name="T43" fmla="*/ 21188 h 60"/>
              <a:gd name="T44" fmla="*/ 24294 w 72"/>
              <a:gd name="T45" fmla="*/ 18298 h 60"/>
              <a:gd name="T46" fmla="*/ 21490 w 72"/>
              <a:gd name="T47" fmla="*/ 18298 h 60"/>
              <a:gd name="T48" fmla="*/ 21490 w 72"/>
              <a:gd name="T49" fmla="*/ 16372 h 60"/>
              <a:gd name="T50" fmla="*/ 20556 w 72"/>
              <a:gd name="T51" fmla="*/ 16372 h 60"/>
              <a:gd name="T52" fmla="*/ 17753 w 72"/>
              <a:gd name="T53" fmla="*/ 16372 h 60"/>
              <a:gd name="T54" fmla="*/ 20556 w 72"/>
              <a:gd name="T55" fmla="*/ 16372 h 60"/>
              <a:gd name="T56" fmla="*/ 21490 w 72"/>
              <a:gd name="T57" fmla="*/ 16372 h 60"/>
              <a:gd name="T58" fmla="*/ 21490 w 72"/>
              <a:gd name="T59" fmla="*/ 14446 h 60"/>
              <a:gd name="T60" fmla="*/ 24294 w 72"/>
              <a:gd name="T61" fmla="*/ 14446 h 60"/>
              <a:gd name="T62" fmla="*/ 10278 w 72"/>
              <a:gd name="T63" fmla="*/ 18298 h 60"/>
              <a:gd name="T64" fmla="*/ 12147 w 72"/>
              <a:gd name="T65" fmla="*/ 18298 h 60"/>
              <a:gd name="T66" fmla="*/ 12147 w 72"/>
              <a:gd name="T67" fmla="*/ 21188 h 60"/>
              <a:gd name="T68" fmla="*/ 10278 w 72"/>
              <a:gd name="T69" fmla="*/ 21188 h 60"/>
              <a:gd name="T70" fmla="*/ 10278 w 72"/>
              <a:gd name="T71" fmla="*/ 18298 h 60"/>
              <a:gd name="T72" fmla="*/ 10278 w 72"/>
              <a:gd name="T73" fmla="*/ 21188 h 60"/>
              <a:gd name="T74" fmla="*/ 10278 w 72"/>
              <a:gd name="T75" fmla="*/ 18298 h 60"/>
              <a:gd name="T76" fmla="*/ 10278 w 72"/>
              <a:gd name="T77" fmla="*/ 21188 h 60"/>
              <a:gd name="T78" fmla="*/ 10278 w 72"/>
              <a:gd name="T79" fmla="*/ 18298 h 60"/>
              <a:gd name="T80" fmla="*/ 10278 w 72"/>
              <a:gd name="T81" fmla="*/ 21188 h 60"/>
              <a:gd name="T82" fmla="*/ 10278 w 72"/>
              <a:gd name="T83" fmla="*/ 18298 h 60"/>
              <a:gd name="T84" fmla="*/ 7475 w 72"/>
              <a:gd name="T85" fmla="*/ 18298 h 60"/>
              <a:gd name="T86" fmla="*/ 7475 w 72"/>
              <a:gd name="T87" fmla="*/ 16372 h 60"/>
              <a:gd name="T88" fmla="*/ 10278 w 72"/>
              <a:gd name="T89" fmla="*/ 18298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60">
                <a:moveTo>
                  <a:pt x="0" y="18"/>
                </a:moveTo>
                <a:lnTo>
                  <a:pt x="0" y="12"/>
                </a:lnTo>
                <a:lnTo>
                  <a:pt x="0" y="6"/>
                </a:lnTo>
                <a:lnTo>
                  <a:pt x="6" y="0"/>
                </a:lnTo>
                <a:lnTo>
                  <a:pt x="12" y="0"/>
                </a:lnTo>
                <a:lnTo>
                  <a:pt x="12" y="6"/>
                </a:lnTo>
                <a:lnTo>
                  <a:pt x="12" y="12"/>
                </a:lnTo>
                <a:lnTo>
                  <a:pt x="12" y="18"/>
                </a:lnTo>
                <a:lnTo>
                  <a:pt x="12" y="24"/>
                </a:lnTo>
                <a:lnTo>
                  <a:pt x="12" y="30"/>
                </a:lnTo>
                <a:lnTo>
                  <a:pt x="18" y="30"/>
                </a:lnTo>
                <a:lnTo>
                  <a:pt x="12" y="30"/>
                </a:lnTo>
                <a:lnTo>
                  <a:pt x="12" y="36"/>
                </a:lnTo>
                <a:lnTo>
                  <a:pt x="12" y="30"/>
                </a:lnTo>
                <a:lnTo>
                  <a:pt x="6" y="30"/>
                </a:lnTo>
                <a:lnTo>
                  <a:pt x="0" y="30"/>
                </a:lnTo>
                <a:lnTo>
                  <a:pt x="0" y="24"/>
                </a:lnTo>
                <a:lnTo>
                  <a:pt x="0" y="18"/>
                </a:lnTo>
                <a:close/>
                <a:moveTo>
                  <a:pt x="72" y="42"/>
                </a:moveTo>
                <a:lnTo>
                  <a:pt x="72" y="48"/>
                </a:lnTo>
                <a:lnTo>
                  <a:pt x="72" y="54"/>
                </a:lnTo>
                <a:lnTo>
                  <a:pt x="72" y="60"/>
                </a:lnTo>
                <a:lnTo>
                  <a:pt x="72" y="54"/>
                </a:lnTo>
                <a:lnTo>
                  <a:pt x="66" y="54"/>
                </a:lnTo>
                <a:lnTo>
                  <a:pt x="66" y="48"/>
                </a:lnTo>
                <a:lnTo>
                  <a:pt x="60" y="48"/>
                </a:lnTo>
                <a:lnTo>
                  <a:pt x="54" y="48"/>
                </a:lnTo>
                <a:lnTo>
                  <a:pt x="60" y="48"/>
                </a:lnTo>
                <a:lnTo>
                  <a:pt x="66" y="48"/>
                </a:lnTo>
                <a:lnTo>
                  <a:pt x="66" y="42"/>
                </a:lnTo>
                <a:lnTo>
                  <a:pt x="72" y="42"/>
                </a:lnTo>
                <a:close/>
                <a:moveTo>
                  <a:pt x="30" y="54"/>
                </a:moveTo>
                <a:lnTo>
                  <a:pt x="36" y="54"/>
                </a:lnTo>
                <a:lnTo>
                  <a:pt x="36" y="60"/>
                </a:lnTo>
                <a:lnTo>
                  <a:pt x="30" y="60"/>
                </a:lnTo>
                <a:lnTo>
                  <a:pt x="30" y="54"/>
                </a:lnTo>
                <a:lnTo>
                  <a:pt x="30" y="60"/>
                </a:lnTo>
                <a:lnTo>
                  <a:pt x="30" y="54"/>
                </a:lnTo>
                <a:lnTo>
                  <a:pt x="30" y="60"/>
                </a:lnTo>
                <a:lnTo>
                  <a:pt x="30" y="54"/>
                </a:lnTo>
                <a:lnTo>
                  <a:pt x="30" y="60"/>
                </a:lnTo>
                <a:lnTo>
                  <a:pt x="30" y="54"/>
                </a:lnTo>
                <a:lnTo>
                  <a:pt x="24" y="54"/>
                </a:lnTo>
                <a:lnTo>
                  <a:pt x="24" y="48"/>
                </a:lnTo>
                <a:lnTo>
                  <a:pt x="30" y="5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63" name="Freeform 57">
            <a:extLst>
              <a:ext uri="{FF2B5EF4-FFF2-40B4-BE49-F238E27FC236}">
                <a16:creationId xmlns:a16="http://schemas.microsoft.com/office/drawing/2014/main" id="{6B83888E-5B42-F449-9D0E-5AD1A0B9C8BA}"/>
              </a:ext>
            </a:extLst>
          </p:cNvPr>
          <p:cNvSpPr>
            <a:spLocks noEditPoints="1"/>
          </p:cNvSpPr>
          <p:nvPr>
            <p:custDataLst>
              <p:tags r:id="rId51"/>
            </p:custDataLst>
          </p:nvPr>
        </p:nvSpPr>
        <p:spPr bwMode="gray">
          <a:xfrm>
            <a:off x="5482140" y="5050291"/>
            <a:ext cx="684711" cy="833801"/>
          </a:xfrm>
          <a:custGeom>
            <a:avLst/>
            <a:gdLst>
              <a:gd name="T0" fmla="*/ 76765 w 594"/>
              <a:gd name="T1" fmla="*/ 78558 h 966"/>
              <a:gd name="T2" fmla="*/ 85511 w 594"/>
              <a:gd name="T3" fmla="*/ 100864 h 966"/>
              <a:gd name="T4" fmla="*/ 87454 w 594"/>
              <a:gd name="T5" fmla="*/ 117351 h 966"/>
              <a:gd name="T6" fmla="*/ 101058 w 594"/>
              <a:gd name="T7" fmla="*/ 131899 h 966"/>
              <a:gd name="T8" fmla="*/ 104944 w 594"/>
              <a:gd name="T9" fmla="*/ 113472 h 966"/>
              <a:gd name="T10" fmla="*/ 111746 w 594"/>
              <a:gd name="T11" fmla="*/ 81467 h 966"/>
              <a:gd name="T12" fmla="*/ 87454 w 594"/>
              <a:gd name="T13" fmla="*/ 51402 h 966"/>
              <a:gd name="T14" fmla="*/ 98142 w 594"/>
              <a:gd name="T15" fmla="*/ 21336 h 966"/>
              <a:gd name="T16" fmla="*/ 126323 w 594"/>
              <a:gd name="T17" fmla="*/ 23276 h 966"/>
              <a:gd name="T18" fmla="*/ 151587 w 594"/>
              <a:gd name="T19" fmla="*/ 21336 h 966"/>
              <a:gd name="T20" fmla="*/ 173936 w 594"/>
              <a:gd name="T21" fmla="*/ 12608 h 966"/>
              <a:gd name="T22" fmla="*/ 203088 w 594"/>
              <a:gd name="T23" fmla="*/ 0 h 966"/>
              <a:gd name="T24" fmla="*/ 203088 w 594"/>
              <a:gd name="T25" fmla="*/ 17457 h 966"/>
              <a:gd name="T26" fmla="*/ 206003 w 594"/>
              <a:gd name="T27" fmla="*/ 33945 h 966"/>
              <a:gd name="T28" fmla="*/ 207946 w 594"/>
              <a:gd name="T29" fmla="*/ 42673 h 966"/>
              <a:gd name="T30" fmla="*/ 206003 w 594"/>
              <a:gd name="T31" fmla="*/ 51402 h 966"/>
              <a:gd name="T32" fmla="*/ 207946 w 594"/>
              <a:gd name="T33" fmla="*/ 67889 h 966"/>
              <a:gd name="T34" fmla="*/ 207946 w 594"/>
              <a:gd name="T35" fmla="*/ 78558 h 966"/>
              <a:gd name="T36" fmla="*/ 209890 w 594"/>
              <a:gd name="T37" fmla="*/ 87286 h 966"/>
              <a:gd name="T38" fmla="*/ 206003 w 594"/>
              <a:gd name="T39" fmla="*/ 94075 h 966"/>
              <a:gd name="T40" fmla="*/ 203088 w 594"/>
              <a:gd name="T41" fmla="*/ 101834 h 966"/>
              <a:gd name="T42" fmla="*/ 192399 w 594"/>
              <a:gd name="T43" fmla="*/ 115411 h 966"/>
              <a:gd name="T44" fmla="*/ 181710 w 594"/>
              <a:gd name="T45" fmla="*/ 128019 h 966"/>
              <a:gd name="T46" fmla="*/ 169078 w 594"/>
              <a:gd name="T47" fmla="*/ 134808 h 966"/>
              <a:gd name="T48" fmla="*/ 158389 w 594"/>
              <a:gd name="T49" fmla="*/ 138688 h 966"/>
              <a:gd name="T50" fmla="*/ 143813 w 594"/>
              <a:gd name="T51" fmla="*/ 145477 h 966"/>
              <a:gd name="T52" fmla="*/ 131181 w 594"/>
              <a:gd name="T53" fmla="*/ 158084 h 966"/>
              <a:gd name="T54" fmla="*/ 124379 w 594"/>
              <a:gd name="T55" fmla="*/ 168753 h 966"/>
              <a:gd name="T56" fmla="*/ 108831 w 594"/>
              <a:gd name="T57" fmla="*/ 174572 h 966"/>
              <a:gd name="T58" fmla="*/ 98142 w 594"/>
              <a:gd name="T59" fmla="*/ 190090 h 966"/>
              <a:gd name="T60" fmla="*/ 92313 w 594"/>
              <a:gd name="T61" fmla="*/ 193969 h 966"/>
              <a:gd name="T62" fmla="*/ 92313 w 594"/>
              <a:gd name="T63" fmla="*/ 209486 h 966"/>
              <a:gd name="T64" fmla="*/ 96199 w 594"/>
              <a:gd name="T65" fmla="*/ 211426 h 966"/>
              <a:gd name="T66" fmla="*/ 98142 w 594"/>
              <a:gd name="T67" fmla="*/ 219184 h 966"/>
              <a:gd name="T68" fmla="*/ 101058 w 594"/>
              <a:gd name="T69" fmla="*/ 229853 h 966"/>
              <a:gd name="T70" fmla="*/ 106888 w 594"/>
              <a:gd name="T71" fmla="*/ 243430 h 966"/>
              <a:gd name="T72" fmla="*/ 104944 w 594"/>
              <a:gd name="T73" fmla="*/ 273496 h 966"/>
              <a:gd name="T74" fmla="*/ 103001 w 594"/>
              <a:gd name="T75" fmla="*/ 288043 h 966"/>
              <a:gd name="T76" fmla="*/ 74822 w 594"/>
              <a:gd name="T77" fmla="*/ 302591 h 966"/>
              <a:gd name="T78" fmla="*/ 51501 w 594"/>
              <a:gd name="T79" fmla="*/ 320048 h 966"/>
              <a:gd name="T80" fmla="*/ 49557 w 594"/>
              <a:gd name="T81" fmla="*/ 326838 h 966"/>
              <a:gd name="T82" fmla="*/ 56359 w 594"/>
              <a:gd name="T83" fmla="*/ 330717 h 966"/>
              <a:gd name="T84" fmla="*/ 37897 w 594"/>
              <a:gd name="T85" fmla="*/ 328777 h 966"/>
              <a:gd name="T86" fmla="*/ 36925 w 594"/>
              <a:gd name="T87" fmla="*/ 293862 h 966"/>
              <a:gd name="T88" fmla="*/ 26236 w 594"/>
              <a:gd name="T89" fmla="*/ 257979 h 966"/>
              <a:gd name="T90" fmla="*/ 46642 w 594"/>
              <a:gd name="T91" fmla="*/ 211426 h 966"/>
              <a:gd name="T92" fmla="*/ 56359 w 594"/>
              <a:gd name="T93" fmla="*/ 188150 h 966"/>
              <a:gd name="T94" fmla="*/ 53444 w 594"/>
              <a:gd name="T95" fmla="*/ 168753 h 966"/>
              <a:gd name="T96" fmla="*/ 56359 w 594"/>
              <a:gd name="T97" fmla="*/ 149356 h 966"/>
              <a:gd name="T98" fmla="*/ 53444 w 594"/>
              <a:gd name="T99" fmla="*/ 126080 h 966"/>
              <a:gd name="T100" fmla="*/ 30123 w 594"/>
              <a:gd name="T101" fmla="*/ 115411 h 966"/>
              <a:gd name="T102" fmla="*/ 3887 w 594"/>
              <a:gd name="T103" fmla="*/ 108622 h 966"/>
              <a:gd name="T104" fmla="*/ 12633 w 594"/>
              <a:gd name="T105" fmla="*/ 87286 h 966"/>
              <a:gd name="T106" fmla="*/ 46642 w 594"/>
              <a:gd name="T107" fmla="*/ 74678 h 966"/>
              <a:gd name="T108" fmla="*/ 104944 w 594"/>
              <a:gd name="T109" fmla="*/ 228883 h 966"/>
              <a:gd name="T110" fmla="*/ 104944 w 594"/>
              <a:gd name="T111" fmla="*/ 234702 h 966"/>
              <a:gd name="T112" fmla="*/ 209890 w 594"/>
              <a:gd name="T113" fmla="*/ 10668 h 966"/>
              <a:gd name="T114" fmla="*/ 192399 w 594"/>
              <a:gd name="T115" fmla="*/ 117351 h 966"/>
              <a:gd name="T116" fmla="*/ 111746 w 594"/>
              <a:gd name="T117" fmla="*/ 177481 h 966"/>
              <a:gd name="T118" fmla="*/ 206003 w 594"/>
              <a:gd name="T119" fmla="*/ 100864 h 966"/>
              <a:gd name="T120" fmla="*/ 104944 w 594"/>
              <a:gd name="T121" fmla="*/ 277375 h 9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94" h="966">
                <a:moveTo>
                  <a:pt x="168" y="198"/>
                </a:moveTo>
                <a:lnTo>
                  <a:pt x="174" y="198"/>
                </a:lnTo>
                <a:lnTo>
                  <a:pt x="174" y="204"/>
                </a:lnTo>
                <a:lnTo>
                  <a:pt x="174" y="210"/>
                </a:lnTo>
                <a:lnTo>
                  <a:pt x="180" y="210"/>
                </a:lnTo>
                <a:lnTo>
                  <a:pt x="180" y="216"/>
                </a:lnTo>
                <a:lnTo>
                  <a:pt x="180" y="222"/>
                </a:lnTo>
                <a:lnTo>
                  <a:pt x="186" y="222"/>
                </a:lnTo>
                <a:lnTo>
                  <a:pt x="186" y="228"/>
                </a:lnTo>
                <a:lnTo>
                  <a:pt x="192" y="228"/>
                </a:lnTo>
                <a:lnTo>
                  <a:pt x="192" y="234"/>
                </a:lnTo>
                <a:lnTo>
                  <a:pt x="198" y="234"/>
                </a:lnTo>
                <a:lnTo>
                  <a:pt x="198" y="228"/>
                </a:lnTo>
                <a:lnTo>
                  <a:pt x="204" y="228"/>
                </a:lnTo>
                <a:lnTo>
                  <a:pt x="210" y="228"/>
                </a:lnTo>
                <a:lnTo>
                  <a:pt x="216" y="228"/>
                </a:lnTo>
                <a:lnTo>
                  <a:pt x="216" y="222"/>
                </a:lnTo>
                <a:lnTo>
                  <a:pt x="222" y="222"/>
                </a:lnTo>
                <a:lnTo>
                  <a:pt x="228" y="222"/>
                </a:lnTo>
                <a:lnTo>
                  <a:pt x="234" y="222"/>
                </a:lnTo>
                <a:lnTo>
                  <a:pt x="240" y="228"/>
                </a:lnTo>
                <a:lnTo>
                  <a:pt x="240" y="234"/>
                </a:lnTo>
                <a:lnTo>
                  <a:pt x="246" y="234"/>
                </a:lnTo>
                <a:lnTo>
                  <a:pt x="240" y="234"/>
                </a:lnTo>
                <a:lnTo>
                  <a:pt x="240" y="240"/>
                </a:lnTo>
                <a:lnTo>
                  <a:pt x="246" y="240"/>
                </a:lnTo>
                <a:lnTo>
                  <a:pt x="246" y="246"/>
                </a:lnTo>
                <a:lnTo>
                  <a:pt x="246" y="252"/>
                </a:lnTo>
                <a:lnTo>
                  <a:pt x="246" y="258"/>
                </a:lnTo>
                <a:lnTo>
                  <a:pt x="246" y="264"/>
                </a:lnTo>
                <a:lnTo>
                  <a:pt x="246" y="270"/>
                </a:lnTo>
                <a:lnTo>
                  <a:pt x="246" y="276"/>
                </a:lnTo>
                <a:lnTo>
                  <a:pt x="240" y="276"/>
                </a:lnTo>
                <a:lnTo>
                  <a:pt x="240" y="282"/>
                </a:lnTo>
                <a:lnTo>
                  <a:pt x="234" y="282"/>
                </a:lnTo>
                <a:lnTo>
                  <a:pt x="234" y="288"/>
                </a:lnTo>
                <a:lnTo>
                  <a:pt x="240" y="288"/>
                </a:lnTo>
                <a:lnTo>
                  <a:pt x="240" y="294"/>
                </a:lnTo>
                <a:lnTo>
                  <a:pt x="234" y="294"/>
                </a:lnTo>
                <a:lnTo>
                  <a:pt x="234" y="300"/>
                </a:lnTo>
                <a:lnTo>
                  <a:pt x="228" y="300"/>
                </a:lnTo>
                <a:lnTo>
                  <a:pt x="228" y="306"/>
                </a:lnTo>
                <a:lnTo>
                  <a:pt x="228" y="312"/>
                </a:lnTo>
                <a:lnTo>
                  <a:pt x="234" y="312"/>
                </a:lnTo>
                <a:lnTo>
                  <a:pt x="234" y="318"/>
                </a:lnTo>
                <a:lnTo>
                  <a:pt x="240" y="318"/>
                </a:lnTo>
                <a:lnTo>
                  <a:pt x="234" y="318"/>
                </a:lnTo>
                <a:lnTo>
                  <a:pt x="234" y="324"/>
                </a:lnTo>
                <a:lnTo>
                  <a:pt x="234" y="330"/>
                </a:lnTo>
                <a:lnTo>
                  <a:pt x="240" y="330"/>
                </a:lnTo>
                <a:lnTo>
                  <a:pt x="246" y="330"/>
                </a:lnTo>
                <a:lnTo>
                  <a:pt x="246" y="336"/>
                </a:lnTo>
                <a:lnTo>
                  <a:pt x="252" y="342"/>
                </a:lnTo>
                <a:lnTo>
                  <a:pt x="258" y="342"/>
                </a:lnTo>
                <a:lnTo>
                  <a:pt x="258" y="348"/>
                </a:lnTo>
                <a:lnTo>
                  <a:pt x="264" y="354"/>
                </a:lnTo>
                <a:lnTo>
                  <a:pt x="264" y="360"/>
                </a:lnTo>
                <a:lnTo>
                  <a:pt x="264" y="354"/>
                </a:lnTo>
                <a:lnTo>
                  <a:pt x="270" y="360"/>
                </a:lnTo>
                <a:lnTo>
                  <a:pt x="276" y="360"/>
                </a:lnTo>
                <a:lnTo>
                  <a:pt x="276" y="366"/>
                </a:lnTo>
                <a:lnTo>
                  <a:pt x="276" y="372"/>
                </a:lnTo>
                <a:lnTo>
                  <a:pt x="270" y="372"/>
                </a:lnTo>
                <a:lnTo>
                  <a:pt x="270" y="378"/>
                </a:lnTo>
                <a:lnTo>
                  <a:pt x="276" y="378"/>
                </a:lnTo>
                <a:lnTo>
                  <a:pt x="288" y="378"/>
                </a:lnTo>
                <a:lnTo>
                  <a:pt x="288" y="372"/>
                </a:lnTo>
                <a:lnTo>
                  <a:pt x="282" y="372"/>
                </a:lnTo>
                <a:lnTo>
                  <a:pt x="282" y="366"/>
                </a:lnTo>
                <a:lnTo>
                  <a:pt x="288" y="366"/>
                </a:lnTo>
                <a:lnTo>
                  <a:pt x="288" y="360"/>
                </a:lnTo>
                <a:lnTo>
                  <a:pt x="282" y="360"/>
                </a:lnTo>
                <a:lnTo>
                  <a:pt x="282" y="354"/>
                </a:lnTo>
                <a:lnTo>
                  <a:pt x="282" y="348"/>
                </a:lnTo>
                <a:lnTo>
                  <a:pt x="276" y="348"/>
                </a:lnTo>
                <a:lnTo>
                  <a:pt x="276" y="342"/>
                </a:lnTo>
                <a:lnTo>
                  <a:pt x="282" y="342"/>
                </a:lnTo>
                <a:lnTo>
                  <a:pt x="282" y="336"/>
                </a:lnTo>
                <a:lnTo>
                  <a:pt x="288" y="336"/>
                </a:lnTo>
                <a:lnTo>
                  <a:pt x="282" y="336"/>
                </a:lnTo>
                <a:lnTo>
                  <a:pt x="282" y="330"/>
                </a:lnTo>
                <a:lnTo>
                  <a:pt x="288" y="330"/>
                </a:lnTo>
                <a:lnTo>
                  <a:pt x="288" y="324"/>
                </a:lnTo>
                <a:lnTo>
                  <a:pt x="294" y="324"/>
                </a:lnTo>
                <a:lnTo>
                  <a:pt x="294" y="318"/>
                </a:lnTo>
                <a:lnTo>
                  <a:pt x="294" y="324"/>
                </a:lnTo>
                <a:lnTo>
                  <a:pt x="300" y="324"/>
                </a:lnTo>
                <a:lnTo>
                  <a:pt x="306" y="324"/>
                </a:lnTo>
                <a:lnTo>
                  <a:pt x="306" y="318"/>
                </a:lnTo>
                <a:lnTo>
                  <a:pt x="312" y="318"/>
                </a:lnTo>
                <a:lnTo>
                  <a:pt x="312" y="312"/>
                </a:lnTo>
                <a:lnTo>
                  <a:pt x="312" y="306"/>
                </a:lnTo>
                <a:lnTo>
                  <a:pt x="318" y="294"/>
                </a:lnTo>
                <a:lnTo>
                  <a:pt x="318" y="288"/>
                </a:lnTo>
                <a:lnTo>
                  <a:pt x="318" y="282"/>
                </a:lnTo>
                <a:lnTo>
                  <a:pt x="318" y="276"/>
                </a:lnTo>
                <a:lnTo>
                  <a:pt x="312" y="270"/>
                </a:lnTo>
                <a:lnTo>
                  <a:pt x="312" y="264"/>
                </a:lnTo>
                <a:lnTo>
                  <a:pt x="318" y="252"/>
                </a:lnTo>
                <a:lnTo>
                  <a:pt x="318" y="240"/>
                </a:lnTo>
                <a:lnTo>
                  <a:pt x="312" y="234"/>
                </a:lnTo>
                <a:lnTo>
                  <a:pt x="312" y="228"/>
                </a:lnTo>
                <a:lnTo>
                  <a:pt x="300" y="216"/>
                </a:lnTo>
                <a:lnTo>
                  <a:pt x="294" y="210"/>
                </a:lnTo>
                <a:lnTo>
                  <a:pt x="288" y="198"/>
                </a:lnTo>
                <a:lnTo>
                  <a:pt x="282" y="192"/>
                </a:lnTo>
                <a:lnTo>
                  <a:pt x="276" y="180"/>
                </a:lnTo>
                <a:lnTo>
                  <a:pt x="270" y="180"/>
                </a:lnTo>
                <a:lnTo>
                  <a:pt x="270" y="174"/>
                </a:lnTo>
                <a:lnTo>
                  <a:pt x="264" y="168"/>
                </a:lnTo>
                <a:lnTo>
                  <a:pt x="258" y="168"/>
                </a:lnTo>
                <a:lnTo>
                  <a:pt x="252" y="168"/>
                </a:lnTo>
                <a:lnTo>
                  <a:pt x="246" y="168"/>
                </a:lnTo>
                <a:lnTo>
                  <a:pt x="246" y="162"/>
                </a:lnTo>
                <a:lnTo>
                  <a:pt x="240" y="162"/>
                </a:lnTo>
                <a:lnTo>
                  <a:pt x="240" y="156"/>
                </a:lnTo>
                <a:lnTo>
                  <a:pt x="246" y="156"/>
                </a:lnTo>
                <a:lnTo>
                  <a:pt x="246" y="150"/>
                </a:lnTo>
                <a:lnTo>
                  <a:pt x="246" y="144"/>
                </a:lnTo>
                <a:lnTo>
                  <a:pt x="240" y="138"/>
                </a:lnTo>
                <a:lnTo>
                  <a:pt x="240" y="132"/>
                </a:lnTo>
                <a:lnTo>
                  <a:pt x="240" y="126"/>
                </a:lnTo>
                <a:lnTo>
                  <a:pt x="240" y="120"/>
                </a:lnTo>
                <a:lnTo>
                  <a:pt x="240" y="114"/>
                </a:lnTo>
                <a:lnTo>
                  <a:pt x="234" y="102"/>
                </a:lnTo>
                <a:lnTo>
                  <a:pt x="234" y="96"/>
                </a:lnTo>
                <a:lnTo>
                  <a:pt x="240" y="90"/>
                </a:lnTo>
                <a:lnTo>
                  <a:pt x="240" y="84"/>
                </a:lnTo>
                <a:lnTo>
                  <a:pt x="246" y="72"/>
                </a:lnTo>
                <a:lnTo>
                  <a:pt x="246" y="66"/>
                </a:lnTo>
                <a:lnTo>
                  <a:pt x="246" y="60"/>
                </a:lnTo>
                <a:lnTo>
                  <a:pt x="252" y="60"/>
                </a:lnTo>
                <a:lnTo>
                  <a:pt x="258" y="60"/>
                </a:lnTo>
                <a:lnTo>
                  <a:pt x="264" y="60"/>
                </a:lnTo>
                <a:lnTo>
                  <a:pt x="270" y="60"/>
                </a:lnTo>
                <a:lnTo>
                  <a:pt x="276" y="60"/>
                </a:lnTo>
                <a:lnTo>
                  <a:pt x="282" y="60"/>
                </a:lnTo>
                <a:lnTo>
                  <a:pt x="288" y="60"/>
                </a:lnTo>
                <a:lnTo>
                  <a:pt x="294" y="60"/>
                </a:lnTo>
                <a:lnTo>
                  <a:pt x="300" y="60"/>
                </a:lnTo>
                <a:lnTo>
                  <a:pt x="306" y="60"/>
                </a:lnTo>
                <a:lnTo>
                  <a:pt x="306" y="54"/>
                </a:lnTo>
                <a:lnTo>
                  <a:pt x="312" y="54"/>
                </a:lnTo>
                <a:lnTo>
                  <a:pt x="312" y="48"/>
                </a:lnTo>
                <a:lnTo>
                  <a:pt x="318" y="48"/>
                </a:lnTo>
                <a:lnTo>
                  <a:pt x="318" y="54"/>
                </a:lnTo>
                <a:lnTo>
                  <a:pt x="324" y="54"/>
                </a:lnTo>
                <a:lnTo>
                  <a:pt x="330" y="60"/>
                </a:lnTo>
                <a:lnTo>
                  <a:pt x="336" y="60"/>
                </a:lnTo>
                <a:lnTo>
                  <a:pt x="336" y="66"/>
                </a:lnTo>
                <a:lnTo>
                  <a:pt x="342" y="66"/>
                </a:lnTo>
                <a:lnTo>
                  <a:pt x="348" y="66"/>
                </a:lnTo>
                <a:lnTo>
                  <a:pt x="354" y="66"/>
                </a:lnTo>
                <a:lnTo>
                  <a:pt x="354" y="72"/>
                </a:lnTo>
                <a:lnTo>
                  <a:pt x="360" y="66"/>
                </a:lnTo>
                <a:lnTo>
                  <a:pt x="366" y="66"/>
                </a:lnTo>
                <a:lnTo>
                  <a:pt x="372" y="60"/>
                </a:lnTo>
                <a:lnTo>
                  <a:pt x="378" y="60"/>
                </a:lnTo>
                <a:lnTo>
                  <a:pt x="384" y="60"/>
                </a:lnTo>
                <a:lnTo>
                  <a:pt x="384" y="66"/>
                </a:lnTo>
                <a:lnTo>
                  <a:pt x="390" y="66"/>
                </a:lnTo>
                <a:lnTo>
                  <a:pt x="396" y="66"/>
                </a:lnTo>
                <a:lnTo>
                  <a:pt x="402" y="66"/>
                </a:lnTo>
                <a:lnTo>
                  <a:pt x="402" y="72"/>
                </a:lnTo>
                <a:lnTo>
                  <a:pt x="408" y="72"/>
                </a:lnTo>
                <a:lnTo>
                  <a:pt x="408" y="66"/>
                </a:lnTo>
                <a:lnTo>
                  <a:pt x="414" y="66"/>
                </a:lnTo>
                <a:lnTo>
                  <a:pt x="420" y="66"/>
                </a:lnTo>
                <a:lnTo>
                  <a:pt x="420" y="60"/>
                </a:lnTo>
                <a:lnTo>
                  <a:pt x="426" y="60"/>
                </a:lnTo>
                <a:lnTo>
                  <a:pt x="426" y="54"/>
                </a:lnTo>
                <a:lnTo>
                  <a:pt x="426" y="48"/>
                </a:lnTo>
                <a:lnTo>
                  <a:pt x="432" y="48"/>
                </a:lnTo>
                <a:lnTo>
                  <a:pt x="432" y="42"/>
                </a:lnTo>
                <a:lnTo>
                  <a:pt x="438" y="42"/>
                </a:lnTo>
                <a:lnTo>
                  <a:pt x="444" y="42"/>
                </a:lnTo>
                <a:lnTo>
                  <a:pt x="450" y="42"/>
                </a:lnTo>
                <a:lnTo>
                  <a:pt x="450" y="48"/>
                </a:lnTo>
                <a:lnTo>
                  <a:pt x="456" y="48"/>
                </a:lnTo>
                <a:lnTo>
                  <a:pt x="462" y="48"/>
                </a:lnTo>
                <a:lnTo>
                  <a:pt x="462" y="54"/>
                </a:lnTo>
                <a:lnTo>
                  <a:pt x="462" y="48"/>
                </a:lnTo>
                <a:lnTo>
                  <a:pt x="468" y="48"/>
                </a:lnTo>
                <a:lnTo>
                  <a:pt x="468" y="42"/>
                </a:lnTo>
                <a:lnTo>
                  <a:pt x="474" y="42"/>
                </a:lnTo>
                <a:lnTo>
                  <a:pt x="480" y="42"/>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lnTo>
                  <a:pt x="540" y="18"/>
                </a:lnTo>
                <a:lnTo>
                  <a:pt x="546" y="18"/>
                </a:lnTo>
                <a:lnTo>
                  <a:pt x="552" y="18"/>
                </a:lnTo>
                <a:lnTo>
                  <a:pt x="552" y="12"/>
                </a:lnTo>
                <a:lnTo>
                  <a:pt x="558" y="6"/>
                </a:lnTo>
                <a:lnTo>
                  <a:pt x="564" y="6"/>
                </a:lnTo>
                <a:lnTo>
                  <a:pt x="570" y="0"/>
                </a:lnTo>
                <a:lnTo>
                  <a:pt x="576" y="0"/>
                </a:lnTo>
                <a:lnTo>
                  <a:pt x="576" y="6"/>
                </a:lnTo>
                <a:lnTo>
                  <a:pt x="582" y="6"/>
                </a:lnTo>
                <a:lnTo>
                  <a:pt x="576" y="6"/>
                </a:lnTo>
                <a:lnTo>
                  <a:pt x="582" y="6"/>
                </a:lnTo>
                <a:lnTo>
                  <a:pt x="582" y="12"/>
                </a:lnTo>
                <a:lnTo>
                  <a:pt x="576" y="12"/>
                </a:lnTo>
                <a:lnTo>
                  <a:pt x="576" y="18"/>
                </a:lnTo>
                <a:lnTo>
                  <a:pt x="582" y="18"/>
                </a:lnTo>
                <a:lnTo>
                  <a:pt x="576" y="24"/>
                </a:lnTo>
                <a:lnTo>
                  <a:pt x="576" y="30"/>
                </a:lnTo>
                <a:lnTo>
                  <a:pt x="576" y="36"/>
                </a:lnTo>
                <a:lnTo>
                  <a:pt x="576" y="42"/>
                </a:lnTo>
                <a:lnTo>
                  <a:pt x="570" y="42"/>
                </a:lnTo>
                <a:lnTo>
                  <a:pt x="570" y="48"/>
                </a:lnTo>
                <a:lnTo>
                  <a:pt x="564" y="48"/>
                </a:lnTo>
                <a:lnTo>
                  <a:pt x="570" y="48"/>
                </a:lnTo>
                <a:lnTo>
                  <a:pt x="576" y="48"/>
                </a:lnTo>
                <a:lnTo>
                  <a:pt x="576" y="54"/>
                </a:lnTo>
                <a:lnTo>
                  <a:pt x="570" y="54"/>
                </a:lnTo>
                <a:lnTo>
                  <a:pt x="570" y="60"/>
                </a:lnTo>
                <a:lnTo>
                  <a:pt x="570" y="66"/>
                </a:lnTo>
                <a:lnTo>
                  <a:pt x="570" y="72"/>
                </a:lnTo>
                <a:lnTo>
                  <a:pt x="576" y="72"/>
                </a:lnTo>
                <a:lnTo>
                  <a:pt x="570" y="72"/>
                </a:lnTo>
                <a:lnTo>
                  <a:pt x="576" y="72"/>
                </a:lnTo>
                <a:lnTo>
                  <a:pt x="570" y="72"/>
                </a:lnTo>
                <a:lnTo>
                  <a:pt x="576" y="72"/>
                </a:lnTo>
                <a:lnTo>
                  <a:pt x="576" y="78"/>
                </a:lnTo>
                <a:lnTo>
                  <a:pt x="576" y="84"/>
                </a:lnTo>
                <a:lnTo>
                  <a:pt x="576" y="90"/>
                </a:lnTo>
                <a:lnTo>
                  <a:pt x="576" y="96"/>
                </a:lnTo>
                <a:lnTo>
                  <a:pt x="576" y="102"/>
                </a:lnTo>
                <a:lnTo>
                  <a:pt x="576" y="96"/>
                </a:lnTo>
                <a:lnTo>
                  <a:pt x="576" y="102"/>
                </a:lnTo>
                <a:lnTo>
                  <a:pt x="576" y="96"/>
                </a:lnTo>
                <a:lnTo>
                  <a:pt x="570" y="96"/>
                </a:lnTo>
                <a:lnTo>
                  <a:pt x="570" y="102"/>
                </a:lnTo>
                <a:lnTo>
                  <a:pt x="576" y="102"/>
                </a:lnTo>
                <a:lnTo>
                  <a:pt x="576" y="108"/>
                </a:lnTo>
                <a:lnTo>
                  <a:pt x="576" y="114"/>
                </a:lnTo>
                <a:lnTo>
                  <a:pt x="576" y="108"/>
                </a:lnTo>
                <a:lnTo>
                  <a:pt x="570" y="108"/>
                </a:lnTo>
                <a:lnTo>
                  <a:pt x="570" y="114"/>
                </a:lnTo>
                <a:lnTo>
                  <a:pt x="576" y="114"/>
                </a:lnTo>
                <a:lnTo>
                  <a:pt x="570" y="114"/>
                </a:lnTo>
                <a:lnTo>
                  <a:pt x="576" y="114"/>
                </a:lnTo>
                <a:lnTo>
                  <a:pt x="570" y="114"/>
                </a:lnTo>
                <a:lnTo>
                  <a:pt x="576" y="114"/>
                </a:lnTo>
                <a:lnTo>
                  <a:pt x="576" y="120"/>
                </a:lnTo>
                <a:lnTo>
                  <a:pt x="582" y="120"/>
                </a:lnTo>
                <a:lnTo>
                  <a:pt x="576" y="120"/>
                </a:lnTo>
                <a:lnTo>
                  <a:pt x="576" y="126"/>
                </a:lnTo>
                <a:lnTo>
                  <a:pt x="582" y="126"/>
                </a:lnTo>
                <a:lnTo>
                  <a:pt x="582" y="132"/>
                </a:lnTo>
                <a:lnTo>
                  <a:pt x="576" y="132"/>
                </a:lnTo>
                <a:lnTo>
                  <a:pt x="576" y="138"/>
                </a:lnTo>
                <a:lnTo>
                  <a:pt x="576" y="132"/>
                </a:lnTo>
                <a:lnTo>
                  <a:pt x="576" y="138"/>
                </a:lnTo>
                <a:lnTo>
                  <a:pt x="576" y="132"/>
                </a:lnTo>
                <a:lnTo>
                  <a:pt x="570" y="132"/>
                </a:lnTo>
                <a:lnTo>
                  <a:pt x="570" y="138"/>
                </a:lnTo>
                <a:lnTo>
                  <a:pt x="570" y="144"/>
                </a:lnTo>
                <a:lnTo>
                  <a:pt x="576" y="144"/>
                </a:lnTo>
                <a:lnTo>
                  <a:pt x="576" y="138"/>
                </a:lnTo>
                <a:lnTo>
                  <a:pt x="582" y="138"/>
                </a:lnTo>
                <a:lnTo>
                  <a:pt x="582" y="144"/>
                </a:lnTo>
                <a:lnTo>
                  <a:pt x="576" y="144"/>
                </a:lnTo>
                <a:lnTo>
                  <a:pt x="576" y="150"/>
                </a:lnTo>
                <a:lnTo>
                  <a:pt x="576" y="156"/>
                </a:lnTo>
                <a:lnTo>
                  <a:pt x="576" y="162"/>
                </a:lnTo>
                <a:lnTo>
                  <a:pt x="582" y="162"/>
                </a:lnTo>
                <a:lnTo>
                  <a:pt x="576" y="162"/>
                </a:lnTo>
                <a:lnTo>
                  <a:pt x="576" y="168"/>
                </a:lnTo>
                <a:lnTo>
                  <a:pt x="570" y="168"/>
                </a:lnTo>
                <a:lnTo>
                  <a:pt x="570" y="174"/>
                </a:lnTo>
                <a:lnTo>
                  <a:pt x="576" y="174"/>
                </a:lnTo>
                <a:lnTo>
                  <a:pt x="576" y="168"/>
                </a:lnTo>
                <a:lnTo>
                  <a:pt x="576" y="174"/>
                </a:lnTo>
                <a:lnTo>
                  <a:pt x="582" y="174"/>
                </a:lnTo>
                <a:lnTo>
                  <a:pt x="576" y="174"/>
                </a:lnTo>
                <a:lnTo>
                  <a:pt x="576" y="180"/>
                </a:lnTo>
                <a:lnTo>
                  <a:pt x="582" y="180"/>
                </a:lnTo>
                <a:lnTo>
                  <a:pt x="582" y="186"/>
                </a:lnTo>
                <a:lnTo>
                  <a:pt x="582" y="192"/>
                </a:lnTo>
                <a:lnTo>
                  <a:pt x="582" y="198"/>
                </a:lnTo>
                <a:lnTo>
                  <a:pt x="582" y="204"/>
                </a:lnTo>
                <a:lnTo>
                  <a:pt x="582" y="210"/>
                </a:lnTo>
                <a:lnTo>
                  <a:pt x="576" y="210"/>
                </a:lnTo>
                <a:lnTo>
                  <a:pt x="582" y="210"/>
                </a:lnTo>
                <a:lnTo>
                  <a:pt x="576" y="210"/>
                </a:lnTo>
                <a:lnTo>
                  <a:pt x="582" y="210"/>
                </a:lnTo>
                <a:lnTo>
                  <a:pt x="582" y="216"/>
                </a:lnTo>
                <a:lnTo>
                  <a:pt x="582" y="210"/>
                </a:lnTo>
                <a:lnTo>
                  <a:pt x="582" y="216"/>
                </a:lnTo>
                <a:lnTo>
                  <a:pt x="582" y="210"/>
                </a:lnTo>
                <a:lnTo>
                  <a:pt x="588" y="210"/>
                </a:lnTo>
                <a:lnTo>
                  <a:pt x="588" y="216"/>
                </a:lnTo>
                <a:lnTo>
                  <a:pt x="588" y="222"/>
                </a:lnTo>
                <a:lnTo>
                  <a:pt x="582" y="222"/>
                </a:lnTo>
                <a:lnTo>
                  <a:pt x="582" y="216"/>
                </a:lnTo>
                <a:lnTo>
                  <a:pt x="582" y="222"/>
                </a:lnTo>
                <a:lnTo>
                  <a:pt x="582" y="228"/>
                </a:lnTo>
                <a:lnTo>
                  <a:pt x="582" y="222"/>
                </a:lnTo>
                <a:lnTo>
                  <a:pt x="582" y="228"/>
                </a:lnTo>
                <a:lnTo>
                  <a:pt x="582" y="234"/>
                </a:lnTo>
                <a:lnTo>
                  <a:pt x="582" y="228"/>
                </a:lnTo>
                <a:lnTo>
                  <a:pt x="588" y="228"/>
                </a:lnTo>
                <a:lnTo>
                  <a:pt x="582" y="228"/>
                </a:lnTo>
                <a:lnTo>
                  <a:pt x="582" y="222"/>
                </a:lnTo>
                <a:lnTo>
                  <a:pt x="588" y="222"/>
                </a:lnTo>
                <a:lnTo>
                  <a:pt x="594" y="222"/>
                </a:lnTo>
                <a:lnTo>
                  <a:pt x="594" y="228"/>
                </a:lnTo>
                <a:lnTo>
                  <a:pt x="594" y="234"/>
                </a:lnTo>
                <a:lnTo>
                  <a:pt x="594" y="240"/>
                </a:lnTo>
                <a:lnTo>
                  <a:pt x="594" y="246"/>
                </a:lnTo>
                <a:lnTo>
                  <a:pt x="594" y="240"/>
                </a:lnTo>
                <a:lnTo>
                  <a:pt x="594" y="246"/>
                </a:lnTo>
                <a:lnTo>
                  <a:pt x="588" y="246"/>
                </a:lnTo>
                <a:lnTo>
                  <a:pt x="588" y="252"/>
                </a:lnTo>
                <a:lnTo>
                  <a:pt x="582" y="252"/>
                </a:lnTo>
                <a:lnTo>
                  <a:pt x="582" y="246"/>
                </a:lnTo>
                <a:lnTo>
                  <a:pt x="582" y="252"/>
                </a:lnTo>
                <a:lnTo>
                  <a:pt x="588" y="252"/>
                </a:lnTo>
                <a:lnTo>
                  <a:pt x="588" y="258"/>
                </a:lnTo>
                <a:lnTo>
                  <a:pt x="588" y="252"/>
                </a:lnTo>
                <a:lnTo>
                  <a:pt x="588" y="258"/>
                </a:lnTo>
                <a:lnTo>
                  <a:pt x="582" y="258"/>
                </a:lnTo>
                <a:lnTo>
                  <a:pt x="588" y="258"/>
                </a:lnTo>
                <a:lnTo>
                  <a:pt x="582" y="258"/>
                </a:lnTo>
                <a:lnTo>
                  <a:pt x="588" y="258"/>
                </a:lnTo>
                <a:lnTo>
                  <a:pt x="588" y="264"/>
                </a:lnTo>
                <a:lnTo>
                  <a:pt x="582" y="264"/>
                </a:lnTo>
                <a:lnTo>
                  <a:pt x="582" y="258"/>
                </a:lnTo>
                <a:lnTo>
                  <a:pt x="582" y="264"/>
                </a:lnTo>
                <a:lnTo>
                  <a:pt x="576" y="264"/>
                </a:lnTo>
                <a:lnTo>
                  <a:pt x="576" y="270"/>
                </a:lnTo>
                <a:lnTo>
                  <a:pt x="576" y="264"/>
                </a:lnTo>
                <a:lnTo>
                  <a:pt x="576" y="270"/>
                </a:lnTo>
                <a:lnTo>
                  <a:pt x="582" y="270"/>
                </a:lnTo>
                <a:lnTo>
                  <a:pt x="582" y="264"/>
                </a:lnTo>
                <a:lnTo>
                  <a:pt x="582" y="270"/>
                </a:lnTo>
                <a:lnTo>
                  <a:pt x="582" y="264"/>
                </a:lnTo>
                <a:lnTo>
                  <a:pt x="582" y="270"/>
                </a:lnTo>
                <a:lnTo>
                  <a:pt x="582" y="276"/>
                </a:lnTo>
                <a:lnTo>
                  <a:pt x="582" y="282"/>
                </a:lnTo>
                <a:lnTo>
                  <a:pt x="582" y="276"/>
                </a:lnTo>
                <a:lnTo>
                  <a:pt x="582" y="282"/>
                </a:lnTo>
                <a:lnTo>
                  <a:pt x="576" y="282"/>
                </a:lnTo>
                <a:lnTo>
                  <a:pt x="576" y="288"/>
                </a:lnTo>
                <a:lnTo>
                  <a:pt x="570" y="288"/>
                </a:lnTo>
                <a:lnTo>
                  <a:pt x="576" y="288"/>
                </a:lnTo>
                <a:lnTo>
                  <a:pt x="570" y="288"/>
                </a:lnTo>
                <a:lnTo>
                  <a:pt x="570" y="294"/>
                </a:lnTo>
                <a:lnTo>
                  <a:pt x="570" y="300"/>
                </a:lnTo>
                <a:lnTo>
                  <a:pt x="564" y="300"/>
                </a:lnTo>
                <a:lnTo>
                  <a:pt x="564" y="306"/>
                </a:lnTo>
                <a:lnTo>
                  <a:pt x="558" y="306"/>
                </a:lnTo>
                <a:lnTo>
                  <a:pt x="558" y="312"/>
                </a:lnTo>
                <a:lnTo>
                  <a:pt x="552" y="312"/>
                </a:lnTo>
                <a:lnTo>
                  <a:pt x="552" y="318"/>
                </a:lnTo>
                <a:lnTo>
                  <a:pt x="552" y="312"/>
                </a:lnTo>
                <a:lnTo>
                  <a:pt x="552" y="318"/>
                </a:lnTo>
                <a:lnTo>
                  <a:pt x="552" y="324"/>
                </a:lnTo>
                <a:lnTo>
                  <a:pt x="546" y="324"/>
                </a:lnTo>
                <a:lnTo>
                  <a:pt x="546" y="330"/>
                </a:lnTo>
                <a:lnTo>
                  <a:pt x="540" y="330"/>
                </a:lnTo>
                <a:lnTo>
                  <a:pt x="540" y="324"/>
                </a:lnTo>
                <a:lnTo>
                  <a:pt x="540" y="330"/>
                </a:lnTo>
                <a:lnTo>
                  <a:pt x="540" y="324"/>
                </a:lnTo>
                <a:lnTo>
                  <a:pt x="540" y="330"/>
                </a:lnTo>
                <a:lnTo>
                  <a:pt x="534" y="330"/>
                </a:lnTo>
                <a:lnTo>
                  <a:pt x="540" y="330"/>
                </a:lnTo>
                <a:lnTo>
                  <a:pt x="534" y="330"/>
                </a:lnTo>
                <a:lnTo>
                  <a:pt x="534" y="336"/>
                </a:lnTo>
                <a:lnTo>
                  <a:pt x="534" y="342"/>
                </a:lnTo>
                <a:lnTo>
                  <a:pt x="534" y="336"/>
                </a:lnTo>
                <a:lnTo>
                  <a:pt x="540" y="336"/>
                </a:lnTo>
                <a:lnTo>
                  <a:pt x="540" y="342"/>
                </a:lnTo>
                <a:lnTo>
                  <a:pt x="534" y="342"/>
                </a:lnTo>
                <a:lnTo>
                  <a:pt x="528" y="342"/>
                </a:lnTo>
                <a:lnTo>
                  <a:pt x="528" y="348"/>
                </a:lnTo>
                <a:lnTo>
                  <a:pt x="522" y="348"/>
                </a:lnTo>
                <a:lnTo>
                  <a:pt x="522" y="354"/>
                </a:lnTo>
                <a:lnTo>
                  <a:pt x="516" y="354"/>
                </a:lnTo>
                <a:lnTo>
                  <a:pt x="510" y="354"/>
                </a:lnTo>
                <a:lnTo>
                  <a:pt x="510" y="360"/>
                </a:lnTo>
                <a:lnTo>
                  <a:pt x="504" y="360"/>
                </a:lnTo>
                <a:lnTo>
                  <a:pt x="504" y="366"/>
                </a:lnTo>
                <a:lnTo>
                  <a:pt x="498" y="366"/>
                </a:lnTo>
                <a:lnTo>
                  <a:pt x="492" y="366"/>
                </a:lnTo>
                <a:lnTo>
                  <a:pt x="492" y="372"/>
                </a:lnTo>
                <a:lnTo>
                  <a:pt x="498" y="372"/>
                </a:lnTo>
                <a:lnTo>
                  <a:pt x="498" y="366"/>
                </a:lnTo>
                <a:lnTo>
                  <a:pt x="498" y="372"/>
                </a:lnTo>
                <a:lnTo>
                  <a:pt x="492" y="372"/>
                </a:lnTo>
                <a:lnTo>
                  <a:pt x="486" y="372"/>
                </a:lnTo>
                <a:lnTo>
                  <a:pt x="486" y="378"/>
                </a:lnTo>
                <a:lnTo>
                  <a:pt x="480" y="378"/>
                </a:lnTo>
                <a:lnTo>
                  <a:pt x="480" y="372"/>
                </a:lnTo>
                <a:lnTo>
                  <a:pt x="480" y="378"/>
                </a:lnTo>
                <a:lnTo>
                  <a:pt x="474" y="378"/>
                </a:lnTo>
                <a:lnTo>
                  <a:pt x="474" y="372"/>
                </a:lnTo>
                <a:lnTo>
                  <a:pt x="474" y="378"/>
                </a:lnTo>
                <a:lnTo>
                  <a:pt x="468" y="378"/>
                </a:lnTo>
                <a:lnTo>
                  <a:pt x="462" y="378"/>
                </a:lnTo>
                <a:lnTo>
                  <a:pt x="456" y="378"/>
                </a:lnTo>
                <a:lnTo>
                  <a:pt x="462" y="378"/>
                </a:lnTo>
                <a:lnTo>
                  <a:pt x="462" y="384"/>
                </a:lnTo>
                <a:lnTo>
                  <a:pt x="456" y="384"/>
                </a:lnTo>
                <a:lnTo>
                  <a:pt x="450" y="384"/>
                </a:lnTo>
                <a:lnTo>
                  <a:pt x="444" y="384"/>
                </a:lnTo>
                <a:lnTo>
                  <a:pt x="444" y="390"/>
                </a:lnTo>
                <a:lnTo>
                  <a:pt x="444" y="384"/>
                </a:lnTo>
                <a:lnTo>
                  <a:pt x="438" y="384"/>
                </a:lnTo>
                <a:lnTo>
                  <a:pt x="444" y="384"/>
                </a:lnTo>
                <a:lnTo>
                  <a:pt x="444" y="390"/>
                </a:lnTo>
                <a:lnTo>
                  <a:pt x="438" y="390"/>
                </a:lnTo>
                <a:lnTo>
                  <a:pt x="438" y="384"/>
                </a:lnTo>
                <a:lnTo>
                  <a:pt x="438" y="390"/>
                </a:lnTo>
                <a:lnTo>
                  <a:pt x="444" y="390"/>
                </a:lnTo>
                <a:lnTo>
                  <a:pt x="438" y="390"/>
                </a:lnTo>
                <a:lnTo>
                  <a:pt x="432" y="390"/>
                </a:lnTo>
                <a:lnTo>
                  <a:pt x="432" y="396"/>
                </a:lnTo>
                <a:lnTo>
                  <a:pt x="426" y="396"/>
                </a:lnTo>
                <a:lnTo>
                  <a:pt x="420" y="396"/>
                </a:lnTo>
                <a:lnTo>
                  <a:pt x="420" y="402"/>
                </a:lnTo>
                <a:lnTo>
                  <a:pt x="420" y="396"/>
                </a:lnTo>
                <a:lnTo>
                  <a:pt x="420" y="402"/>
                </a:lnTo>
                <a:lnTo>
                  <a:pt x="414" y="402"/>
                </a:lnTo>
                <a:lnTo>
                  <a:pt x="408" y="402"/>
                </a:lnTo>
                <a:lnTo>
                  <a:pt x="414" y="402"/>
                </a:lnTo>
                <a:lnTo>
                  <a:pt x="408" y="408"/>
                </a:lnTo>
                <a:lnTo>
                  <a:pt x="402" y="408"/>
                </a:lnTo>
                <a:lnTo>
                  <a:pt x="408" y="408"/>
                </a:lnTo>
                <a:lnTo>
                  <a:pt x="402" y="408"/>
                </a:lnTo>
                <a:lnTo>
                  <a:pt x="408" y="408"/>
                </a:lnTo>
                <a:lnTo>
                  <a:pt x="402" y="408"/>
                </a:lnTo>
                <a:lnTo>
                  <a:pt x="402" y="414"/>
                </a:lnTo>
                <a:lnTo>
                  <a:pt x="402" y="408"/>
                </a:lnTo>
                <a:lnTo>
                  <a:pt x="402" y="414"/>
                </a:lnTo>
                <a:lnTo>
                  <a:pt x="396" y="414"/>
                </a:lnTo>
                <a:lnTo>
                  <a:pt x="390" y="414"/>
                </a:lnTo>
                <a:lnTo>
                  <a:pt x="390" y="420"/>
                </a:lnTo>
                <a:lnTo>
                  <a:pt x="384" y="426"/>
                </a:lnTo>
                <a:lnTo>
                  <a:pt x="378" y="432"/>
                </a:lnTo>
                <a:lnTo>
                  <a:pt x="378" y="426"/>
                </a:lnTo>
                <a:lnTo>
                  <a:pt x="378" y="432"/>
                </a:lnTo>
                <a:lnTo>
                  <a:pt x="372" y="432"/>
                </a:lnTo>
                <a:lnTo>
                  <a:pt x="378" y="432"/>
                </a:lnTo>
                <a:lnTo>
                  <a:pt x="378" y="438"/>
                </a:lnTo>
                <a:lnTo>
                  <a:pt x="372" y="438"/>
                </a:lnTo>
                <a:lnTo>
                  <a:pt x="372" y="444"/>
                </a:lnTo>
                <a:lnTo>
                  <a:pt x="372" y="438"/>
                </a:lnTo>
                <a:lnTo>
                  <a:pt x="366" y="444"/>
                </a:lnTo>
                <a:lnTo>
                  <a:pt x="372" y="444"/>
                </a:lnTo>
                <a:lnTo>
                  <a:pt x="366" y="444"/>
                </a:lnTo>
                <a:lnTo>
                  <a:pt x="366" y="450"/>
                </a:lnTo>
                <a:lnTo>
                  <a:pt x="360" y="450"/>
                </a:lnTo>
                <a:lnTo>
                  <a:pt x="360" y="456"/>
                </a:lnTo>
                <a:lnTo>
                  <a:pt x="360" y="450"/>
                </a:lnTo>
                <a:lnTo>
                  <a:pt x="360" y="456"/>
                </a:lnTo>
                <a:lnTo>
                  <a:pt x="354" y="456"/>
                </a:lnTo>
                <a:lnTo>
                  <a:pt x="354" y="462"/>
                </a:lnTo>
                <a:lnTo>
                  <a:pt x="354" y="456"/>
                </a:lnTo>
                <a:lnTo>
                  <a:pt x="354" y="462"/>
                </a:lnTo>
                <a:lnTo>
                  <a:pt x="354" y="456"/>
                </a:lnTo>
                <a:lnTo>
                  <a:pt x="348" y="456"/>
                </a:lnTo>
                <a:lnTo>
                  <a:pt x="354" y="462"/>
                </a:lnTo>
                <a:lnTo>
                  <a:pt x="348" y="462"/>
                </a:lnTo>
                <a:lnTo>
                  <a:pt x="348" y="468"/>
                </a:lnTo>
                <a:lnTo>
                  <a:pt x="348" y="474"/>
                </a:lnTo>
                <a:lnTo>
                  <a:pt x="342" y="474"/>
                </a:lnTo>
                <a:lnTo>
                  <a:pt x="348" y="474"/>
                </a:lnTo>
                <a:lnTo>
                  <a:pt x="342" y="480"/>
                </a:lnTo>
                <a:lnTo>
                  <a:pt x="348" y="480"/>
                </a:lnTo>
                <a:lnTo>
                  <a:pt x="342" y="480"/>
                </a:lnTo>
                <a:lnTo>
                  <a:pt x="336" y="480"/>
                </a:lnTo>
                <a:lnTo>
                  <a:pt x="342" y="480"/>
                </a:lnTo>
                <a:lnTo>
                  <a:pt x="336" y="480"/>
                </a:lnTo>
                <a:lnTo>
                  <a:pt x="330" y="480"/>
                </a:lnTo>
                <a:lnTo>
                  <a:pt x="330" y="486"/>
                </a:lnTo>
                <a:lnTo>
                  <a:pt x="330" y="480"/>
                </a:lnTo>
                <a:lnTo>
                  <a:pt x="330" y="486"/>
                </a:lnTo>
                <a:lnTo>
                  <a:pt x="324" y="486"/>
                </a:lnTo>
                <a:lnTo>
                  <a:pt x="318" y="486"/>
                </a:lnTo>
                <a:lnTo>
                  <a:pt x="318" y="492"/>
                </a:lnTo>
                <a:lnTo>
                  <a:pt x="312" y="492"/>
                </a:lnTo>
                <a:lnTo>
                  <a:pt x="306" y="492"/>
                </a:lnTo>
                <a:lnTo>
                  <a:pt x="306" y="498"/>
                </a:lnTo>
                <a:lnTo>
                  <a:pt x="306" y="492"/>
                </a:lnTo>
                <a:lnTo>
                  <a:pt x="306" y="498"/>
                </a:lnTo>
                <a:lnTo>
                  <a:pt x="300" y="504"/>
                </a:lnTo>
                <a:lnTo>
                  <a:pt x="300" y="510"/>
                </a:lnTo>
                <a:lnTo>
                  <a:pt x="294" y="510"/>
                </a:lnTo>
                <a:lnTo>
                  <a:pt x="294" y="516"/>
                </a:lnTo>
                <a:lnTo>
                  <a:pt x="294" y="510"/>
                </a:lnTo>
                <a:lnTo>
                  <a:pt x="294" y="516"/>
                </a:lnTo>
                <a:lnTo>
                  <a:pt x="288" y="516"/>
                </a:lnTo>
                <a:lnTo>
                  <a:pt x="288" y="522"/>
                </a:lnTo>
                <a:lnTo>
                  <a:pt x="282" y="522"/>
                </a:lnTo>
                <a:lnTo>
                  <a:pt x="282" y="528"/>
                </a:lnTo>
                <a:lnTo>
                  <a:pt x="276" y="528"/>
                </a:lnTo>
                <a:lnTo>
                  <a:pt x="276" y="534"/>
                </a:lnTo>
                <a:lnTo>
                  <a:pt x="276" y="528"/>
                </a:lnTo>
                <a:lnTo>
                  <a:pt x="276" y="534"/>
                </a:lnTo>
                <a:lnTo>
                  <a:pt x="270" y="534"/>
                </a:lnTo>
                <a:lnTo>
                  <a:pt x="264" y="534"/>
                </a:lnTo>
                <a:lnTo>
                  <a:pt x="264" y="540"/>
                </a:lnTo>
                <a:lnTo>
                  <a:pt x="264" y="534"/>
                </a:lnTo>
                <a:lnTo>
                  <a:pt x="264" y="540"/>
                </a:lnTo>
                <a:lnTo>
                  <a:pt x="258" y="540"/>
                </a:lnTo>
                <a:lnTo>
                  <a:pt x="258" y="534"/>
                </a:lnTo>
                <a:lnTo>
                  <a:pt x="252" y="534"/>
                </a:lnTo>
                <a:lnTo>
                  <a:pt x="252" y="528"/>
                </a:lnTo>
                <a:lnTo>
                  <a:pt x="246" y="528"/>
                </a:lnTo>
                <a:lnTo>
                  <a:pt x="252" y="528"/>
                </a:lnTo>
                <a:lnTo>
                  <a:pt x="252" y="534"/>
                </a:lnTo>
                <a:lnTo>
                  <a:pt x="258" y="534"/>
                </a:lnTo>
                <a:lnTo>
                  <a:pt x="258" y="540"/>
                </a:lnTo>
                <a:lnTo>
                  <a:pt x="252" y="540"/>
                </a:lnTo>
                <a:lnTo>
                  <a:pt x="258" y="540"/>
                </a:lnTo>
                <a:lnTo>
                  <a:pt x="258" y="546"/>
                </a:lnTo>
                <a:lnTo>
                  <a:pt x="252" y="552"/>
                </a:lnTo>
                <a:lnTo>
                  <a:pt x="258" y="558"/>
                </a:lnTo>
                <a:lnTo>
                  <a:pt x="252" y="558"/>
                </a:lnTo>
                <a:lnTo>
                  <a:pt x="246" y="558"/>
                </a:lnTo>
                <a:lnTo>
                  <a:pt x="252" y="558"/>
                </a:lnTo>
                <a:lnTo>
                  <a:pt x="252" y="564"/>
                </a:lnTo>
                <a:lnTo>
                  <a:pt x="252" y="570"/>
                </a:lnTo>
                <a:lnTo>
                  <a:pt x="246" y="570"/>
                </a:lnTo>
                <a:lnTo>
                  <a:pt x="252" y="570"/>
                </a:lnTo>
                <a:lnTo>
                  <a:pt x="252" y="576"/>
                </a:lnTo>
                <a:lnTo>
                  <a:pt x="246" y="576"/>
                </a:lnTo>
                <a:lnTo>
                  <a:pt x="246" y="582"/>
                </a:lnTo>
                <a:lnTo>
                  <a:pt x="252" y="582"/>
                </a:lnTo>
                <a:lnTo>
                  <a:pt x="252" y="576"/>
                </a:lnTo>
                <a:lnTo>
                  <a:pt x="252" y="582"/>
                </a:lnTo>
                <a:lnTo>
                  <a:pt x="258" y="582"/>
                </a:lnTo>
                <a:lnTo>
                  <a:pt x="258" y="588"/>
                </a:lnTo>
                <a:lnTo>
                  <a:pt x="264" y="588"/>
                </a:lnTo>
                <a:lnTo>
                  <a:pt x="264" y="594"/>
                </a:lnTo>
                <a:lnTo>
                  <a:pt x="264" y="588"/>
                </a:lnTo>
                <a:lnTo>
                  <a:pt x="264" y="594"/>
                </a:lnTo>
                <a:lnTo>
                  <a:pt x="264" y="588"/>
                </a:lnTo>
                <a:lnTo>
                  <a:pt x="264" y="594"/>
                </a:lnTo>
                <a:lnTo>
                  <a:pt x="264" y="588"/>
                </a:lnTo>
                <a:lnTo>
                  <a:pt x="270" y="588"/>
                </a:lnTo>
                <a:lnTo>
                  <a:pt x="270" y="594"/>
                </a:lnTo>
                <a:lnTo>
                  <a:pt x="264" y="594"/>
                </a:lnTo>
                <a:lnTo>
                  <a:pt x="270" y="594"/>
                </a:lnTo>
                <a:lnTo>
                  <a:pt x="270" y="588"/>
                </a:lnTo>
                <a:lnTo>
                  <a:pt x="270" y="594"/>
                </a:lnTo>
                <a:lnTo>
                  <a:pt x="264" y="594"/>
                </a:lnTo>
                <a:lnTo>
                  <a:pt x="270" y="594"/>
                </a:lnTo>
                <a:lnTo>
                  <a:pt x="264" y="594"/>
                </a:lnTo>
                <a:lnTo>
                  <a:pt x="270" y="594"/>
                </a:lnTo>
                <a:lnTo>
                  <a:pt x="270" y="600"/>
                </a:lnTo>
                <a:lnTo>
                  <a:pt x="270" y="606"/>
                </a:lnTo>
                <a:lnTo>
                  <a:pt x="270" y="600"/>
                </a:lnTo>
                <a:lnTo>
                  <a:pt x="276" y="600"/>
                </a:lnTo>
                <a:lnTo>
                  <a:pt x="276" y="606"/>
                </a:lnTo>
                <a:lnTo>
                  <a:pt x="270" y="606"/>
                </a:lnTo>
                <a:lnTo>
                  <a:pt x="276" y="606"/>
                </a:lnTo>
                <a:lnTo>
                  <a:pt x="276" y="612"/>
                </a:lnTo>
                <a:lnTo>
                  <a:pt x="276" y="606"/>
                </a:lnTo>
                <a:lnTo>
                  <a:pt x="270" y="606"/>
                </a:lnTo>
                <a:lnTo>
                  <a:pt x="270" y="612"/>
                </a:lnTo>
                <a:lnTo>
                  <a:pt x="276" y="612"/>
                </a:lnTo>
                <a:lnTo>
                  <a:pt x="270" y="612"/>
                </a:lnTo>
                <a:lnTo>
                  <a:pt x="270" y="618"/>
                </a:lnTo>
                <a:lnTo>
                  <a:pt x="270" y="612"/>
                </a:lnTo>
                <a:lnTo>
                  <a:pt x="270" y="618"/>
                </a:lnTo>
                <a:lnTo>
                  <a:pt x="276" y="618"/>
                </a:lnTo>
                <a:lnTo>
                  <a:pt x="276" y="624"/>
                </a:lnTo>
                <a:lnTo>
                  <a:pt x="270" y="624"/>
                </a:lnTo>
                <a:lnTo>
                  <a:pt x="270" y="618"/>
                </a:lnTo>
                <a:lnTo>
                  <a:pt x="270" y="624"/>
                </a:lnTo>
                <a:lnTo>
                  <a:pt x="270" y="630"/>
                </a:lnTo>
                <a:lnTo>
                  <a:pt x="276" y="630"/>
                </a:lnTo>
                <a:lnTo>
                  <a:pt x="276" y="624"/>
                </a:lnTo>
                <a:lnTo>
                  <a:pt x="276" y="630"/>
                </a:lnTo>
                <a:lnTo>
                  <a:pt x="276" y="624"/>
                </a:lnTo>
                <a:lnTo>
                  <a:pt x="276" y="618"/>
                </a:lnTo>
                <a:lnTo>
                  <a:pt x="276" y="624"/>
                </a:lnTo>
                <a:lnTo>
                  <a:pt x="276" y="630"/>
                </a:lnTo>
                <a:lnTo>
                  <a:pt x="282" y="636"/>
                </a:lnTo>
                <a:lnTo>
                  <a:pt x="282" y="642"/>
                </a:lnTo>
                <a:lnTo>
                  <a:pt x="282" y="648"/>
                </a:lnTo>
                <a:lnTo>
                  <a:pt x="282" y="654"/>
                </a:lnTo>
                <a:lnTo>
                  <a:pt x="282" y="648"/>
                </a:lnTo>
                <a:lnTo>
                  <a:pt x="282" y="654"/>
                </a:lnTo>
                <a:lnTo>
                  <a:pt x="288" y="654"/>
                </a:lnTo>
                <a:lnTo>
                  <a:pt x="288" y="660"/>
                </a:lnTo>
                <a:lnTo>
                  <a:pt x="288" y="666"/>
                </a:lnTo>
                <a:lnTo>
                  <a:pt x="288" y="672"/>
                </a:lnTo>
                <a:lnTo>
                  <a:pt x="288" y="678"/>
                </a:lnTo>
                <a:lnTo>
                  <a:pt x="294" y="678"/>
                </a:lnTo>
                <a:lnTo>
                  <a:pt x="294" y="684"/>
                </a:lnTo>
                <a:lnTo>
                  <a:pt x="294" y="678"/>
                </a:lnTo>
                <a:lnTo>
                  <a:pt x="294" y="684"/>
                </a:lnTo>
                <a:lnTo>
                  <a:pt x="294" y="678"/>
                </a:lnTo>
                <a:lnTo>
                  <a:pt x="294" y="672"/>
                </a:lnTo>
                <a:lnTo>
                  <a:pt x="294" y="678"/>
                </a:lnTo>
                <a:lnTo>
                  <a:pt x="300" y="678"/>
                </a:lnTo>
                <a:lnTo>
                  <a:pt x="300" y="684"/>
                </a:lnTo>
                <a:lnTo>
                  <a:pt x="300" y="678"/>
                </a:lnTo>
                <a:lnTo>
                  <a:pt x="300" y="684"/>
                </a:lnTo>
                <a:lnTo>
                  <a:pt x="300" y="690"/>
                </a:lnTo>
                <a:lnTo>
                  <a:pt x="300" y="696"/>
                </a:lnTo>
                <a:lnTo>
                  <a:pt x="300" y="702"/>
                </a:lnTo>
                <a:lnTo>
                  <a:pt x="294" y="702"/>
                </a:lnTo>
                <a:lnTo>
                  <a:pt x="300" y="708"/>
                </a:lnTo>
                <a:lnTo>
                  <a:pt x="300" y="714"/>
                </a:lnTo>
                <a:lnTo>
                  <a:pt x="300" y="720"/>
                </a:lnTo>
                <a:lnTo>
                  <a:pt x="300" y="726"/>
                </a:lnTo>
                <a:lnTo>
                  <a:pt x="300" y="720"/>
                </a:lnTo>
                <a:lnTo>
                  <a:pt x="300" y="726"/>
                </a:lnTo>
                <a:lnTo>
                  <a:pt x="300" y="732"/>
                </a:lnTo>
                <a:lnTo>
                  <a:pt x="294" y="738"/>
                </a:lnTo>
                <a:lnTo>
                  <a:pt x="294" y="744"/>
                </a:lnTo>
                <a:lnTo>
                  <a:pt x="294" y="750"/>
                </a:lnTo>
                <a:lnTo>
                  <a:pt x="294" y="756"/>
                </a:lnTo>
                <a:lnTo>
                  <a:pt x="294" y="762"/>
                </a:lnTo>
                <a:lnTo>
                  <a:pt x="294" y="768"/>
                </a:lnTo>
                <a:lnTo>
                  <a:pt x="294" y="774"/>
                </a:lnTo>
                <a:lnTo>
                  <a:pt x="288" y="774"/>
                </a:lnTo>
                <a:lnTo>
                  <a:pt x="288" y="768"/>
                </a:lnTo>
                <a:lnTo>
                  <a:pt x="288" y="774"/>
                </a:lnTo>
                <a:lnTo>
                  <a:pt x="288" y="780"/>
                </a:lnTo>
                <a:lnTo>
                  <a:pt x="288" y="786"/>
                </a:lnTo>
                <a:lnTo>
                  <a:pt x="288" y="780"/>
                </a:lnTo>
                <a:lnTo>
                  <a:pt x="294" y="780"/>
                </a:lnTo>
                <a:lnTo>
                  <a:pt x="294" y="774"/>
                </a:lnTo>
                <a:lnTo>
                  <a:pt x="300" y="774"/>
                </a:lnTo>
                <a:lnTo>
                  <a:pt x="300" y="780"/>
                </a:lnTo>
                <a:lnTo>
                  <a:pt x="300" y="786"/>
                </a:lnTo>
                <a:lnTo>
                  <a:pt x="294" y="792"/>
                </a:lnTo>
                <a:lnTo>
                  <a:pt x="294" y="798"/>
                </a:lnTo>
                <a:lnTo>
                  <a:pt x="294" y="804"/>
                </a:lnTo>
                <a:lnTo>
                  <a:pt x="288" y="804"/>
                </a:lnTo>
                <a:lnTo>
                  <a:pt x="288" y="810"/>
                </a:lnTo>
                <a:lnTo>
                  <a:pt x="282" y="816"/>
                </a:lnTo>
                <a:lnTo>
                  <a:pt x="282" y="822"/>
                </a:lnTo>
                <a:lnTo>
                  <a:pt x="276" y="822"/>
                </a:lnTo>
                <a:lnTo>
                  <a:pt x="270" y="828"/>
                </a:lnTo>
                <a:lnTo>
                  <a:pt x="264" y="834"/>
                </a:lnTo>
                <a:lnTo>
                  <a:pt x="258" y="834"/>
                </a:lnTo>
                <a:lnTo>
                  <a:pt x="252" y="840"/>
                </a:lnTo>
                <a:lnTo>
                  <a:pt x="246" y="840"/>
                </a:lnTo>
                <a:lnTo>
                  <a:pt x="240" y="840"/>
                </a:lnTo>
                <a:lnTo>
                  <a:pt x="234" y="840"/>
                </a:lnTo>
                <a:lnTo>
                  <a:pt x="240" y="840"/>
                </a:lnTo>
                <a:lnTo>
                  <a:pt x="234" y="840"/>
                </a:lnTo>
                <a:lnTo>
                  <a:pt x="234" y="846"/>
                </a:lnTo>
                <a:lnTo>
                  <a:pt x="228" y="846"/>
                </a:lnTo>
                <a:lnTo>
                  <a:pt x="222" y="846"/>
                </a:lnTo>
                <a:lnTo>
                  <a:pt x="216" y="852"/>
                </a:lnTo>
                <a:lnTo>
                  <a:pt x="210" y="852"/>
                </a:lnTo>
                <a:lnTo>
                  <a:pt x="204" y="852"/>
                </a:lnTo>
                <a:lnTo>
                  <a:pt x="204" y="858"/>
                </a:lnTo>
                <a:lnTo>
                  <a:pt x="198" y="858"/>
                </a:lnTo>
                <a:lnTo>
                  <a:pt x="192" y="858"/>
                </a:lnTo>
                <a:lnTo>
                  <a:pt x="186" y="864"/>
                </a:lnTo>
                <a:lnTo>
                  <a:pt x="180" y="864"/>
                </a:lnTo>
                <a:lnTo>
                  <a:pt x="174" y="870"/>
                </a:lnTo>
                <a:lnTo>
                  <a:pt x="168" y="870"/>
                </a:lnTo>
                <a:lnTo>
                  <a:pt x="162" y="876"/>
                </a:lnTo>
                <a:lnTo>
                  <a:pt x="156" y="882"/>
                </a:lnTo>
                <a:lnTo>
                  <a:pt x="150" y="882"/>
                </a:lnTo>
                <a:lnTo>
                  <a:pt x="150" y="888"/>
                </a:lnTo>
                <a:lnTo>
                  <a:pt x="144" y="888"/>
                </a:lnTo>
                <a:lnTo>
                  <a:pt x="144" y="894"/>
                </a:lnTo>
                <a:lnTo>
                  <a:pt x="144" y="900"/>
                </a:lnTo>
                <a:lnTo>
                  <a:pt x="144" y="906"/>
                </a:lnTo>
                <a:lnTo>
                  <a:pt x="144" y="900"/>
                </a:lnTo>
                <a:lnTo>
                  <a:pt x="144" y="894"/>
                </a:lnTo>
                <a:lnTo>
                  <a:pt x="138" y="894"/>
                </a:lnTo>
                <a:lnTo>
                  <a:pt x="144" y="894"/>
                </a:lnTo>
                <a:lnTo>
                  <a:pt x="144" y="900"/>
                </a:lnTo>
                <a:lnTo>
                  <a:pt x="138" y="900"/>
                </a:lnTo>
                <a:lnTo>
                  <a:pt x="138" y="906"/>
                </a:lnTo>
                <a:lnTo>
                  <a:pt x="138" y="912"/>
                </a:lnTo>
                <a:lnTo>
                  <a:pt x="132" y="912"/>
                </a:lnTo>
                <a:lnTo>
                  <a:pt x="132" y="906"/>
                </a:lnTo>
                <a:lnTo>
                  <a:pt x="126" y="912"/>
                </a:lnTo>
                <a:lnTo>
                  <a:pt x="132" y="912"/>
                </a:lnTo>
                <a:lnTo>
                  <a:pt x="126" y="912"/>
                </a:lnTo>
                <a:lnTo>
                  <a:pt x="126" y="918"/>
                </a:lnTo>
                <a:lnTo>
                  <a:pt x="126" y="912"/>
                </a:lnTo>
                <a:lnTo>
                  <a:pt x="132" y="912"/>
                </a:lnTo>
                <a:lnTo>
                  <a:pt x="138" y="912"/>
                </a:lnTo>
                <a:lnTo>
                  <a:pt x="138" y="918"/>
                </a:lnTo>
                <a:lnTo>
                  <a:pt x="138" y="924"/>
                </a:lnTo>
                <a:lnTo>
                  <a:pt x="138" y="930"/>
                </a:lnTo>
                <a:lnTo>
                  <a:pt x="144" y="930"/>
                </a:lnTo>
                <a:lnTo>
                  <a:pt x="138" y="930"/>
                </a:lnTo>
                <a:lnTo>
                  <a:pt x="138" y="936"/>
                </a:lnTo>
                <a:lnTo>
                  <a:pt x="138" y="930"/>
                </a:lnTo>
                <a:lnTo>
                  <a:pt x="144" y="930"/>
                </a:lnTo>
                <a:lnTo>
                  <a:pt x="138" y="930"/>
                </a:lnTo>
                <a:lnTo>
                  <a:pt x="138" y="924"/>
                </a:lnTo>
                <a:lnTo>
                  <a:pt x="144" y="924"/>
                </a:lnTo>
                <a:lnTo>
                  <a:pt x="144" y="930"/>
                </a:lnTo>
                <a:lnTo>
                  <a:pt x="150" y="930"/>
                </a:lnTo>
                <a:lnTo>
                  <a:pt x="150" y="924"/>
                </a:lnTo>
                <a:lnTo>
                  <a:pt x="150" y="918"/>
                </a:lnTo>
                <a:lnTo>
                  <a:pt x="156" y="918"/>
                </a:lnTo>
                <a:lnTo>
                  <a:pt x="156" y="924"/>
                </a:lnTo>
                <a:lnTo>
                  <a:pt x="156" y="930"/>
                </a:lnTo>
                <a:lnTo>
                  <a:pt x="156" y="936"/>
                </a:lnTo>
                <a:lnTo>
                  <a:pt x="156" y="942"/>
                </a:lnTo>
                <a:lnTo>
                  <a:pt x="150" y="942"/>
                </a:lnTo>
                <a:lnTo>
                  <a:pt x="150" y="948"/>
                </a:lnTo>
                <a:lnTo>
                  <a:pt x="150" y="954"/>
                </a:lnTo>
                <a:lnTo>
                  <a:pt x="150" y="960"/>
                </a:lnTo>
                <a:lnTo>
                  <a:pt x="150" y="966"/>
                </a:lnTo>
                <a:lnTo>
                  <a:pt x="144" y="966"/>
                </a:lnTo>
                <a:lnTo>
                  <a:pt x="120" y="966"/>
                </a:lnTo>
                <a:lnTo>
                  <a:pt x="114" y="960"/>
                </a:lnTo>
                <a:lnTo>
                  <a:pt x="114" y="966"/>
                </a:lnTo>
                <a:lnTo>
                  <a:pt x="108" y="966"/>
                </a:lnTo>
                <a:lnTo>
                  <a:pt x="108" y="954"/>
                </a:lnTo>
                <a:lnTo>
                  <a:pt x="108" y="942"/>
                </a:lnTo>
                <a:lnTo>
                  <a:pt x="108" y="936"/>
                </a:lnTo>
                <a:lnTo>
                  <a:pt x="108" y="930"/>
                </a:lnTo>
                <a:lnTo>
                  <a:pt x="108" y="924"/>
                </a:lnTo>
                <a:lnTo>
                  <a:pt x="108" y="912"/>
                </a:lnTo>
                <a:lnTo>
                  <a:pt x="102" y="912"/>
                </a:lnTo>
                <a:lnTo>
                  <a:pt x="102" y="906"/>
                </a:lnTo>
                <a:lnTo>
                  <a:pt x="96" y="900"/>
                </a:lnTo>
                <a:lnTo>
                  <a:pt x="102" y="900"/>
                </a:lnTo>
                <a:lnTo>
                  <a:pt x="102" y="894"/>
                </a:lnTo>
                <a:lnTo>
                  <a:pt x="102" y="888"/>
                </a:lnTo>
                <a:lnTo>
                  <a:pt x="102" y="882"/>
                </a:lnTo>
                <a:lnTo>
                  <a:pt x="102" y="876"/>
                </a:lnTo>
                <a:lnTo>
                  <a:pt x="102" y="870"/>
                </a:lnTo>
                <a:lnTo>
                  <a:pt x="102" y="864"/>
                </a:lnTo>
                <a:lnTo>
                  <a:pt x="102" y="858"/>
                </a:lnTo>
                <a:lnTo>
                  <a:pt x="102" y="852"/>
                </a:lnTo>
                <a:lnTo>
                  <a:pt x="102" y="846"/>
                </a:lnTo>
                <a:lnTo>
                  <a:pt x="102" y="840"/>
                </a:lnTo>
                <a:lnTo>
                  <a:pt x="102" y="834"/>
                </a:lnTo>
                <a:lnTo>
                  <a:pt x="102" y="828"/>
                </a:lnTo>
                <a:lnTo>
                  <a:pt x="102" y="822"/>
                </a:lnTo>
                <a:lnTo>
                  <a:pt x="102" y="816"/>
                </a:lnTo>
                <a:lnTo>
                  <a:pt x="102" y="810"/>
                </a:lnTo>
                <a:lnTo>
                  <a:pt x="102" y="804"/>
                </a:lnTo>
                <a:lnTo>
                  <a:pt x="96" y="798"/>
                </a:lnTo>
                <a:lnTo>
                  <a:pt x="96" y="786"/>
                </a:lnTo>
                <a:lnTo>
                  <a:pt x="90" y="780"/>
                </a:lnTo>
                <a:lnTo>
                  <a:pt x="84" y="774"/>
                </a:lnTo>
                <a:lnTo>
                  <a:pt x="84" y="768"/>
                </a:lnTo>
                <a:lnTo>
                  <a:pt x="84" y="762"/>
                </a:lnTo>
                <a:lnTo>
                  <a:pt x="78" y="756"/>
                </a:lnTo>
                <a:lnTo>
                  <a:pt x="78" y="750"/>
                </a:lnTo>
                <a:lnTo>
                  <a:pt x="78" y="744"/>
                </a:lnTo>
                <a:lnTo>
                  <a:pt x="78" y="738"/>
                </a:lnTo>
                <a:lnTo>
                  <a:pt x="78" y="732"/>
                </a:lnTo>
                <a:lnTo>
                  <a:pt x="72" y="732"/>
                </a:lnTo>
                <a:lnTo>
                  <a:pt x="72" y="726"/>
                </a:lnTo>
                <a:lnTo>
                  <a:pt x="72" y="714"/>
                </a:lnTo>
                <a:lnTo>
                  <a:pt x="66" y="702"/>
                </a:lnTo>
                <a:lnTo>
                  <a:pt x="66" y="690"/>
                </a:lnTo>
                <a:lnTo>
                  <a:pt x="72" y="684"/>
                </a:lnTo>
                <a:lnTo>
                  <a:pt x="78" y="678"/>
                </a:lnTo>
                <a:lnTo>
                  <a:pt x="96" y="660"/>
                </a:lnTo>
                <a:lnTo>
                  <a:pt x="120" y="630"/>
                </a:lnTo>
                <a:lnTo>
                  <a:pt x="126" y="624"/>
                </a:lnTo>
                <a:lnTo>
                  <a:pt x="126" y="630"/>
                </a:lnTo>
                <a:lnTo>
                  <a:pt x="126" y="624"/>
                </a:lnTo>
                <a:lnTo>
                  <a:pt x="126" y="618"/>
                </a:lnTo>
                <a:lnTo>
                  <a:pt x="120" y="618"/>
                </a:lnTo>
                <a:lnTo>
                  <a:pt x="120" y="612"/>
                </a:lnTo>
                <a:lnTo>
                  <a:pt x="126" y="612"/>
                </a:lnTo>
                <a:lnTo>
                  <a:pt x="126" y="606"/>
                </a:lnTo>
                <a:lnTo>
                  <a:pt x="132" y="600"/>
                </a:lnTo>
                <a:lnTo>
                  <a:pt x="132" y="594"/>
                </a:lnTo>
                <a:lnTo>
                  <a:pt x="132" y="588"/>
                </a:lnTo>
                <a:lnTo>
                  <a:pt x="126" y="588"/>
                </a:lnTo>
                <a:lnTo>
                  <a:pt x="132" y="582"/>
                </a:lnTo>
                <a:lnTo>
                  <a:pt x="138" y="582"/>
                </a:lnTo>
                <a:lnTo>
                  <a:pt x="144" y="576"/>
                </a:lnTo>
                <a:lnTo>
                  <a:pt x="144" y="570"/>
                </a:lnTo>
                <a:lnTo>
                  <a:pt x="150" y="564"/>
                </a:lnTo>
                <a:lnTo>
                  <a:pt x="150" y="558"/>
                </a:lnTo>
                <a:lnTo>
                  <a:pt x="150" y="552"/>
                </a:lnTo>
                <a:lnTo>
                  <a:pt x="150" y="558"/>
                </a:lnTo>
                <a:lnTo>
                  <a:pt x="150" y="552"/>
                </a:lnTo>
                <a:lnTo>
                  <a:pt x="156" y="552"/>
                </a:lnTo>
                <a:lnTo>
                  <a:pt x="156" y="546"/>
                </a:lnTo>
                <a:lnTo>
                  <a:pt x="162" y="540"/>
                </a:lnTo>
                <a:lnTo>
                  <a:pt x="162" y="534"/>
                </a:lnTo>
                <a:lnTo>
                  <a:pt x="156" y="534"/>
                </a:lnTo>
                <a:lnTo>
                  <a:pt x="156" y="528"/>
                </a:lnTo>
                <a:lnTo>
                  <a:pt x="150" y="528"/>
                </a:lnTo>
                <a:lnTo>
                  <a:pt x="150" y="522"/>
                </a:lnTo>
                <a:lnTo>
                  <a:pt x="150" y="516"/>
                </a:lnTo>
                <a:lnTo>
                  <a:pt x="144" y="516"/>
                </a:lnTo>
                <a:lnTo>
                  <a:pt x="144" y="510"/>
                </a:lnTo>
                <a:lnTo>
                  <a:pt x="150" y="510"/>
                </a:lnTo>
                <a:lnTo>
                  <a:pt x="150" y="504"/>
                </a:lnTo>
                <a:lnTo>
                  <a:pt x="150" y="498"/>
                </a:lnTo>
                <a:lnTo>
                  <a:pt x="150" y="492"/>
                </a:lnTo>
                <a:lnTo>
                  <a:pt x="144" y="492"/>
                </a:lnTo>
                <a:lnTo>
                  <a:pt x="138" y="486"/>
                </a:lnTo>
                <a:lnTo>
                  <a:pt x="144" y="486"/>
                </a:lnTo>
                <a:lnTo>
                  <a:pt x="144" y="480"/>
                </a:lnTo>
                <a:lnTo>
                  <a:pt x="138" y="480"/>
                </a:lnTo>
                <a:lnTo>
                  <a:pt x="144" y="480"/>
                </a:lnTo>
                <a:lnTo>
                  <a:pt x="144" y="474"/>
                </a:lnTo>
                <a:lnTo>
                  <a:pt x="150" y="474"/>
                </a:lnTo>
                <a:lnTo>
                  <a:pt x="150" y="480"/>
                </a:lnTo>
                <a:lnTo>
                  <a:pt x="150" y="474"/>
                </a:lnTo>
                <a:lnTo>
                  <a:pt x="156" y="474"/>
                </a:lnTo>
                <a:lnTo>
                  <a:pt x="156" y="468"/>
                </a:lnTo>
                <a:lnTo>
                  <a:pt x="150" y="468"/>
                </a:lnTo>
                <a:lnTo>
                  <a:pt x="150" y="462"/>
                </a:lnTo>
                <a:lnTo>
                  <a:pt x="156" y="462"/>
                </a:lnTo>
                <a:lnTo>
                  <a:pt x="156" y="456"/>
                </a:lnTo>
                <a:lnTo>
                  <a:pt x="156" y="462"/>
                </a:lnTo>
                <a:lnTo>
                  <a:pt x="156" y="456"/>
                </a:lnTo>
                <a:lnTo>
                  <a:pt x="162" y="450"/>
                </a:lnTo>
                <a:lnTo>
                  <a:pt x="156" y="450"/>
                </a:lnTo>
                <a:lnTo>
                  <a:pt x="156" y="444"/>
                </a:lnTo>
                <a:lnTo>
                  <a:pt x="156" y="438"/>
                </a:lnTo>
                <a:lnTo>
                  <a:pt x="156" y="432"/>
                </a:lnTo>
                <a:lnTo>
                  <a:pt x="156" y="426"/>
                </a:lnTo>
                <a:lnTo>
                  <a:pt x="156" y="420"/>
                </a:lnTo>
                <a:lnTo>
                  <a:pt x="156" y="414"/>
                </a:lnTo>
                <a:lnTo>
                  <a:pt x="156" y="408"/>
                </a:lnTo>
                <a:lnTo>
                  <a:pt x="162" y="408"/>
                </a:lnTo>
                <a:lnTo>
                  <a:pt x="156" y="408"/>
                </a:lnTo>
                <a:lnTo>
                  <a:pt x="156" y="402"/>
                </a:lnTo>
                <a:lnTo>
                  <a:pt x="156" y="396"/>
                </a:lnTo>
                <a:lnTo>
                  <a:pt x="162" y="396"/>
                </a:lnTo>
                <a:lnTo>
                  <a:pt x="162" y="390"/>
                </a:lnTo>
                <a:lnTo>
                  <a:pt x="156" y="390"/>
                </a:lnTo>
                <a:lnTo>
                  <a:pt x="156" y="384"/>
                </a:lnTo>
                <a:lnTo>
                  <a:pt x="156" y="378"/>
                </a:lnTo>
                <a:lnTo>
                  <a:pt x="156" y="372"/>
                </a:lnTo>
                <a:lnTo>
                  <a:pt x="150" y="372"/>
                </a:lnTo>
                <a:lnTo>
                  <a:pt x="150" y="366"/>
                </a:lnTo>
                <a:lnTo>
                  <a:pt x="156" y="360"/>
                </a:lnTo>
                <a:lnTo>
                  <a:pt x="156" y="354"/>
                </a:lnTo>
                <a:lnTo>
                  <a:pt x="150" y="354"/>
                </a:lnTo>
                <a:lnTo>
                  <a:pt x="144" y="354"/>
                </a:lnTo>
                <a:lnTo>
                  <a:pt x="138" y="354"/>
                </a:lnTo>
                <a:lnTo>
                  <a:pt x="144" y="354"/>
                </a:lnTo>
                <a:lnTo>
                  <a:pt x="144" y="348"/>
                </a:lnTo>
                <a:lnTo>
                  <a:pt x="138" y="348"/>
                </a:lnTo>
                <a:lnTo>
                  <a:pt x="132" y="348"/>
                </a:lnTo>
                <a:lnTo>
                  <a:pt x="126" y="342"/>
                </a:lnTo>
                <a:lnTo>
                  <a:pt x="120" y="342"/>
                </a:lnTo>
                <a:lnTo>
                  <a:pt x="114" y="342"/>
                </a:lnTo>
                <a:lnTo>
                  <a:pt x="108" y="342"/>
                </a:lnTo>
                <a:lnTo>
                  <a:pt x="102" y="342"/>
                </a:lnTo>
                <a:lnTo>
                  <a:pt x="102" y="336"/>
                </a:lnTo>
                <a:lnTo>
                  <a:pt x="96" y="336"/>
                </a:lnTo>
                <a:lnTo>
                  <a:pt x="96" y="330"/>
                </a:lnTo>
                <a:lnTo>
                  <a:pt x="90" y="330"/>
                </a:lnTo>
                <a:lnTo>
                  <a:pt x="84" y="330"/>
                </a:lnTo>
                <a:lnTo>
                  <a:pt x="84" y="324"/>
                </a:lnTo>
                <a:lnTo>
                  <a:pt x="78" y="324"/>
                </a:lnTo>
                <a:lnTo>
                  <a:pt x="72" y="324"/>
                </a:lnTo>
                <a:lnTo>
                  <a:pt x="66" y="324"/>
                </a:lnTo>
                <a:lnTo>
                  <a:pt x="66" y="318"/>
                </a:lnTo>
                <a:lnTo>
                  <a:pt x="60" y="318"/>
                </a:lnTo>
                <a:lnTo>
                  <a:pt x="60" y="312"/>
                </a:lnTo>
                <a:lnTo>
                  <a:pt x="54" y="312"/>
                </a:lnTo>
                <a:lnTo>
                  <a:pt x="48" y="312"/>
                </a:lnTo>
                <a:lnTo>
                  <a:pt x="48" y="318"/>
                </a:lnTo>
                <a:lnTo>
                  <a:pt x="42" y="318"/>
                </a:lnTo>
                <a:lnTo>
                  <a:pt x="42" y="312"/>
                </a:lnTo>
                <a:lnTo>
                  <a:pt x="36" y="312"/>
                </a:lnTo>
                <a:lnTo>
                  <a:pt x="30" y="312"/>
                </a:lnTo>
                <a:lnTo>
                  <a:pt x="24" y="312"/>
                </a:lnTo>
                <a:lnTo>
                  <a:pt x="18" y="312"/>
                </a:lnTo>
                <a:lnTo>
                  <a:pt x="12" y="312"/>
                </a:lnTo>
                <a:lnTo>
                  <a:pt x="12" y="306"/>
                </a:lnTo>
                <a:lnTo>
                  <a:pt x="12" y="300"/>
                </a:lnTo>
                <a:lnTo>
                  <a:pt x="12" y="294"/>
                </a:lnTo>
                <a:lnTo>
                  <a:pt x="12" y="288"/>
                </a:lnTo>
                <a:lnTo>
                  <a:pt x="12" y="282"/>
                </a:lnTo>
                <a:lnTo>
                  <a:pt x="12" y="276"/>
                </a:lnTo>
                <a:lnTo>
                  <a:pt x="6" y="270"/>
                </a:lnTo>
                <a:lnTo>
                  <a:pt x="6" y="264"/>
                </a:lnTo>
                <a:lnTo>
                  <a:pt x="0" y="264"/>
                </a:lnTo>
                <a:lnTo>
                  <a:pt x="0" y="258"/>
                </a:lnTo>
                <a:lnTo>
                  <a:pt x="6" y="258"/>
                </a:lnTo>
                <a:lnTo>
                  <a:pt x="0" y="258"/>
                </a:lnTo>
                <a:lnTo>
                  <a:pt x="6" y="252"/>
                </a:lnTo>
                <a:lnTo>
                  <a:pt x="12" y="252"/>
                </a:lnTo>
                <a:lnTo>
                  <a:pt x="18" y="252"/>
                </a:lnTo>
                <a:lnTo>
                  <a:pt x="24" y="246"/>
                </a:lnTo>
                <a:lnTo>
                  <a:pt x="30" y="246"/>
                </a:lnTo>
                <a:lnTo>
                  <a:pt x="36" y="246"/>
                </a:lnTo>
                <a:lnTo>
                  <a:pt x="48" y="240"/>
                </a:lnTo>
                <a:lnTo>
                  <a:pt x="54" y="240"/>
                </a:lnTo>
                <a:lnTo>
                  <a:pt x="60" y="234"/>
                </a:lnTo>
                <a:lnTo>
                  <a:pt x="66" y="234"/>
                </a:lnTo>
                <a:lnTo>
                  <a:pt x="72" y="234"/>
                </a:lnTo>
                <a:lnTo>
                  <a:pt x="78" y="234"/>
                </a:lnTo>
                <a:lnTo>
                  <a:pt x="78" y="228"/>
                </a:lnTo>
                <a:lnTo>
                  <a:pt x="84" y="228"/>
                </a:lnTo>
                <a:lnTo>
                  <a:pt x="90" y="228"/>
                </a:lnTo>
                <a:lnTo>
                  <a:pt x="96" y="222"/>
                </a:lnTo>
                <a:lnTo>
                  <a:pt x="102" y="222"/>
                </a:lnTo>
                <a:lnTo>
                  <a:pt x="108" y="222"/>
                </a:lnTo>
                <a:lnTo>
                  <a:pt x="108" y="216"/>
                </a:lnTo>
                <a:lnTo>
                  <a:pt x="114" y="216"/>
                </a:lnTo>
                <a:lnTo>
                  <a:pt x="120" y="216"/>
                </a:lnTo>
                <a:lnTo>
                  <a:pt x="126" y="216"/>
                </a:lnTo>
                <a:lnTo>
                  <a:pt x="132" y="210"/>
                </a:lnTo>
                <a:lnTo>
                  <a:pt x="138" y="210"/>
                </a:lnTo>
                <a:lnTo>
                  <a:pt x="150" y="204"/>
                </a:lnTo>
                <a:lnTo>
                  <a:pt x="156" y="204"/>
                </a:lnTo>
                <a:lnTo>
                  <a:pt x="162" y="204"/>
                </a:lnTo>
                <a:lnTo>
                  <a:pt x="168" y="198"/>
                </a:lnTo>
                <a:close/>
                <a:moveTo>
                  <a:pt x="252" y="84"/>
                </a:moveTo>
                <a:lnTo>
                  <a:pt x="258" y="84"/>
                </a:lnTo>
                <a:lnTo>
                  <a:pt x="258" y="90"/>
                </a:lnTo>
                <a:lnTo>
                  <a:pt x="252" y="90"/>
                </a:lnTo>
                <a:lnTo>
                  <a:pt x="252" y="84"/>
                </a:lnTo>
                <a:close/>
                <a:moveTo>
                  <a:pt x="534" y="330"/>
                </a:moveTo>
                <a:lnTo>
                  <a:pt x="540" y="330"/>
                </a:lnTo>
                <a:lnTo>
                  <a:pt x="540" y="336"/>
                </a:lnTo>
                <a:lnTo>
                  <a:pt x="534" y="336"/>
                </a:lnTo>
                <a:lnTo>
                  <a:pt x="534" y="330"/>
                </a:lnTo>
                <a:close/>
                <a:moveTo>
                  <a:pt x="294" y="648"/>
                </a:moveTo>
                <a:lnTo>
                  <a:pt x="294" y="642"/>
                </a:lnTo>
                <a:lnTo>
                  <a:pt x="294" y="636"/>
                </a:lnTo>
                <a:lnTo>
                  <a:pt x="294" y="642"/>
                </a:lnTo>
                <a:lnTo>
                  <a:pt x="294" y="648"/>
                </a:lnTo>
                <a:lnTo>
                  <a:pt x="294" y="654"/>
                </a:lnTo>
                <a:lnTo>
                  <a:pt x="294" y="648"/>
                </a:lnTo>
                <a:close/>
                <a:moveTo>
                  <a:pt x="150" y="912"/>
                </a:moveTo>
                <a:lnTo>
                  <a:pt x="156" y="912"/>
                </a:lnTo>
                <a:lnTo>
                  <a:pt x="156" y="918"/>
                </a:lnTo>
                <a:lnTo>
                  <a:pt x="150" y="918"/>
                </a:lnTo>
                <a:lnTo>
                  <a:pt x="150" y="912"/>
                </a:lnTo>
                <a:close/>
                <a:moveTo>
                  <a:pt x="330" y="480"/>
                </a:moveTo>
                <a:lnTo>
                  <a:pt x="342" y="480"/>
                </a:lnTo>
                <a:lnTo>
                  <a:pt x="342" y="486"/>
                </a:lnTo>
                <a:lnTo>
                  <a:pt x="330" y="486"/>
                </a:lnTo>
                <a:lnTo>
                  <a:pt x="330" y="480"/>
                </a:lnTo>
                <a:close/>
                <a:moveTo>
                  <a:pt x="294" y="654"/>
                </a:moveTo>
                <a:lnTo>
                  <a:pt x="294" y="660"/>
                </a:lnTo>
                <a:lnTo>
                  <a:pt x="295" y="660"/>
                </a:lnTo>
                <a:lnTo>
                  <a:pt x="294" y="654"/>
                </a:lnTo>
                <a:close/>
                <a:moveTo>
                  <a:pt x="576" y="102"/>
                </a:moveTo>
                <a:lnTo>
                  <a:pt x="582" y="102"/>
                </a:lnTo>
                <a:lnTo>
                  <a:pt x="582" y="108"/>
                </a:lnTo>
                <a:lnTo>
                  <a:pt x="576" y="108"/>
                </a:lnTo>
                <a:lnTo>
                  <a:pt x="576" y="102"/>
                </a:lnTo>
                <a:close/>
                <a:moveTo>
                  <a:pt x="576" y="96"/>
                </a:moveTo>
                <a:lnTo>
                  <a:pt x="582" y="96"/>
                </a:lnTo>
                <a:lnTo>
                  <a:pt x="576" y="96"/>
                </a:lnTo>
                <a:close/>
                <a:moveTo>
                  <a:pt x="564" y="684"/>
                </a:moveTo>
                <a:lnTo>
                  <a:pt x="570" y="684"/>
                </a:lnTo>
                <a:lnTo>
                  <a:pt x="570" y="690"/>
                </a:lnTo>
                <a:lnTo>
                  <a:pt x="564" y="690"/>
                </a:lnTo>
                <a:lnTo>
                  <a:pt x="564" y="684"/>
                </a:lnTo>
                <a:close/>
                <a:moveTo>
                  <a:pt x="582" y="30"/>
                </a:moveTo>
                <a:lnTo>
                  <a:pt x="588" y="30"/>
                </a:lnTo>
                <a:lnTo>
                  <a:pt x="582" y="30"/>
                </a:lnTo>
                <a:close/>
                <a:moveTo>
                  <a:pt x="348" y="468"/>
                </a:moveTo>
                <a:lnTo>
                  <a:pt x="348" y="474"/>
                </a:lnTo>
                <a:lnTo>
                  <a:pt x="349" y="474"/>
                </a:lnTo>
                <a:lnTo>
                  <a:pt x="348" y="468"/>
                </a:lnTo>
                <a:close/>
                <a:moveTo>
                  <a:pt x="252" y="576"/>
                </a:moveTo>
                <a:lnTo>
                  <a:pt x="252" y="582"/>
                </a:lnTo>
                <a:lnTo>
                  <a:pt x="253" y="582"/>
                </a:lnTo>
                <a:lnTo>
                  <a:pt x="252" y="576"/>
                </a:lnTo>
                <a:close/>
                <a:moveTo>
                  <a:pt x="582" y="36"/>
                </a:moveTo>
                <a:lnTo>
                  <a:pt x="588" y="36"/>
                </a:lnTo>
                <a:lnTo>
                  <a:pt x="582" y="36"/>
                </a:lnTo>
                <a:close/>
                <a:moveTo>
                  <a:pt x="540" y="330"/>
                </a:moveTo>
                <a:lnTo>
                  <a:pt x="546" y="330"/>
                </a:lnTo>
                <a:lnTo>
                  <a:pt x="546" y="336"/>
                </a:lnTo>
                <a:lnTo>
                  <a:pt x="540" y="336"/>
                </a:lnTo>
                <a:lnTo>
                  <a:pt x="540" y="330"/>
                </a:lnTo>
                <a:close/>
                <a:moveTo>
                  <a:pt x="582" y="12"/>
                </a:moveTo>
                <a:lnTo>
                  <a:pt x="582" y="18"/>
                </a:lnTo>
                <a:lnTo>
                  <a:pt x="583" y="18"/>
                </a:lnTo>
                <a:lnTo>
                  <a:pt x="582" y="12"/>
                </a:lnTo>
                <a:close/>
                <a:moveTo>
                  <a:pt x="246" y="576"/>
                </a:moveTo>
                <a:lnTo>
                  <a:pt x="252" y="576"/>
                </a:lnTo>
                <a:lnTo>
                  <a:pt x="246" y="576"/>
                </a:lnTo>
                <a:close/>
                <a:moveTo>
                  <a:pt x="252" y="534"/>
                </a:moveTo>
                <a:lnTo>
                  <a:pt x="258" y="534"/>
                </a:lnTo>
                <a:lnTo>
                  <a:pt x="252" y="534"/>
                </a:lnTo>
                <a:close/>
                <a:moveTo>
                  <a:pt x="534" y="330"/>
                </a:moveTo>
                <a:lnTo>
                  <a:pt x="534" y="336"/>
                </a:lnTo>
                <a:lnTo>
                  <a:pt x="535" y="336"/>
                </a:lnTo>
                <a:lnTo>
                  <a:pt x="534" y="330"/>
                </a:lnTo>
                <a:close/>
                <a:moveTo>
                  <a:pt x="306" y="492"/>
                </a:moveTo>
                <a:lnTo>
                  <a:pt x="312" y="492"/>
                </a:lnTo>
                <a:lnTo>
                  <a:pt x="312" y="498"/>
                </a:lnTo>
                <a:lnTo>
                  <a:pt x="306" y="498"/>
                </a:lnTo>
                <a:lnTo>
                  <a:pt x="306" y="492"/>
                </a:lnTo>
                <a:close/>
                <a:moveTo>
                  <a:pt x="246" y="528"/>
                </a:moveTo>
                <a:lnTo>
                  <a:pt x="252" y="528"/>
                </a:lnTo>
                <a:lnTo>
                  <a:pt x="246" y="528"/>
                </a:lnTo>
                <a:close/>
                <a:moveTo>
                  <a:pt x="576" y="84"/>
                </a:moveTo>
                <a:lnTo>
                  <a:pt x="582" y="84"/>
                </a:lnTo>
                <a:lnTo>
                  <a:pt x="576" y="84"/>
                </a:lnTo>
                <a:close/>
                <a:moveTo>
                  <a:pt x="138" y="906"/>
                </a:moveTo>
                <a:lnTo>
                  <a:pt x="144" y="906"/>
                </a:lnTo>
                <a:lnTo>
                  <a:pt x="138" y="906"/>
                </a:lnTo>
                <a:close/>
                <a:moveTo>
                  <a:pt x="252" y="534"/>
                </a:moveTo>
                <a:lnTo>
                  <a:pt x="258" y="534"/>
                </a:lnTo>
                <a:lnTo>
                  <a:pt x="252" y="534"/>
                </a:lnTo>
                <a:close/>
                <a:moveTo>
                  <a:pt x="576" y="282"/>
                </a:moveTo>
                <a:lnTo>
                  <a:pt x="582" y="282"/>
                </a:lnTo>
                <a:lnTo>
                  <a:pt x="576" y="282"/>
                </a:lnTo>
                <a:close/>
                <a:moveTo>
                  <a:pt x="498" y="366"/>
                </a:moveTo>
                <a:lnTo>
                  <a:pt x="498" y="372"/>
                </a:lnTo>
                <a:lnTo>
                  <a:pt x="499" y="372"/>
                </a:lnTo>
                <a:lnTo>
                  <a:pt x="498" y="366"/>
                </a:lnTo>
                <a:close/>
                <a:moveTo>
                  <a:pt x="294" y="654"/>
                </a:moveTo>
                <a:lnTo>
                  <a:pt x="294" y="660"/>
                </a:lnTo>
                <a:lnTo>
                  <a:pt x="295" y="660"/>
                </a:lnTo>
                <a:lnTo>
                  <a:pt x="294" y="654"/>
                </a:lnTo>
                <a:close/>
                <a:moveTo>
                  <a:pt x="252" y="540"/>
                </a:moveTo>
                <a:lnTo>
                  <a:pt x="258" y="540"/>
                </a:lnTo>
                <a:lnTo>
                  <a:pt x="252" y="540"/>
                </a:lnTo>
                <a:close/>
                <a:moveTo>
                  <a:pt x="150" y="912"/>
                </a:moveTo>
                <a:lnTo>
                  <a:pt x="156" y="912"/>
                </a:lnTo>
                <a:lnTo>
                  <a:pt x="150" y="912"/>
                </a:lnTo>
                <a:close/>
                <a:moveTo>
                  <a:pt x="294" y="774"/>
                </a:moveTo>
                <a:lnTo>
                  <a:pt x="294" y="780"/>
                </a:lnTo>
                <a:lnTo>
                  <a:pt x="295" y="780"/>
                </a:lnTo>
                <a:lnTo>
                  <a:pt x="294" y="774"/>
                </a:lnTo>
                <a:close/>
                <a:moveTo>
                  <a:pt x="366" y="444"/>
                </a:moveTo>
                <a:lnTo>
                  <a:pt x="372" y="444"/>
                </a:lnTo>
                <a:lnTo>
                  <a:pt x="366" y="444"/>
                </a:lnTo>
                <a:close/>
                <a:moveTo>
                  <a:pt x="348" y="462"/>
                </a:moveTo>
                <a:lnTo>
                  <a:pt x="354" y="462"/>
                </a:lnTo>
                <a:lnTo>
                  <a:pt x="348" y="462"/>
                </a:lnTo>
                <a:close/>
                <a:moveTo>
                  <a:pt x="534" y="330"/>
                </a:moveTo>
                <a:lnTo>
                  <a:pt x="534" y="336"/>
                </a:lnTo>
                <a:lnTo>
                  <a:pt x="535" y="336"/>
                </a:lnTo>
                <a:lnTo>
                  <a:pt x="534" y="330"/>
                </a:lnTo>
                <a:close/>
                <a:moveTo>
                  <a:pt x="366" y="444"/>
                </a:moveTo>
                <a:lnTo>
                  <a:pt x="372" y="444"/>
                </a:lnTo>
                <a:lnTo>
                  <a:pt x="366" y="444"/>
                </a:lnTo>
                <a:close/>
              </a:path>
            </a:pathLst>
          </a:custGeom>
          <a:solidFill>
            <a:schemeClr val="accent1">
              <a:lumMod val="50000"/>
            </a:schemeClr>
          </a:solidFill>
          <a:ln w="9525" cap="flat" cmpd="sng">
            <a:solidFill>
              <a:schemeClr val="bg1"/>
            </a:solidFill>
            <a:prstDash val="solid"/>
            <a:round/>
            <a:headEnd type="none" w="med" len="med"/>
            <a:tailEnd type="none" w="med" len="med"/>
          </a:ln>
          <a:effectLst/>
        </p:spPr>
        <p:txBody>
          <a:bodyPr/>
          <a:lstStyle/>
          <a:p>
            <a:endParaRPr lang="en-CA" sz="612"/>
          </a:p>
        </p:txBody>
      </p:sp>
      <p:sp>
        <p:nvSpPr>
          <p:cNvPr id="64" name="Freeform 58">
            <a:extLst>
              <a:ext uri="{FF2B5EF4-FFF2-40B4-BE49-F238E27FC236}">
                <a16:creationId xmlns:a16="http://schemas.microsoft.com/office/drawing/2014/main" id="{8C563789-BA7C-5D48-A1B7-45BF5733DB6C}"/>
              </a:ext>
            </a:extLst>
          </p:cNvPr>
          <p:cNvSpPr>
            <a:spLocks/>
          </p:cNvSpPr>
          <p:nvPr>
            <p:custDataLst>
              <p:tags r:id="rId52"/>
            </p:custDataLst>
          </p:nvPr>
        </p:nvSpPr>
        <p:spPr bwMode="gray">
          <a:xfrm>
            <a:off x="5280406" y="5977972"/>
            <a:ext cx="153140" cy="113750"/>
          </a:xfrm>
          <a:custGeom>
            <a:avLst/>
            <a:gdLst>
              <a:gd name="T0" fmla="*/ 43031 w 132"/>
              <a:gd name="T1" fmla="*/ 27133 h 132"/>
              <a:gd name="T2" fmla="*/ 43031 w 132"/>
              <a:gd name="T3" fmla="*/ 27133 h 132"/>
              <a:gd name="T4" fmla="*/ 41075 w 132"/>
              <a:gd name="T5" fmla="*/ 30039 h 132"/>
              <a:gd name="T6" fmla="*/ 41075 w 132"/>
              <a:gd name="T7" fmla="*/ 30039 h 132"/>
              <a:gd name="T8" fmla="*/ 38141 w 132"/>
              <a:gd name="T9" fmla="*/ 31978 h 132"/>
              <a:gd name="T10" fmla="*/ 34229 w 132"/>
              <a:gd name="T11" fmla="*/ 33916 h 132"/>
              <a:gd name="T12" fmla="*/ 30318 w 132"/>
              <a:gd name="T13" fmla="*/ 33916 h 132"/>
              <a:gd name="T14" fmla="*/ 30318 w 132"/>
              <a:gd name="T15" fmla="*/ 33916 h 132"/>
              <a:gd name="T16" fmla="*/ 27384 w 132"/>
              <a:gd name="T17" fmla="*/ 33916 h 132"/>
              <a:gd name="T18" fmla="*/ 26406 w 132"/>
              <a:gd name="T19" fmla="*/ 37792 h 132"/>
              <a:gd name="T20" fmla="*/ 23472 w 132"/>
              <a:gd name="T21" fmla="*/ 40699 h 132"/>
              <a:gd name="T22" fmla="*/ 21515 w 132"/>
              <a:gd name="T23" fmla="*/ 42637 h 132"/>
              <a:gd name="T24" fmla="*/ 21515 w 132"/>
              <a:gd name="T25" fmla="*/ 42637 h 132"/>
              <a:gd name="T26" fmla="*/ 21515 w 132"/>
              <a:gd name="T27" fmla="*/ 46513 h 132"/>
              <a:gd name="T28" fmla="*/ 17604 w 132"/>
              <a:gd name="T29" fmla="*/ 46513 h 132"/>
              <a:gd name="T30" fmla="*/ 14670 w 132"/>
              <a:gd name="T31" fmla="*/ 44575 h 132"/>
              <a:gd name="T32" fmla="*/ 12714 w 132"/>
              <a:gd name="T33" fmla="*/ 42637 h 132"/>
              <a:gd name="T34" fmla="*/ 10758 w 132"/>
              <a:gd name="T35" fmla="*/ 40699 h 132"/>
              <a:gd name="T36" fmla="*/ 8802 w 132"/>
              <a:gd name="T37" fmla="*/ 37792 h 132"/>
              <a:gd name="T38" fmla="*/ 6846 w 132"/>
              <a:gd name="T39" fmla="*/ 36823 h 132"/>
              <a:gd name="T40" fmla="*/ 6846 w 132"/>
              <a:gd name="T41" fmla="*/ 36823 h 132"/>
              <a:gd name="T42" fmla="*/ 3912 w 132"/>
              <a:gd name="T43" fmla="*/ 33916 h 132"/>
              <a:gd name="T44" fmla="*/ 3912 w 132"/>
              <a:gd name="T45" fmla="*/ 30039 h 132"/>
              <a:gd name="T46" fmla="*/ 1956 w 132"/>
              <a:gd name="T47" fmla="*/ 27133 h 132"/>
              <a:gd name="T48" fmla="*/ 0 w 132"/>
              <a:gd name="T49" fmla="*/ 26164 h 132"/>
              <a:gd name="T50" fmla="*/ 1956 w 132"/>
              <a:gd name="T51" fmla="*/ 23256 h 132"/>
              <a:gd name="T52" fmla="*/ 3912 w 132"/>
              <a:gd name="T53" fmla="*/ 21319 h 132"/>
              <a:gd name="T54" fmla="*/ 3912 w 132"/>
              <a:gd name="T55" fmla="*/ 21319 h 132"/>
              <a:gd name="T56" fmla="*/ 8802 w 132"/>
              <a:gd name="T57" fmla="*/ 19380 h 132"/>
              <a:gd name="T58" fmla="*/ 6846 w 132"/>
              <a:gd name="T59" fmla="*/ 17442 h 132"/>
              <a:gd name="T60" fmla="*/ 8802 w 132"/>
              <a:gd name="T61" fmla="*/ 14535 h 132"/>
              <a:gd name="T62" fmla="*/ 8802 w 132"/>
              <a:gd name="T63" fmla="*/ 14535 h 132"/>
              <a:gd name="T64" fmla="*/ 10758 w 132"/>
              <a:gd name="T65" fmla="*/ 12597 h 132"/>
              <a:gd name="T66" fmla="*/ 12714 w 132"/>
              <a:gd name="T67" fmla="*/ 10659 h 132"/>
              <a:gd name="T68" fmla="*/ 14670 w 132"/>
              <a:gd name="T69" fmla="*/ 8721 h 132"/>
              <a:gd name="T70" fmla="*/ 17604 w 132"/>
              <a:gd name="T71" fmla="*/ 6783 h 132"/>
              <a:gd name="T72" fmla="*/ 19560 w 132"/>
              <a:gd name="T73" fmla="*/ 3876 h 132"/>
              <a:gd name="T74" fmla="*/ 21515 w 132"/>
              <a:gd name="T75" fmla="*/ 1938 h 132"/>
              <a:gd name="T76" fmla="*/ 21515 w 132"/>
              <a:gd name="T77" fmla="*/ 1938 h 132"/>
              <a:gd name="T78" fmla="*/ 26406 w 132"/>
              <a:gd name="T79" fmla="*/ 1938 h 132"/>
              <a:gd name="T80" fmla="*/ 30318 w 132"/>
              <a:gd name="T81" fmla="*/ 0 h 132"/>
              <a:gd name="T82" fmla="*/ 32273 w 132"/>
              <a:gd name="T83" fmla="*/ 1938 h 132"/>
              <a:gd name="T84" fmla="*/ 34229 w 132"/>
              <a:gd name="T85" fmla="*/ 3876 h 132"/>
              <a:gd name="T86" fmla="*/ 38141 w 132"/>
              <a:gd name="T87" fmla="*/ 6783 h 132"/>
              <a:gd name="T88" fmla="*/ 43031 w 132"/>
              <a:gd name="T89" fmla="*/ 8721 h 132"/>
              <a:gd name="T90" fmla="*/ 44987 w 132"/>
              <a:gd name="T91" fmla="*/ 10659 h 132"/>
              <a:gd name="T92" fmla="*/ 46943 w 132"/>
              <a:gd name="T93" fmla="*/ 12597 h 132"/>
              <a:gd name="T94" fmla="*/ 46943 w 132"/>
              <a:gd name="T95" fmla="*/ 17442 h 132"/>
              <a:gd name="T96" fmla="*/ 44987 w 132"/>
              <a:gd name="T97" fmla="*/ 19380 h 132"/>
              <a:gd name="T98" fmla="*/ 44987 w 132"/>
              <a:gd name="T99" fmla="*/ 23256 h 132"/>
              <a:gd name="T100" fmla="*/ 43031 w 132"/>
              <a:gd name="T101" fmla="*/ 26164 h 132"/>
              <a:gd name="T102" fmla="*/ 43031 w 132"/>
              <a:gd name="T103" fmla="*/ 2616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 h="132">
                <a:moveTo>
                  <a:pt x="120" y="72"/>
                </a:moveTo>
                <a:lnTo>
                  <a:pt x="120" y="78"/>
                </a:lnTo>
                <a:lnTo>
                  <a:pt x="114" y="78"/>
                </a:lnTo>
                <a:lnTo>
                  <a:pt x="120" y="78"/>
                </a:lnTo>
                <a:lnTo>
                  <a:pt x="120" y="84"/>
                </a:lnTo>
                <a:lnTo>
                  <a:pt x="114" y="84"/>
                </a:lnTo>
                <a:lnTo>
                  <a:pt x="114" y="90"/>
                </a:lnTo>
                <a:lnTo>
                  <a:pt x="114" y="84"/>
                </a:lnTo>
                <a:lnTo>
                  <a:pt x="114" y="90"/>
                </a:lnTo>
                <a:lnTo>
                  <a:pt x="108" y="90"/>
                </a:lnTo>
                <a:lnTo>
                  <a:pt x="102" y="96"/>
                </a:lnTo>
                <a:lnTo>
                  <a:pt x="96" y="96"/>
                </a:lnTo>
                <a:lnTo>
                  <a:pt x="90" y="96"/>
                </a:lnTo>
                <a:lnTo>
                  <a:pt x="84" y="96"/>
                </a:lnTo>
                <a:lnTo>
                  <a:pt x="84" y="102"/>
                </a:lnTo>
                <a:lnTo>
                  <a:pt x="84" y="96"/>
                </a:lnTo>
                <a:lnTo>
                  <a:pt x="78" y="102"/>
                </a:lnTo>
                <a:lnTo>
                  <a:pt x="78" y="96"/>
                </a:lnTo>
                <a:lnTo>
                  <a:pt x="72" y="102"/>
                </a:lnTo>
                <a:lnTo>
                  <a:pt x="72" y="108"/>
                </a:lnTo>
                <a:lnTo>
                  <a:pt x="66" y="108"/>
                </a:lnTo>
                <a:lnTo>
                  <a:pt x="66" y="114"/>
                </a:lnTo>
                <a:lnTo>
                  <a:pt x="66" y="120"/>
                </a:lnTo>
                <a:lnTo>
                  <a:pt x="60" y="120"/>
                </a:lnTo>
                <a:lnTo>
                  <a:pt x="66" y="120"/>
                </a:lnTo>
                <a:lnTo>
                  <a:pt x="60" y="120"/>
                </a:lnTo>
                <a:lnTo>
                  <a:pt x="60" y="126"/>
                </a:lnTo>
                <a:lnTo>
                  <a:pt x="60" y="132"/>
                </a:lnTo>
                <a:lnTo>
                  <a:pt x="54" y="132"/>
                </a:lnTo>
                <a:lnTo>
                  <a:pt x="48" y="132"/>
                </a:lnTo>
                <a:lnTo>
                  <a:pt x="48" y="126"/>
                </a:lnTo>
                <a:lnTo>
                  <a:pt x="42" y="126"/>
                </a:lnTo>
                <a:lnTo>
                  <a:pt x="36" y="126"/>
                </a:lnTo>
                <a:lnTo>
                  <a:pt x="36" y="120"/>
                </a:lnTo>
                <a:lnTo>
                  <a:pt x="30" y="120"/>
                </a:lnTo>
                <a:lnTo>
                  <a:pt x="30" y="114"/>
                </a:lnTo>
                <a:lnTo>
                  <a:pt x="24" y="114"/>
                </a:lnTo>
                <a:lnTo>
                  <a:pt x="24" y="108"/>
                </a:lnTo>
                <a:lnTo>
                  <a:pt x="18" y="108"/>
                </a:lnTo>
                <a:lnTo>
                  <a:pt x="18" y="102"/>
                </a:lnTo>
                <a:lnTo>
                  <a:pt x="18" y="96"/>
                </a:lnTo>
                <a:lnTo>
                  <a:pt x="18" y="102"/>
                </a:lnTo>
                <a:lnTo>
                  <a:pt x="18" y="96"/>
                </a:lnTo>
                <a:lnTo>
                  <a:pt x="12" y="96"/>
                </a:lnTo>
                <a:lnTo>
                  <a:pt x="12" y="90"/>
                </a:lnTo>
                <a:lnTo>
                  <a:pt x="12" y="84"/>
                </a:lnTo>
                <a:lnTo>
                  <a:pt x="6" y="84"/>
                </a:lnTo>
                <a:lnTo>
                  <a:pt x="6" y="78"/>
                </a:lnTo>
                <a:lnTo>
                  <a:pt x="6" y="72"/>
                </a:lnTo>
                <a:lnTo>
                  <a:pt x="0" y="72"/>
                </a:lnTo>
                <a:lnTo>
                  <a:pt x="0" y="66"/>
                </a:lnTo>
                <a:lnTo>
                  <a:pt x="6" y="66"/>
                </a:lnTo>
                <a:lnTo>
                  <a:pt x="6" y="60"/>
                </a:lnTo>
                <a:lnTo>
                  <a:pt x="12" y="60"/>
                </a:lnTo>
                <a:lnTo>
                  <a:pt x="18" y="60"/>
                </a:lnTo>
                <a:lnTo>
                  <a:pt x="12" y="60"/>
                </a:lnTo>
                <a:lnTo>
                  <a:pt x="18" y="54"/>
                </a:lnTo>
                <a:lnTo>
                  <a:pt x="24" y="54"/>
                </a:lnTo>
                <a:lnTo>
                  <a:pt x="24" y="48"/>
                </a:lnTo>
                <a:lnTo>
                  <a:pt x="18" y="48"/>
                </a:lnTo>
                <a:lnTo>
                  <a:pt x="24" y="48"/>
                </a:lnTo>
                <a:lnTo>
                  <a:pt x="24" y="42"/>
                </a:lnTo>
                <a:lnTo>
                  <a:pt x="30" y="42"/>
                </a:lnTo>
                <a:lnTo>
                  <a:pt x="24" y="42"/>
                </a:lnTo>
                <a:lnTo>
                  <a:pt x="30" y="42"/>
                </a:lnTo>
                <a:lnTo>
                  <a:pt x="30" y="36"/>
                </a:lnTo>
                <a:lnTo>
                  <a:pt x="36" y="36"/>
                </a:lnTo>
                <a:lnTo>
                  <a:pt x="36" y="30"/>
                </a:lnTo>
                <a:lnTo>
                  <a:pt x="36" y="24"/>
                </a:lnTo>
                <a:lnTo>
                  <a:pt x="42" y="24"/>
                </a:lnTo>
                <a:lnTo>
                  <a:pt x="42" y="18"/>
                </a:lnTo>
                <a:lnTo>
                  <a:pt x="48" y="18"/>
                </a:lnTo>
                <a:lnTo>
                  <a:pt x="54" y="18"/>
                </a:lnTo>
                <a:lnTo>
                  <a:pt x="54" y="12"/>
                </a:lnTo>
                <a:lnTo>
                  <a:pt x="60" y="12"/>
                </a:lnTo>
                <a:lnTo>
                  <a:pt x="60" y="6"/>
                </a:lnTo>
                <a:lnTo>
                  <a:pt x="60" y="12"/>
                </a:lnTo>
                <a:lnTo>
                  <a:pt x="60" y="6"/>
                </a:lnTo>
                <a:lnTo>
                  <a:pt x="66" y="6"/>
                </a:lnTo>
                <a:lnTo>
                  <a:pt x="72" y="6"/>
                </a:lnTo>
                <a:lnTo>
                  <a:pt x="78" y="0"/>
                </a:lnTo>
                <a:lnTo>
                  <a:pt x="84" y="0"/>
                </a:lnTo>
                <a:lnTo>
                  <a:pt x="90" y="0"/>
                </a:lnTo>
                <a:lnTo>
                  <a:pt x="90" y="6"/>
                </a:lnTo>
                <a:lnTo>
                  <a:pt x="96" y="6"/>
                </a:lnTo>
                <a:lnTo>
                  <a:pt x="96" y="12"/>
                </a:lnTo>
                <a:lnTo>
                  <a:pt x="102" y="12"/>
                </a:lnTo>
                <a:lnTo>
                  <a:pt x="108" y="18"/>
                </a:lnTo>
                <a:lnTo>
                  <a:pt x="114" y="24"/>
                </a:lnTo>
                <a:lnTo>
                  <a:pt x="120" y="24"/>
                </a:lnTo>
                <a:lnTo>
                  <a:pt x="120" y="30"/>
                </a:lnTo>
                <a:lnTo>
                  <a:pt x="126" y="30"/>
                </a:lnTo>
                <a:lnTo>
                  <a:pt x="126" y="36"/>
                </a:lnTo>
                <a:lnTo>
                  <a:pt x="132" y="36"/>
                </a:lnTo>
                <a:lnTo>
                  <a:pt x="132" y="42"/>
                </a:lnTo>
                <a:lnTo>
                  <a:pt x="132" y="48"/>
                </a:lnTo>
                <a:lnTo>
                  <a:pt x="132" y="54"/>
                </a:lnTo>
                <a:lnTo>
                  <a:pt x="126" y="54"/>
                </a:lnTo>
                <a:lnTo>
                  <a:pt x="126" y="60"/>
                </a:lnTo>
                <a:lnTo>
                  <a:pt x="126" y="66"/>
                </a:lnTo>
                <a:lnTo>
                  <a:pt x="120" y="66"/>
                </a:lnTo>
                <a:lnTo>
                  <a:pt x="120" y="72"/>
                </a:lnTo>
                <a:lnTo>
                  <a:pt x="114" y="72"/>
                </a:lnTo>
                <a:lnTo>
                  <a:pt x="120" y="72"/>
                </a:lnTo>
                <a:close/>
              </a:path>
            </a:pathLst>
          </a:custGeom>
          <a:solidFill>
            <a:schemeClr val="accent1">
              <a:lumMod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65" name="Freeform 59">
            <a:extLst>
              <a:ext uri="{FF2B5EF4-FFF2-40B4-BE49-F238E27FC236}">
                <a16:creationId xmlns:a16="http://schemas.microsoft.com/office/drawing/2014/main" id="{E1EBC665-122B-5148-AA06-B085EA7B3894}"/>
              </a:ext>
            </a:extLst>
          </p:cNvPr>
          <p:cNvSpPr>
            <a:spLocks noEditPoints="1"/>
          </p:cNvSpPr>
          <p:nvPr>
            <p:custDataLst>
              <p:tags r:id="rId53"/>
            </p:custDataLst>
          </p:nvPr>
        </p:nvSpPr>
        <p:spPr bwMode="gray">
          <a:xfrm>
            <a:off x="4611173" y="5629744"/>
            <a:ext cx="1051362" cy="694650"/>
          </a:xfrm>
          <a:custGeom>
            <a:avLst/>
            <a:gdLst>
              <a:gd name="T0" fmla="*/ 321822 w 912"/>
              <a:gd name="T1" fmla="*/ 120404 h 804"/>
              <a:gd name="T2" fmla="*/ 311127 w 912"/>
              <a:gd name="T3" fmla="*/ 145650 h 804"/>
              <a:gd name="T4" fmla="*/ 295571 w 912"/>
              <a:gd name="T5" fmla="*/ 156332 h 804"/>
              <a:gd name="T6" fmla="*/ 284876 w 912"/>
              <a:gd name="T7" fmla="*/ 175752 h 804"/>
              <a:gd name="T8" fmla="*/ 275153 w 912"/>
              <a:gd name="T9" fmla="*/ 196142 h 804"/>
              <a:gd name="T10" fmla="*/ 255708 w 912"/>
              <a:gd name="T11" fmla="*/ 213621 h 804"/>
              <a:gd name="T12" fmla="*/ 242096 w 912"/>
              <a:gd name="T13" fmla="*/ 231099 h 804"/>
              <a:gd name="T14" fmla="*/ 229456 w 912"/>
              <a:gd name="T15" fmla="*/ 241780 h 804"/>
              <a:gd name="T16" fmla="*/ 216816 w 912"/>
              <a:gd name="T17" fmla="*/ 252461 h 804"/>
              <a:gd name="T18" fmla="*/ 199316 w 912"/>
              <a:gd name="T19" fmla="*/ 260229 h 804"/>
              <a:gd name="T20" fmla="*/ 181815 w 912"/>
              <a:gd name="T21" fmla="*/ 263142 h 804"/>
              <a:gd name="T22" fmla="*/ 165286 w 912"/>
              <a:gd name="T23" fmla="*/ 271881 h 804"/>
              <a:gd name="T24" fmla="*/ 145841 w 912"/>
              <a:gd name="T25" fmla="*/ 267026 h 804"/>
              <a:gd name="T26" fmla="*/ 131257 w 912"/>
              <a:gd name="T27" fmla="*/ 267026 h 804"/>
              <a:gd name="T28" fmla="*/ 109867 w 912"/>
              <a:gd name="T29" fmla="*/ 271881 h 804"/>
              <a:gd name="T30" fmla="*/ 92366 w 912"/>
              <a:gd name="T31" fmla="*/ 275765 h 804"/>
              <a:gd name="T32" fmla="*/ 74865 w 912"/>
              <a:gd name="T33" fmla="*/ 282562 h 804"/>
              <a:gd name="T34" fmla="*/ 56392 w 912"/>
              <a:gd name="T35" fmla="*/ 279649 h 804"/>
              <a:gd name="T36" fmla="*/ 47641 w 912"/>
              <a:gd name="T37" fmla="*/ 275765 h 804"/>
              <a:gd name="T38" fmla="*/ 37919 w 912"/>
              <a:gd name="T39" fmla="*/ 273823 h 804"/>
              <a:gd name="T40" fmla="*/ 34029 w 912"/>
              <a:gd name="T41" fmla="*/ 252461 h 804"/>
              <a:gd name="T42" fmla="*/ 27224 w 912"/>
              <a:gd name="T43" fmla="*/ 241780 h 804"/>
              <a:gd name="T44" fmla="*/ 36946 w 912"/>
              <a:gd name="T45" fmla="*/ 229157 h 804"/>
              <a:gd name="T46" fmla="*/ 27224 w 912"/>
              <a:gd name="T47" fmla="*/ 204882 h 804"/>
              <a:gd name="T48" fmla="*/ 17501 w 912"/>
              <a:gd name="T49" fmla="*/ 184491 h 804"/>
              <a:gd name="T50" fmla="*/ 10695 w 912"/>
              <a:gd name="T51" fmla="*/ 162158 h 804"/>
              <a:gd name="T52" fmla="*/ 0 w 912"/>
              <a:gd name="T53" fmla="*/ 140796 h 804"/>
              <a:gd name="T54" fmla="*/ 8750 w 912"/>
              <a:gd name="T55" fmla="*/ 130115 h 804"/>
              <a:gd name="T56" fmla="*/ 17501 w 912"/>
              <a:gd name="T57" fmla="*/ 140796 h 804"/>
              <a:gd name="T58" fmla="*/ 42780 w 912"/>
              <a:gd name="T59" fmla="*/ 147593 h 804"/>
              <a:gd name="T60" fmla="*/ 60281 w 912"/>
              <a:gd name="T61" fmla="*/ 140796 h 804"/>
              <a:gd name="T62" fmla="*/ 70976 w 912"/>
              <a:gd name="T63" fmla="*/ 110695 h 804"/>
              <a:gd name="T64" fmla="*/ 70976 w 912"/>
              <a:gd name="T65" fmla="*/ 70883 h 804"/>
              <a:gd name="T66" fmla="*/ 76810 w 912"/>
              <a:gd name="T67" fmla="*/ 64086 h 804"/>
              <a:gd name="T68" fmla="*/ 86533 w 912"/>
              <a:gd name="T69" fmla="*/ 78652 h 804"/>
              <a:gd name="T70" fmla="*/ 81671 w 912"/>
              <a:gd name="T71" fmla="*/ 98072 h 804"/>
              <a:gd name="T72" fmla="*/ 96255 w 912"/>
              <a:gd name="T73" fmla="*/ 100984 h 804"/>
              <a:gd name="T74" fmla="*/ 117645 w 912"/>
              <a:gd name="T75" fmla="*/ 90303 h 804"/>
              <a:gd name="T76" fmla="*/ 128340 w 912"/>
              <a:gd name="T77" fmla="*/ 72826 h 804"/>
              <a:gd name="T78" fmla="*/ 139035 w 912"/>
              <a:gd name="T79" fmla="*/ 67970 h 804"/>
              <a:gd name="T80" fmla="*/ 158481 w 912"/>
              <a:gd name="T81" fmla="*/ 76709 h 804"/>
              <a:gd name="T82" fmla="*/ 181815 w 912"/>
              <a:gd name="T83" fmla="*/ 70883 h 804"/>
              <a:gd name="T84" fmla="*/ 199316 w 912"/>
              <a:gd name="T85" fmla="*/ 51463 h 804"/>
              <a:gd name="T86" fmla="*/ 210011 w 912"/>
              <a:gd name="T87" fmla="*/ 32043 h 804"/>
              <a:gd name="T88" fmla="*/ 220706 w 912"/>
              <a:gd name="T89" fmla="*/ 23304 h 804"/>
              <a:gd name="T90" fmla="*/ 234317 w 912"/>
              <a:gd name="T91" fmla="*/ 8739 h 804"/>
              <a:gd name="T92" fmla="*/ 257652 w 912"/>
              <a:gd name="T93" fmla="*/ 0 h 804"/>
              <a:gd name="T94" fmla="*/ 280986 w 912"/>
              <a:gd name="T95" fmla="*/ 3884 h 804"/>
              <a:gd name="T96" fmla="*/ 300432 w 912"/>
              <a:gd name="T97" fmla="*/ 19420 h 804"/>
              <a:gd name="T98" fmla="*/ 309182 w 912"/>
              <a:gd name="T99" fmla="*/ 53406 h 804"/>
              <a:gd name="T100" fmla="*/ 306265 w 912"/>
              <a:gd name="T101" fmla="*/ 83506 h 804"/>
              <a:gd name="T102" fmla="*/ 287793 w 912"/>
              <a:gd name="T103" fmla="*/ 90303 h 804"/>
              <a:gd name="T104" fmla="*/ 293626 w 912"/>
              <a:gd name="T105" fmla="*/ 110695 h 804"/>
              <a:gd name="T106" fmla="*/ 311127 w 912"/>
              <a:gd name="T107" fmla="*/ 100984 h 804"/>
              <a:gd name="T108" fmla="*/ 252790 w 912"/>
              <a:gd name="T109" fmla="*/ 151476 h 804"/>
              <a:gd name="T110" fmla="*/ 231401 w 912"/>
              <a:gd name="T111" fmla="*/ 143709 h 804"/>
              <a:gd name="T112" fmla="*/ 218761 w 912"/>
              <a:gd name="T113" fmla="*/ 158273 h 804"/>
              <a:gd name="T114" fmla="*/ 214872 w 912"/>
              <a:gd name="T115" fmla="*/ 170896 h 804"/>
              <a:gd name="T116" fmla="*/ 227512 w 912"/>
              <a:gd name="T117" fmla="*/ 185462 h 804"/>
              <a:gd name="T118" fmla="*/ 240151 w 912"/>
              <a:gd name="T119" fmla="*/ 175752 h 804"/>
              <a:gd name="T120" fmla="*/ 252790 w 912"/>
              <a:gd name="T121" fmla="*/ 166042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2" h="804">
                <a:moveTo>
                  <a:pt x="870" y="288"/>
                </a:moveTo>
                <a:lnTo>
                  <a:pt x="876" y="288"/>
                </a:lnTo>
                <a:lnTo>
                  <a:pt x="876" y="282"/>
                </a:lnTo>
                <a:lnTo>
                  <a:pt x="882" y="288"/>
                </a:lnTo>
                <a:lnTo>
                  <a:pt x="906" y="288"/>
                </a:lnTo>
                <a:lnTo>
                  <a:pt x="912" y="288"/>
                </a:lnTo>
                <a:lnTo>
                  <a:pt x="912" y="294"/>
                </a:lnTo>
                <a:lnTo>
                  <a:pt x="912" y="300"/>
                </a:lnTo>
                <a:lnTo>
                  <a:pt x="912" y="306"/>
                </a:lnTo>
                <a:lnTo>
                  <a:pt x="906" y="306"/>
                </a:lnTo>
                <a:lnTo>
                  <a:pt x="906" y="312"/>
                </a:lnTo>
                <a:lnTo>
                  <a:pt x="906" y="318"/>
                </a:lnTo>
                <a:lnTo>
                  <a:pt x="900" y="324"/>
                </a:lnTo>
                <a:lnTo>
                  <a:pt x="900" y="330"/>
                </a:lnTo>
                <a:lnTo>
                  <a:pt x="900" y="336"/>
                </a:lnTo>
                <a:lnTo>
                  <a:pt x="900" y="342"/>
                </a:lnTo>
                <a:lnTo>
                  <a:pt x="900" y="348"/>
                </a:lnTo>
                <a:lnTo>
                  <a:pt x="894" y="354"/>
                </a:lnTo>
                <a:lnTo>
                  <a:pt x="894" y="360"/>
                </a:lnTo>
                <a:lnTo>
                  <a:pt x="894" y="366"/>
                </a:lnTo>
                <a:lnTo>
                  <a:pt x="894" y="372"/>
                </a:lnTo>
                <a:lnTo>
                  <a:pt x="894" y="378"/>
                </a:lnTo>
                <a:lnTo>
                  <a:pt x="888" y="378"/>
                </a:lnTo>
                <a:lnTo>
                  <a:pt x="888" y="384"/>
                </a:lnTo>
                <a:lnTo>
                  <a:pt x="888" y="390"/>
                </a:lnTo>
                <a:lnTo>
                  <a:pt x="882" y="396"/>
                </a:lnTo>
                <a:lnTo>
                  <a:pt x="882" y="402"/>
                </a:lnTo>
                <a:lnTo>
                  <a:pt x="876" y="402"/>
                </a:lnTo>
                <a:lnTo>
                  <a:pt x="876" y="408"/>
                </a:lnTo>
                <a:lnTo>
                  <a:pt x="870" y="408"/>
                </a:lnTo>
                <a:lnTo>
                  <a:pt x="864" y="414"/>
                </a:lnTo>
                <a:lnTo>
                  <a:pt x="858" y="414"/>
                </a:lnTo>
                <a:lnTo>
                  <a:pt x="858" y="420"/>
                </a:lnTo>
                <a:lnTo>
                  <a:pt x="852" y="420"/>
                </a:lnTo>
                <a:lnTo>
                  <a:pt x="852" y="414"/>
                </a:lnTo>
                <a:lnTo>
                  <a:pt x="852" y="420"/>
                </a:lnTo>
                <a:lnTo>
                  <a:pt x="846" y="420"/>
                </a:lnTo>
                <a:lnTo>
                  <a:pt x="846" y="426"/>
                </a:lnTo>
                <a:lnTo>
                  <a:pt x="840" y="426"/>
                </a:lnTo>
                <a:lnTo>
                  <a:pt x="840" y="432"/>
                </a:lnTo>
                <a:lnTo>
                  <a:pt x="834" y="438"/>
                </a:lnTo>
                <a:lnTo>
                  <a:pt x="834" y="432"/>
                </a:lnTo>
                <a:lnTo>
                  <a:pt x="834" y="438"/>
                </a:lnTo>
                <a:lnTo>
                  <a:pt x="834" y="444"/>
                </a:lnTo>
                <a:lnTo>
                  <a:pt x="828" y="438"/>
                </a:lnTo>
                <a:lnTo>
                  <a:pt x="828" y="444"/>
                </a:lnTo>
                <a:lnTo>
                  <a:pt x="822" y="450"/>
                </a:lnTo>
                <a:lnTo>
                  <a:pt x="822" y="456"/>
                </a:lnTo>
                <a:lnTo>
                  <a:pt x="816" y="456"/>
                </a:lnTo>
                <a:lnTo>
                  <a:pt x="816" y="462"/>
                </a:lnTo>
                <a:lnTo>
                  <a:pt x="816" y="468"/>
                </a:lnTo>
                <a:lnTo>
                  <a:pt x="810" y="468"/>
                </a:lnTo>
                <a:lnTo>
                  <a:pt x="810" y="474"/>
                </a:lnTo>
                <a:lnTo>
                  <a:pt x="804" y="474"/>
                </a:lnTo>
                <a:lnTo>
                  <a:pt x="810" y="474"/>
                </a:lnTo>
                <a:lnTo>
                  <a:pt x="810" y="480"/>
                </a:lnTo>
                <a:lnTo>
                  <a:pt x="810" y="474"/>
                </a:lnTo>
                <a:lnTo>
                  <a:pt x="810" y="480"/>
                </a:lnTo>
                <a:lnTo>
                  <a:pt x="804" y="486"/>
                </a:lnTo>
                <a:lnTo>
                  <a:pt x="798" y="492"/>
                </a:lnTo>
                <a:lnTo>
                  <a:pt x="798" y="498"/>
                </a:lnTo>
                <a:lnTo>
                  <a:pt x="798" y="504"/>
                </a:lnTo>
                <a:lnTo>
                  <a:pt x="792" y="504"/>
                </a:lnTo>
                <a:lnTo>
                  <a:pt x="792" y="510"/>
                </a:lnTo>
                <a:lnTo>
                  <a:pt x="792" y="516"/>
                </a:lnTo>
                <a:lnTo>
                  <a:pt x="786" y="516"/>
                </a:lnTo>
                <a:lnTo>
                  <a:pt x="786" y="522"/>
                </a:lnTo>
                <a:lnTo>
                  <a:pt x="786" y="528"/>
                </a:lnTo>
                <a:lnTo>
                  <a:pt x="780" y="528"/>
                </a:lnTo>
                <a:lnTo>
                  <a:pt x="780" y="534"/>
                </a:lnTo>
                <a:lnTo>
                  <a:pt x="774" y="534"/>
                </a:lnTo>
                <a:lnTo>
                  <a:pt x="774" y="540"/>
                </a:lnTo>
                <a:lnTo>
                  <a:pt x="774" y="546"/>
                </a:lnTo>
                <a:lnTo>
                  <a:pt x="768" y="546"/>
                </a:lnTo>
                <a:lnTo>
                  <a:pt x="768" y="552"/>
                </a:lnTo>
                <a:lnTo>
                  <a:pt x="762" y="552"/>
                </a:lnTo>
                <a:lnTo>
                  <a:pt x="762" y="558"/>
                </a:lnTo>
                <a:lnTo>
                  <a:pt x="762" y="564"/>
                </a:lnTo>
                <a:lnTo>
                  <a:pt x="756" y="564"/>
                </a:lnTo>
                <a:lnTo>
                  <a:pt x="750" y="570"/>
                </a:lnTo>
                <a:lnTo>
                  <a:pt x="750" y="576"/>
                </a:lnTo>
                <a:lnTo>
                  <a:pt x="744" y="576"/>
                </a:lnTo>
                <a:lnTo>
                  <a:pt x="738" y="576"/>
                </a:lnTo>
                <a:lnTo>
                  <a:pt x="738" y="582"/>
                </a:lnTo>
                <a:lnTo>
                  <a:pt x="732" y="588"/>
                </a:lnTo>
                <a:lnTo>
                  <a:pt x="726" y="588"/>
                </a:lnTo>
                <a:lnTo>
                  <a:pt x="726" y="594"/>
                </a:lnTo>
                <a:lnTo>
                  <a:pt x="720" y="594"/>
                </a:lnTo>
                <a:lnTo>
                  <a:pt x="720" y="600"/>
                </a:lnTo>
                <a:lnTo>
                  <a:pt x="714" y="600"/>
                </a:lnTo>
                <a:lnTo>
                  <a:pt x="720" y="600"/>
                </a:lnTo>
                <a:lnTo>
                  <a:pt x="714" y="600"/>
                </a:lnTo>
                <a:lnTo>
                  <a:pt x="714" y="606"/>
                </a:lnTo>
                <a:lnTo>
                  <a:pt x="708" y="606"/>
                </a:lnTo>
                <a:lnTo>
                  <a:pt x="708" y="612"/>
                </a:lnTo>
                <a:lnTo>
                  <a:pt x="702" y="618"/>
                </a:lnTo>
                <a:lnTo>
                  <a:pt x="702" y="624"/>
                </a:lnTo>
                <a:lnTo>
                  <a:pt x="696" y="624"/>
                </a:lnTo>
                <a:lnTo>
                  <a:pt x="696" y="630"/>
                </a:lnTo>
                <a:lnTo>
                  <a:pt x="690" y="630"/>
                </a:lnTo>
                <a:lnTo>
                  <a:pt x="690" y="636"/>
                </a:lnTo>
                <a:lnTo>
                  <a:pt x="684" y="636"/>
                </a:lnTo>
                <a:lnTo>
                  <a:pt x="684" y="642"/>
                </a:lnTo>
                <a:lnTo>
                  <a:pt x="678" y="642"/>
                </a:lnTo>
                <a:lnTo>
                  <a:pt x="678" y="648"/>
                </a:lnTo>
                <a:lnTo>
                  <a:pt x="678" y="642"/>
                </a:lnTo>
                <a:lnTo>
                  <a:pt x="678" y="648"/>
                </a:lnTo>
                <a:lnTo>
                  <a:pt x="672" y="648"/>
                </a:lnTo>
                <a:lnTo>
                  <a:pt x="672" y="654"/>
                </a:lnTo>
                <a:lnTo>
                  <a:pt x="666" y="654"/>
                </a:lnTo>
                <a:lnTo>
                  <a:pt x="666" y="660"/>
                </a:lnTo>
                <a:lnTo>
                  <a:pt x="660" y="660"/>
                </a:lnTo>
                <a:lnTo>
                  <a:pt x="660" y="666"/>
                </a:lnTo>
                <a:lnTo>
                  <a:pt x="654" y="666"/>
                </a:lnTo>
                <a:lnTo>
                  <a:pt x="648" y="666"/>
                </a:lnTo>
                <a:lnTo>
                  <a:pt x="648" y="672"/>
                </a:lnTo>
                <a:lnTo>
                  <a:pt x="648" y="678"/>
                </a:lnTo>
                <a:lnTo>
                  <a:pt x="642" y="678"/>
                </a:lnTo>
                <a:lnTo>
                  <a:pt x="636" y="678"/>
                </a:lnTo>
                <a:lnTo>
                  <a:pt x="642" y="678"/>
                </a:lnTo>
                <a:lnTo>
                  <a:pt x="636" y="678"/>
                </a:lnTo>
                <a:lnTo>
                  <a:pt x="636" y="684"/>
                </a:lnTo>
                <a:lnTo>
                  <a:pt x="630" y="684"/>
                </a:lnTo>
                <a:lnTo>
                  <a:pt x="630" y="690"/>
                </a:lnTo>
                <a:lnTo>
                  <a:pt x="624" y="690"/>
                </a:lnTo>
                <a:lnTo>
                  <a:pt x="624" y="696"/>
                </a:lnTo>
                <a:lnTo>
                  <a:pt x="618" y="696"/>
                </a:lnTo>
                <a:lnTo>
                  <a:pt x="612" y="696"/>
                </a:lnTo>
                <a:lnTo>
                  <a:pt x="612" y="702"/>
                </a:lnTo>
                <a:lnTo>
                  <a:pt x="612" y="696"/>
                </a:lnTo>
                <a:lnTo>
                  <a:pt x="606" y="696"/>
                </a:lnTo>
                <a:lnTo>
                  <a:pt x="612" y="696"/>
                </a:lnTo>
                <a:lnTo>
                  <a:pt x="612" y="702"/>
                </a:lnTo>
                <a:lnTo>
                  <a:pt x="606" y="702"/>
                </a:lnTo>
                <a:lnTo>
                  <a:pt x="606" y="708"/>
                </a:lnTo>
                <a:lnTo>
                  <a:pt x="600" y="708"/>
                </a:lnTo>
                <a:lnTo>
                  <a:pt x="594" y="708"/>
                </a:lnTo>
                <a:lnTo>
                  <a:pt x="600" y="708"/>
                </a:lnTo>
                <a:lnTo>
                  <a:pt x="600" y="714"/>
                </a:lnTo>
                <a:lnTo>
                  <a:pt x="594" y="714"/>
                </a:lnTo>
                <a:lnTo>
                  <a:pt x="588" y="714"/>
                </a:lnTo>
                <a:lnTo>
                  <a:pt x="594" y="714"/>
                </a:lnTo>
                <a:lnTo>
                  <a:pt x="588" y="720"/>
                </a:lnTo>
                <a:lnTo>
                  <a:pt x="582" y="720"/>
                </a:lnTo>
                <a:lnTo>
                  <a:pt x="576" y="720"/>
                </a:lnTo>
                <a:lnTo>
                  <a:pt x="576" y="726"/>
                </a:lnTo>
                <a:lnTo>
                  <a:pt x="570" y="726"/>
                </a:lnTo>
                <a:lnTo>
                  <a:pt x="564" y="726"/>
                </a:lnTo>
                <a:lnTo>
                  <a:pt x="564" y="732"/>
                </a:lnTo>
                <a:lnTo>
                  <a:pt x="558" y="732"/>
                </a:lnTo>
                <a:lnTo>
                  <a:pt x="552" y="732"/>
                </a:lnTo>
                <a:lnTo>
                  <a:pt x="546" y="732"/>
                </a:lnTo>
                <a:lnTo>
                  <a:pt x="540" y="732"/>
                </a:lnTo>
                <a:lnTo>
                  <a:pt x="534" y="732"/>
                </a:lnTo>
                <a:lnTo>
                  <a:pt x="534" y="726"/>
                </a:lnTo>
                <a:lnTo>
                  <a:pt x="528" y="726"/>
                </a:lnTo>
                <a:lnTo>
                  <a:pt x="528" y="732"/>
                </a:lnTo>
                <a:lnTo>
                  <a:pt x="522" y="732"/>
                </a:lnTo>
                <a:lnTo>
                  <a:pt x="522" y="726"/>
                </a:lnTo>
                <a:lnTo>
                  <a:pt x="522" y="732"/>
                </a:lnTo>
                <a:lnTo>
                  <a:pt x="516" y="732"/>
                </a:lnTo>
                <a:lnTo>
                  <a:pt x="510" y="732"/>
                </a:lnTo>
                <a:lnTo>
                  <a:pt x="510" y="738"/>
                </a:lnTo>
                <a:lnTo>
                  <a:pt x="504" y="738"/>
                </a:lnTo>
                <a:lnTo>
                  <a:pt x="510" y="738"/>
                </a:lnTo>
                <a:lnTo>
                  <a:pt x="510" y="744"/>
                </a:lnTo>
                <a:lnTo>
                  <a:pt x="510" y="750"/>
                </a:lnTo>
                <a:lnTo>
                  <a:pt x="516" y="750"/>
                </a:lnTo>
                <a:lnTo>
                  <a:pt x="510" y="750"/>
                </a:lnTo>
                <a:lnTo>
                  <a:pt x="504" y="750"/>
                </a:lnTo>
                <a:lnTo>
                  <a:pt x="498" y="750"/>
                </a:lnTo>
                <a:lnTo>
                  <a:pt x="492" y="750"/>
                </a:lnTo>
                <a:lnTo>
                  <a:pt x="486" y="744"/>
                </a:lnTo>
                <a:lnTo>
                  <a:pt x="480" y="744"/>
                </a:lnTo>
                <a:lnTo>
                  <a:pt x="474" y="744"/>
                </a:lnTo>
                <a:lnTo>
                  <a:pt x="474" y="750"/>
                </a:lnTo>
                <a:lnTo>
                  <a:pt x="468" y="750"/>
                </a:lnTo>
                <a:lnTo>
                  <a:pt x="468" y="756"/>
                </a:lnTo>
                <a:lnTo>
                  <a:pt x="462" y="756"/>
                </a:lnTo>
                <a:lnTo>
                  <a:pt x="462" y="762"/>
                </a:lnTo>
                <a:lnTo>
                  <a:pt x="468" y="762"/>
                </a:lnTo>
                <a:lnTo>
                  <a:pt x="462" y="762"/>
                </a:lnTo>
                <a:lnTo>
                  <a:pt x="468" y="762"/>
                </a:lnTo>
                <a:lnTo>
                  <a:pt x="462" y="762"/>
                </a:lnTo>
                <a:lnTo>
                  <a:pt x="456" y="762"/>
                </a:lnTo>
                <a:lnTo>
                  <a:pt x="450" y="762"/>
                </a:lnTo>
                <a:lnTo>
                  <a:pt x="444" y="762"/>
                </a:lnTo>
                <a:lnTo>
                  <a:pt x="444" y="756"/>
                </a:lnTo>
                <a:lnTo>
                  <a:pt x="438" y="756"/>
                </a:lnTo>
                <a:lnTo>
                  <a:pt x="432" y="756"/>
                </a:lnTo>
                <a:lnTo>
                  <a:pt x="432" y="750"/>
                </a:lnTo>
                <a:lnTo>
                  <a:pt x="426" y="750"/>
                </a:lnTo>
                <a:lnTo>
                  <a:pt x="420" y="750"/>
                </a:lnTo>
                <a:lnTo>
                  <a:pt x="414" y="750"/>
                </a:lnTo>
                <a:lnTo>
                  <a:pt x="408" y="750"/>
                </a:lnTo>
                <a:lnTo>
                  <a:pt x="402" y="750"/>
                </a:lnTo>
                <a:lnTo>
                  <a:pt x="402" y="744"/>
                </a:lnTo>
                <a:lnTo>
                  <a:pt x="396" y="744"/>
                </a:lnTo>
                <a:lnTo>
                  <a:pt x="396" y="750"/>
                </a:lnTo>
                <a:lnTo>
                  <a:pt x="390" y="750"/>
                </a:lnTo>
                <a:lnTo>
                  <a:pt x="384" y="750"/>
                </a:lnTo>
                <a:lnTo>
                  <a:pt x="384" y="756"/>
                </a:lnTo>
                <a:lnTo>
                  <a:pt x="378" y="756"/>
                </a:lnTo>
                <a:lnTo>
                  <a:pt x="372" y="756"/>
                </a:lnTo>
                <a:lnTo>
                  <a:pt x="366" y="756"/>
                </a:lnTo>
                <a:lnTo>
                  <a:pt x="366" y="750"/>
                </a:lnTo>
                <a:lnTo>
                  <a:pt x="360" y="750"/>
                </a:lnTo>
                <a:lnTo>
                  <a:pt x="366" y="750"/>
                </a:lnTo>
                <a:lnTo>
                  <a:pt x="366" y="756"/>
                </a:lnTo>
                <a:lnTo>
                  <a:pt x="366" y="750"/>
                </a:lnTo>
                <a:lnTo>
                  <a:pt x="360" y="756"/>
                </a:lnTo>
                <a:lnTo>
                  <a:pt x="360" y="750"/>
                </a:lnTo>
                <a:lnTo>
                  <a:pt x="354" y="750"/>
                </a:lnTo>
                <a:lnTo>
                  <a:pt x="348" y="750"/>
                </a:lnTo>
                <a:lnTo>
                  <a:pt x="342" y="750"/>
                </a:lnTo>
                <a:lnTo>
                  <a:pt x="336" y="750"/>
                </a:lnTo>
                <a:lnTo>
                  <a:pt x="330" y="750"/>
                </a:lnTo>
                <a:lnTo>
                  <a:pt x="324" y="750"/>
                </a:lnTo>
                <a:lnTo>
                  <a:pt x="318" y="750"/>
                </a:lnTo>
                <a:lnTo>
                  <a:pt x="318" y="756"/>
                </a:lnTo>
                <a:lnTo>
                  <a:pt x="312" y="756"/>
                </a:lnTo>
                <a:lnTo>
                  <a:pt x="312" y="762"/>
                </a:lnTo>
                <a:lnTo>
                  <a:pt x="318" y="762"/>
                </a:lnTo>
                <a:lnTo>
                  <a:pt x="312" y="762"/>
                </a:lnTo>
                <a:lnTo>
                  <a:pt x="306" y="762"/>
                </a:lnTo>
                <a:lnTo>
                  <a:pt x="300" y="768"/>
                </a:lnTo>
                <a:lnTo>
                  <a:pt x="306" y="768"/>
                </a:lnTo>
                <a:lnTo>
                  <a:pt x="300" y="768"/>
                </a:lnTo>
                <a:lnTo>
                  <a:pt x="300" y="774"/>
                </a:lnTo>
                <a:lnTo>
                  <a:pt x="300" y="768"/>
                </a:lnTo>
                <a:lnTo>
                  <a:pt x="300" y="774"/>
                </a:lnTo>
                <a:lnTo>
                  <a:pt x="294" y="774"/>
                </a:lnTo>
                <a:lnTo>
                  <a:pt x="288" y="774"/>
                </a:lnTo>
                <a:lnTo>
                  <a:pt x="282" y="774"/>
                </a:lnTo>
                <a:lnTo>
                  <a:pt x="276" y="774"/>
                </a:lnTo>
                <a:lnTo>
                  <a:pt x="270" y="774"/>
                </a:lnTo>
                <a:lnTo>
                  <a:pt x="270" y="780"/>
                </a:lnTo>
                <a:lnTo>
                  <a:pt x="264" y="780"/>
                </a:lnTo>
                <a:lnTo>
                  <a:pt x="264" y="774"/>
                </a:lnTo>
                <a:lnTo>
                  <a:pt x="258" y="774"/>
                </a:lnTo>
                <a:lnTo>
                  <a:pt x="252" y="774"/>
                </a:lnTo>
                <a:lnTo>
                  <a:pt x="246" y="774"/>
                </a:lnTo>
                <a:lnTo>
                  <a:pt x="240" y="774"/>
                </a:lnTo>
                <a:lnTo>
                  <a:pt x="246" y="774"/>
                </a:lnTo>
                <a:lnTo>
                  <a:pt x="246" y="780"/>
                </a:lnTo>
                <a:lnTo>
                  <a:pt x="240" y="780"/>
                </a:lnTo>
                <a:lnTo>
                  <a:pt x="234" y="780"/>
                </a:lnTo>
                <a:lnTo>
                  <a:pt x="228" y="780"/>
                </a:lnTo>
                <a:lnTo>
                  <a:pt x="222" y="780"/>
                </a:lnTo>
                <a:lnTo>
                  <a:pt x="222" y="786"/>
                </a:lnTo>
                <a:lnTo>
                  <a:pt x="216" y="786"/>
                </a:lnTo>
                <a:lnTo>
                  <a:pt x="216" y="792"/>
                </a:lnTo>
                <a:lnTo>
                  <a:pt x="210" y="792"/>
                </a:lnTo>
                <a:lnTo>
                  <a:pt x="210" y="798"/>
                </a:lnTo>
                <a:lnTo>
                  <a:pt x="210" y="792"/>
                </a:lnTo>
                <a:lnTo>
                  <a:pt x="204" y="792"/>
                </a:lnTo>
                <a:lnTo>
                  <a:pt x="204" y="798"/>
                </a:lnTo>
                <a:lnTo>
                  <a:pt x="198" y="798"/>
                </a:lnTo>
                <a:lnTo>
                  <a:pt x="198" y="804"/>
                </a:lnTo>
                <a:lnTo>
                  <a:pt x="192" y="804"/>
                </a:lnTo>
                <a:lnTo>
                  <a:pt x="186" y="798"/>
                </a:lnTo>
                <a:lnTo>
                  <a:pt x="180" y="798"/>
                </a:lnTo>
                <a:lnTo>
                  <a:pt x="180" y="804"/>
                </a:lnTo>
                <a:lnTo>
                  <a:pt x="174" y="804"/>
                </a:lnTo>
                <a:lnTo>
                  <a:pt x="174" y="798"/>
                </a:lnTo>
                <a:lnTo>
                  <a:pt x="168" y="798"/>
                </a:lnTo>
                <a:lnTo>
                  <a:pt x="168" y="792"/>
                </a:lnTo>
                <a:lnTo>
                  <a:pt x="162" y="792"/>
                </a:lnTo>
                <a:lnTo>
                  <a:pt x="156" y="792"/>
                </a:lnTo>
                <a:lnTo>
                  <a:pt x="156" y="786"/>
                </a:lnTo>
                <a:lnTo>
                  <a:pt x="162" y="786"/>
                </a:lnTo>
                <a:lnTo>
                  <a:pt x="162" y="780"/>
                </a:lnTo>
                <a:lnTo>
                  <a:pt x="156" y="780"/>
                </a:lnTo>
                <a:lnTo>
                  <a:pt x="156" y="774"/>
                </a:lnTo>
                <a:lnTo>
                  <a:pt x="150" y="780"/>
                </a:lnTo>
                <a:lnTo>
                  <a:pt x="150" y="774"/>
                </a:lnTo>
                <a:lnTo>
                  <a:pt x="144" y="774"/>
                </a:lnTo>
                <a:lnTo>
                  <a:pt x="150" y="774"/>
                </a:lnTo>
                <a:lnTo>
                  <a:pt x="150" y="768"/>
                </a:lnTo>
                <a:lnTo>
                  <a:pt x="144" y="768"/>
                </a:lnTo>
                <a:lnTo>
                  <a:pt x="144" y="774"/>
                </a:lnTo>
                <a:lnTo>
                  <a:pt x="138" y="774"/>
                </a:lnTo>
                <a:lnTo>
                  <a:pt x="138" y="768"/>
                </a:lnTo>
                <a:lnTo>
                  <a:pt x="138" y="774"/>
                </a:lnTo>
                <a:lnTo>
                  <a:pt x="132" y="774"/>
                </a:lnTo>
                <a:lnTo>
                  <a:pt x="132" y="768"/>
                </a:lnTo>
                <a:lnTo>
                  <a:pt x="132" y="762"/>
                </a:lnTo>
                <a:lnTo>
                  <a:pt x="132" y="756"/>
                </a:lnTo>
                <a:lnTo>
                  <a:pt x="126" y="756"/>
                </a:lnTo>
                <a:lnTo>
                  <a:pt x="126" y="750"/>
                </a:lnTo>
                <a:lnTo>
                  <a:pt x="120" y="750"/>
                </a:lnTo>
                <a:lnTo>
                  <a:pt x="120" y="756"/>
                </a:lnTo>
                <a:lnTo>
                  <a:pt x="114" y="756"/>
                </a:lnTo>
                <a:lnTo>
                  <a:pt x="108" y="756"/>
                </a:lnTo>
                <a:lnTo>
                  <a:pt x="108" y="762"/>
                </a:lnTo>
                <a:lnTo>
                  <a:pt x="108" y="768"/>
                </a:lnTo>
                <a:lnTo>
                  <a:pt x="108" y="774"/>
                </a:lnTo>
                <a:lnTo>
                  <a:pt x="114" y="774"/>
                </a:lnTo>
                <a:lnTo>
                  <a:pt x="108" y="774"/>
                </a:lnTo>
                <a:lnTo>
                  <a:pt x="108" y="768"/>
                </a:lnTo>
                <a:lnTo>
                  <a:pt x="108" y="762"/>
                </a:lnTo>
                <a:lnTo>
                  <a:pt x="102" y="762"/>
                </a:lnTo>
                <a:lnTo>
                  <a:pt x="102" y="756"/>
                </a:lnTo>
                <a:lnTo>
                  <a:pt x="102" y="750"/>
                </a:lnTo>
                <a:lnTo>
                  <a:pt x="102" y="744"/>
                </a:lnTo>
                <a:lnTo>
                  <a:pt x="108" y="744"/>
                </a:lnTo>
                <a:lnTo>
                  <a:pt x="114" y="738"/>
                </a:lnTo>
                <a:lnTo>
                  <a:pt x="108" y="738"/>
                </a:lnTo>
                <a:lnTo>
                  <a:pt x="108" y="732"/>
                </a:lnTo>
                <a:lnTo>
                  <a:pt x="108" y="726"/>
                </a:lnTo>
                <a:lnTo>
                  <a:pt x="108" y="720"/>
                </a:lnTo>
                <a:lnTo>
                  <a:pt x="102" y="720"/>
                </a:lnTo>
                <a:lnTo>
                  <a:pt x="102" y="714"/>
                </a:lnTo>
                <a:lnTo>
                  <a:pt x="102" y="708"/>
                </a:lnTo>
                <a:lnTo>
                  <a:pt x="96" y="708"/>
                </a:lnTo>
                <a:lnTo>
                  <a:pt x="90" y="708"/>
                </a:lnTo>
                <a:lnTo>
                  <a:pt x="90" y="702"/>
                </a:lnTo>
                <a:lnTo>
                  <a:pt x="96" y="702"/>
                </a:lnTo>
                <a:lnTo>
                  <a:pt x="90" y="702"/>
                </a:lnTo>
                <a:lnTo>
                  <a:pt x="90" y="696"/>
                </a:lnTo>
                <a:lnTo>
                  <a:pt x="84" y="690"/>
                </a:lnTo>
                <a:lnTo>
                  <a:pt x="84" y="684"/>
                </a:lnTo>
                <a:lnTo>
                  <a:pt x="84" y="690"/>
                </a:lnTo>
                <a:lnTo>
                  <a:pt x="90" y="690"/>
                </a:lnTo>
                <a:lnTo>
                  <a:pt x="90" y="696"/>
                </a:lnTo>
                <a:lnTo>
                  <a:pt x="90" y="690"/>
                </a:lnTo>
                <a:lnTo>
                  <a:pt x="84" y="690"/>
                </a:lnTo>
                <a:lnTo>
                  <a:pt x="84" y="684"/>
                </a:lnTo>
                <a:lnTo>
                  <a:pt x="78" y="684"/>
                </a:lnTo>
                <a:lnTo>
                  <a:pt x="78" y="678"/>
                </a:lnTo>
                <a:lnTo>
                  <a:pt x="78" y="672"/>
                </a:lnTo>
                <a:lnTo>
                  <a:pt x="78" y="666"/>
                </a:lnTo>
                <a:lnTo>
                  <a:pt x="78" y="660"/>
                </a:lnTo>
                <a:lnTo>
                  <a:pt x="78" y="666"/>
                </a:lnTo>
                <a:lnTo>
                  <a:pt x="78" y="660"/>
                </a:lnTo>
                <a:lnTo>
                  <a:pt x="84" y="660"/>
                </a:lnTo>
                <a:lnTo>
                  <a:pt x="84" y="666"/>
                </a:lnTo>
                <a:lnTo>
                  <a:pt x="84" y="660"/>
                </a:lnTo>
                <a:lnTo>
                  <a:pt x="84" y="666"/>
                </a:lnTo>
                <a:lnTo>
                  <a:pt x="90" y="666"/>
                </a:lnTo>
                <a:lnTo>
                  <a:pt x="96" y="666"/>
                </a:lnTo>
                <a:lnTo>
                  <a:pt x="96" y="660"/>
                </a:lnTo>
                <a:lnTo>
                  <a:pt x="102" y="654"/>
                </a:lnTo>
                <a:lnTo>
                  <a:pt x="102" y="648"/>
                </a:lnTo>
                <a:lnTo>
                  <a:pt x="102" y="642"/>
                </a:lnTo>
                <a:lnTo>
                  <a:pt x="102" y="636"/>
                </a:lnTo>
                <a:lnTo>
                  <a:pt x="102" y="630"/>
                </a:lnTo>
                <a:lnTo>
                  <a:pt x="102" y="624"/>
                </a:lnTo>
                <a:lnTo>
                  <a:pt x="102" y="618"/>
                </a:lnTo>
                <a:lnTo>
                  <a:pt x="102" y="612"/>
                </a:lnTo>
                <a:lnTo>
                  <a:pt x="102" y="606"/>
                </a:lnTo>
                <a:lnTo>
                  <a:pt x="96" y="606"/>
                </a:lnTo>
                <a:lnTo>
                  <a:pt x="96" y="600"/>
                </a:lnTo>
                <a:lnTo>
                  <a:pt x="96" y="594"/>
                </a:lnTo>
                <a:lnTo>
                  <a:pt x="90" y="594"/>
                </a:lnTo>
                <a:lnTo>
                  <a:pt x="90" y="588"/>
                </a:lnTo>
                <a:lnTo>
                  <a:pt x="90" y="582"/>
                </a:lnTo>
                <a:lnTo>
                  <a:pt x="84" y="582"/>
                </a:lnTo>
                <a:lnTo>
                  <a:pt x="84" y="576"/>
                </a:lnTo>
                <a:lnTo>
                  <a:pt x="78" y="576"/>
                </a:lnTo>
                <a:lnTo>
                  <a:pt x="78" y="570"/>
                </a:lnTo>
                <a:lnTo>
                  <a:pt x="78" y="564"/>
                </a:lnTo>
                <a:lnTo>
                  <a:pt x="72" y="564"/>
                </a:lnTo>
                <a:lnTo>
                  <a:pt x="72" y="558"/>
                </a:lnTo>
                <a:lnTo>
                  <a:pt x="66" y="558"/>
                </a:lnTo>
                <a:lnTo>
                  <a:pt x="66" y="552"/>
                </a:lnTo>
                <a:lnTo>
                  <a:pt x="66" y="546"/>
                </a:lnTo>
                <a:lnTo>
                  <a:pt x="60" y="546"/>
                </a:lnTo>
                <a:lnTo>
                  <a:pt x="60" y="540"/>
                </a:lnTo>
                <a:lnTo>
                  <a:pt x="60" y="534"/>
                </a:lnTo>
                <a:lnTo>
                  <a:pt x="54" y="534"/>
                </a:lnTo>
                <a:lnTo>
                  <a:pt x="54" y="528"/>
                </a:lnTo>
                <a:lnTo>
                  <a:pt x="54" y="522"/>
                </a:lnTo>
                <a:lnTo>
                  <a:pt x="48" y="522"/>
                </a:lnTo>
                <a:lnTo>
                  <a:pt x="48" y="516"/>
                </a:lnTo>
                <a:lnTo>
                  <a:pt x="48" y="510"/>
                </a:lnTo>
                <a:lnTo>
                  <a:pt x="42" y="510"/>
                </a:lnTo>
                <a:lnTo>
                  <a:pt x="42" y="504"/>
                </a:lnTo>
                <a:lnTo>
                  <a:pt x="42" y="498"/>
                </a:lnTo>
                <a:lnTo>
                  <a:pt x="42" y="492"/>
                </a:lnTo>
                <a:lnTo>
                  <a:pt x="36" y="492"/>
                </a:lnTo>
                <a:lnTo>
                  <a:pt x="36" y="486"/>
                </a:lnTo>
                <a:lnTo>
                  <a:pt x="36" y="480"/>
                </a:lnTo>
                <a:lnTo>
                  <a:pt x="36" y="474"/>
                </a:lnTo>
                <a:lnTo>
                  <a:pt x="30" y="474"/>
                </a:lnTo>
                <a:lnTo>
                  <a:pt x="36" y="474"/>
                </a:lnTo>
                <a:lnTo>
                  <a:pt x="30" y="474"/>
                </a:lnTo>
                <a:lnTo>
                  <a:pt x="30" y="468"/>
                </a:lnTo>
                <a:lnTo>
                  <a:pt x="30" y="462"/>
                </a:lnTo>
                <a:lnTo>
                  <a:pt x="30" y="456"/>
                </a:lnTo>
                <a:lnTo>
                  <a:pt x="30" y="450"/>
                </a:lnTo>
                <a:lnTo>
                  <a:pt x="24" y="450"/>
                </a:lnTo>
                <a:lnTo>
                  <a:pt x="24" y="444"/>
                </a:lnTo>
                <a:lnTo>
                  <a:pt x="24" y="438"/>
                </a:lnTo>
                <a:lnTo>
                  <a:pt x="18" y="438"/>
                </a:lnTo>
                <a:lnTo>
                  <a:pt x="18" y="432"/>
                </a:lnTo>
                <a:lnTo>
                  <a:pt x="18" y="426"/>
                </a:lnTo>
                <a:lnTo>
                  <a:pt x="12" y="426"/>
                </a:lnTo>
                <a:lnTo>
                  <a:pt x="12" y="420"/>
                </a:lnTo>
                <a:lnTo>
                  <a:pt x="12" y="414"/>
                </a:lnTo>
                <a:lnTo>
                  <a:pt x="6" y="414"/>
                </a:lnTo>
                <a:lnTo>
                  <a:pt x="6" y="408"/>
                </a:lnTo>
                <a:lnTo>
                  <a:pt x="6" y="402"/>
                </a:lnTo>
                <a:lnTo>
                  <a:pt x="0" y="402"/>
                </a:lnTo>
                <a:lnTo>
                  <a:pt x="0" y="396"/>
                </a:lnTo>
                <a:lnTo>
                  <a:pt x="6" y="396"/>
                </a:lnTo>
                <a:lnTo>
                  <a:pt x="6" y="390"/>
                </a:lnTo>
                <a:lnTo>
                  <a:pt x="12" y="390"/>
                </a:lnTo>
                <a:lnTo>
                  <a:pt x="18" y="384"/>
                </a:lnTo>
                <a:lnTo>
                  <a:pt x="18" y="378"/>
                </a:lnTo>
                <a:lnTo>
                  <a:pt x="12" y="378"/>
                </a:lnTo>
                <a:lnTo>
                  <a:pt x="18" y="378"/>
                </a:lnTo>
                <a:lnTo>
                  <a:pt x="18" y="372"/>
                </a:lnTo>
                <a:lnTo>
                  <a:pt x="18" y="378"/>
                </a:lnTo>
                <a:lnTo>
                  <a:pt x="18" y="372"/>
                </a:lnTo>
                <a:lnTo>
                  <a:pt x="18" y="366"/>
                </a:lnTo>
                <a:lnTo>
                  <a:pt x="24" y="372"/>
                </a:lnTo>
                <a:lnTo>
                  <a:pt x="24" y="366"/>
                </a:lnTo>
                <a:lnTo>
                  <a:pt x="24" y="360"/>
                </a:lnTo>
                <a:lnTo>
                  <a:pt x="24" y="366"/>
                </a:lnTo>
                <a:lnTo>
                  <a:pt x="24" y="360"/>
                </a:lnTo>
                <a:lnTo>
                  <a:pt x="30" y="360"/>
                </a:lnTo>
                <a:lnTo>
                  <a:pt x="30" y="366"/>
                </a:lnTo>
                <a:lnTo>
                  <a:pt x="30" y="360"/>
                </a:lnTo>
                <a:lnTo>
                  <a:pt x="36" y="360"/>
                </a:lnTo>
                <a:lnTo>
                  <a:pt x="36" y="366"/>
                </a:lnTo>
                <a:lnTo>
                  <a:pt x="42" y="366"/>
                </a:lnTo>
                <a:lnTo>
                  <a:pt x="36" y="372"/>
                </a:lnTo>
                <a:lnTo>
                  <a:pt x="42" y="372"/>
                </a:lnTo>
                <a:lnTo>
                  <a:pt x="48" y="372"/>
                </a:lnTo>
                <a:lnTo>
                  <a:pt x="48" y="378"/>
                </a:lnTo>
                <a:lnTo>
                  <a:pt x="54" y="384"/>
                </a:lnTo>
                <a:lnTo>
                  <a:pt x="48" y="384"/>
                </a:lnTo>
                <a:lnTo>
                  <a:pt x="48" y="390"/>
                </a:lnTo>
                <a:lnTo>
                  <a:pt x="48" y="396"/>
                </a:lnTo>
                <a:lnTo>
                  <a:pt x="54" y="396"/>
                </a:lnTo>
                <a:lnTo>
                  <a:pt x="54" y="402"/>
                </a:lnTo>
                <a:lnTo>
                  <a:pt x="60" y="402"/>
                </a:lnTo>
                <a:lnTo>
                  <a:pt x="60" y="408"/>
                </a:lnTo>
                <a:lnTo>
                  <a:pt x="66" y="408"/>
                </a:lnTo>
                <a:lnTo>
                  <a:pt x="72" y="408"/>
                </a:lnTo>
                <a:lnTo>
                  <a:pt x="78" y="408"/>
                </a:lnTo>
                <a:lnTo>
                  <a:pt x="84" y="408"/>
                </a:lnTo>
                <a:lnTo>
                  <a:pt x="84" y="414"/>
                </a:lnTo>
                <a:lnTo>
                  <a:pt x="90" y="414"/>
                </a:lnTo>
                <a:lnTo>
                  <a:pt x="96" y="414"/>
                </a:lnTo>
                <a:lnTo>
                  <a:pt x="102" y="414"/>
                </a:lnTo>
                <a:lnTo>
                  <a:pt x="108" y="414"/>
                </a:lnTo>
                <a:lnTo>
                  <a:pt x="114" y="414"/>
                </a:lnTo>
                <a:lnTo>
                  <a:pt x="120" y="414"/>
                </a:lnTo>
                <a:lnTo>
                  <a:pt x="126" y="414"/>
                </a:lnTo>
                <a:lnTo>
                  <a:pt x="132" y="414"/>
                </a:lnTo>
                <a:lnTo>
                  <a:pt x="138" y="414"/>
                </a:lnTo>
                <a:lnTo>
                  <a:pt x="138" y="420"/>
                </a:lnTo>
                <a:lnTo>
                  <a:pt x="144" y="420"/>
                </a:lnTo>
                <a:lnTo>
                  <a:pt x="150" y="420"/>
                </a:lnTo>
                <a:lnTo>
                  <a:pt x="150" y="414"/>
                </a:lnTo>
                <a:lnTo>
                  <a:pt x="156" y="414"/>
                </a:lnTo>
                <a:lnTo>
                  <a:pt x="156" y="408"/>
                </a:lnTo>
                <a:lnTo>
                  <a:pt x="156" y="402"/>
                </a:lnTo>
                <a:lnTo>
                  <a:pt x="156" y="408"/>
                </a:lnTo>
                <a:lnTo>
                  <a:pt x="162" y="408"/>
                </a:lnTo>
                <a:lnTo>
                  <a:pt x="162" y="402"/>
                </a:lnTo>
                <a:lnTo>
                  <a:pt x="168" y="402"/>
                </a:lnTo>
                <a:lnTo>
                  <a:pt x="168" y="396"/>
                </a:lnTo>
                <a:lnTo>
                  <a:pt x="174" y="390"/>
                </a:lnTo>
                <a:lnTo>
                  <a:pt x="180" y="390"/>
                </a:lnTo>
                <a:lnTo>
                  <a:pt x="186" y="390"/>
                </a:lnTo>
                <a:lnTo>
                  <a:pt x="186" y="384"/>
                </a:lnTo>
                <a:lnTo>
                  <a:pt x="192" y="384"/>
                </a:lnTo>
                <a:lnTo>
                  <a:pt x="198" y="384"/>
                </a:lnTo>
                <a:lnTo>
                  <a:pt x="198" y="378"/>
                </a:lnTo>
                <a:lnTo>
                  <a:pt x="198" y="366"/>
                </a:lnTo>
                <a:lnTo>
                  <a:pt x="198" y="360"/>
                </a:lnTo>
                <a:lnTo>
                  <a:pt x="198" y="354"/>
                </a:lnTo>
                <a:lnTo>
                  <a:pt x="198" y="342"/>
                </a:lnTo>
                <a:lnTo>
                  <a:pt x="198" y="336"/>
                </a:lnTo>
                <a:lnTo>
                  <a:pt x="198" y="330"/>
                </a:lnTo>
                <a:lnTo>
                  <a:pt x="198" y="318"/>
                </a:lnTo>
                <a:lnTo>
                  <a:pt x="198" y="312"/>
                </a:lnTo>
                <a:lnTo>
                  <a:pt x="198" y="306"/>
                </a:lnTo>
                <a:lnTo>
                  <a:pt x="198" y="294"/>
                </a:lnTo>
                <a:lnTo>
                  <a:pt x="198" y="288"/>
                </a:lnTo>
                <a:lnTo>
                  <a:pt x="198" y="282"/>
                </a:lnTo>
                <a:lnTo>
                  <a:pt x="198" y="276"/>
                </a:lnTo>
                <a:lnTo>
                  <a:pt x="198" y="264"/>
                </a:lnTo>
                <a:lnTo>
                  <a:pt x="198" y="258"/>
                </a:lnTo>
                <a:lnTo>
                  <a:pt x="198" y="252"/>
                </a:lnTo>
                <a:lnTo>
                  <a:pt x="198" y="240"/>
                </a:lnTo>
                <a:lnTo>
                  <a:pt x="198" y="234"/>
                </a:lnTo>
                <a:lnTo>
                  <a:pt x="198" y="228"/>
                </a:lnTo>
                <a:lnTo>
                  <a:pt x="198" y="216"/>
                </a:lnTo>
                <a:lnTo>
                  <a:pt x="198" y="210"/>
                </a:lnTo>
                <a:lnTo>
                  <a:pt x="198" y="204"/>
                </a:lnTo>
                <a:lnTo>
                  <a:pt x="198" y="198"/>
                </a:lnTo>
                <a:lnTo>
                  <a:pt x="198" y="192"/>
                </a:lnTo>
                <a:lnTo>
                  <a:pt x="198" y="186"/>
                </a:lnTo>
                <a:lnTo>
                  <a:pt x="198" y="180"/>
                </a:lnTo>
                <a:lnTo>
                  <a:pt x="198" y="174"/>
                </a:lnTo>
                <a:lnTo>
                  <a:pt x="198" y="168"/>
                </a:lnTo>
                <a:lnTo>
                  <a:pt x="198" y="162"/>
                </a:lnTo>
                <a:lnTo>
                  <a:pt x="198" y="156"/>
                </a:lnTo>
                <a:lnTo>
                  <a:pt x="198" y="162"/>
                </a:lnTo>
                <a:lnTo>
                  <a:pt x="204" y="162"/>
                </a:lnTo>
                <a:lnTo>
                  <a:pt x="204" y="168"/>
                </a:lnTo>
                <a:lnTo>
                  <a:pt x="210" y="168"/>
                </a:lnTo>
                <a:lnTo>
                  <a:pt x="216" y="168"/>
                </a:lnTo>
                <a:lnTo>
                  <a:pt x="216" y="174"/>
                </a:lnTo>
                <a:lnTo>
                  <a:pt x="222" y="180"/>
                </a:lnTo>
                <a:lnTo>
                  <a:pt x="216" y="180"/>
                </a:lnTo>
                <a:lnTo>
                  <a:pt x="222" y="180"/>
                </a:lnTo>
                <a:lnTo>
                  <a:pt x="222" y="186"/>
                </a:lnTo>
                <a:lnTo>
                  <a:pt x="228" y="192"/>
                </a:lnTo>
                <a:lnTo>
                  <a:pt x="228" y="186"/>
                </a:lnTo>
                <a:lnTo>
                  <a:pt x="228" y="192"/>
                </a:lnTo>
                <a:lnTo>
                  <a:pt x="222" y="192"/>
                </a:lnTo>
                <a:lnTo>
                  <a:pt x="228" y="192"/>
                </a:lnTo>
                <a:lnTo>
                  <a:pt x="228" y="198"/>
                </a:lnTo>
                <a:lnTo>
                  <a:pt x="234" y="198"/>
                </a:lnTo>
                <a:lnTo>
                  <a:pt x="234" y="204"/>
                </a:lnTo>
                <a:lnTo>
                  <a:pt x="228" y="204"/>
                </a:lnTo>
                <a:lnTo>
                  <a:pt x="234" y="204"/>
                </a:lnTo>
                <a:lnTo>
                  <a:pt x="234" y="210"/>
                </a:lnTo>
                <a:lnTo>
                  <a:pt x="234" y="216"/>
                </a:lnTo>
                <a:lnTo>
                  <a:pt x="240" y="222"/>
                </a:lnTo>
                <a:lnTo>
                  <a:pt x="240" y="228"/>
                </a:lnTo>
                <a:lnTo>
                  <a:pt x="240" y="234"/>
                </a:lnTo>
                <a:lnTo>
                  <a:pt x="240" y="240"/>
                </a:lnTo>
                <a:lnTo>
                  <a:pt x="246" y="240"/>
                </a:lnTo>
                <a:lnTo>
                  <a:pt x="240" y="246"/>
                </a:lnTo>
                <a:lnTo>
                  <a:pt x="240" y="252"/>
                </a:lnTo>
                <a:lnTo>
                  <a:pt x="234" y="252"/>
                </a:lnTo>
                <a:lnTo>
                  <a:pt x="234" y="258"/>
                </a:lnTo>
                <a:lnTo>
                  <a:pt x="228" y="258"/>
                </a:lnTo>
                <a:lnTo>
                  <a:pt x="228" y="264"/>
                </a:lnTo>
                <a:lnTo>
                  <a:pt x="228" y="270"/>
                </a:lnTo>
                <a:lnTo>
                  <a:pt x="234" y="270"/>
                </a:lnTo>
                <a:lnTo>
                  <a:pt x="228" y="270"/>
                </a:lnTo>
                <a:lnTo>
                  <a:pt x="234" y="276"/>
                </a:lnTo>
                <a:lnTo>
                  <a:pt x="228" y="276"/>
                </a:lnTo>
                <a:lnTo>
                  <a:pt x="234" y="276"/>
                </a:lnTo>
                <a:lnTo>
                  <a:pt x="228" y="282"/>
                </a:lnTo>
                <a:lnTo>
                  <a:pt x="234" y="282"/>
                </a:lnTo>
                <a:lnTo>
                  <a:pt x="228" y="282"/>
                </a:lnTo>
                <a:lnTo>
                  <a:pt x="234" y="282"/>
                </a:lnTo>
                <a:lnTo>
                  <a:pt x="234" y="288"/>
                </a:lnTo>
                <a:lnTo>
                  <a:pt x="240" y="288"/>
                </a:lnTo>
                <a:lnTo>
                  <a:pt x="240" y="282"/>
                </a:lnTo>
                <a:lnTo>
                  <a:pt x="246" y="282"/>
                </a:lnTo>
                <a:lnTo>
                  <a:pt x="252" y="282"/>
                </a:lnTo>
                <a:lnTo>
                  <a:pt x="252" y="288"/>
                </a:lnTo>
                <a:lnTo>
                  <a:pt x="258" y="288"/>
                </a:lnTo>
                <a:lnTo>
                  <a:pt x="264" y="288"/>
                </a:lnTo>
                <a:lnTo>
                  <a:pt x="270" y="288"/>
                </a:lnTo>
                <a:lnTo>
                  <a:pt x="270" y="282"/>
                </a:lnTo>
                <a:lnTo>
                  <a:pt x="276" y="282"/>
                </a:lnTo>
                <a:lnTo>
                  <a:pt x="276" y="288"/>
                </a:lnTo>
                <a:lnTo>
                  <a:pt x="282" y="288"/>
                </a:lnTo>
                <a:lnTo>
                  <a:pt x="288" y="288"/>
                </a:lnTo>
                <a:lnTo>
                  <a:pt x="294" y="282"/>
                </a:lnTo>
                <a:lnTo>
                  <a:pt x="294" y="276"/>
                </a:lnTo>
                <a:lnTo>
                  <a:pt x="300" y="276"/>
                </a:lnTo>
                <a:lnTo>
                  <a:pt x="306" y="276"/>
                </a:lnTo>
                <a:lnTo>
                  <a:pt x="312" y="270"/>
                </a:lnTo>
                <a:lnTo>
                  <a:pt x="312" y="264"/>
                </a:lnTo>
                <a:lnTo>
                  <a:pt x="318" y="264"/>
                </a:lnTo>
                <a:lnTo>
                  <a:pt x="318" y="258"/>
                </a:lnTo>
                <a:lnTo>
                  <a:pt x="324" y="258"/>
                </a:lnTo>
                <a:lnTo>
                  <a:pt x="324" y="252"/>
                </a:lnTo>
                <a:lnTo>
                  <a:pt x="330" y="252"/>
                </a:lnTo>
                <a:lnTo>
                  <a:pt x="330" y="246"/>
                </a:lnTo>
                <a:lnTo>
                  <a:pt x="336" y="246"/>
                </a:lnTo>
                <a:lnTo>
                  <a:pt x="342" y="246"/>
                </a:lnTo>
                <a:lnTo>
                  <a:pt x="342" y="240"/>
                </a:lnTo>
                <a:lnTo>
                  <a:pt x="342" y="234"/>
                </a:lnTo>
                <a:lnTo>
                  <a:pt x="348" y="234"/>
                </a:lnTo>
                <a:lnTo>
                  <a:pt x="348" y="228"/>
                </a:lnTo>
                <a:lnTo>
                  <a:pt x="348" y="222"/>
                </a:lnTo>
                <a:lnTo>
                  <a:pt x="348" y="216"/>
                </a:lnTo>
                <a:lnTo>
                  <a:pt x="354" y="216"/>
                </a:lnTo>
                <a:lnTo>
                  <a:pt x="354" y="210"/>
                </a:lnTo>
                <a:lnTo>
                  <a:pt x="354" y="204"/>
                </a:lnTo>
                <a:lnTo>
                  <a:pt x="354" y="198"/>
                </a:lnTo>
                <a:lnTo>
                  <a:pt x="354" y="204"/>
                </a:lnTo>
                <a:lnTo>
                  <a:pt x="360" y="204"/>
                </a:lnTo>
                <a:lnTo>
                  <a:pt x="360" y="198"/>
                </a:lnTo>
                <a:lnTo>
                  <a:pt x="354" y="198"/>
                </a:lnTo>
                <a:lnTo>
                  <a:pt x="360" y="198"/>
                </a:lnTo>
                <a:lnTo>
                  <a:pt x="360" y="192"/>
                </a:lnTo>
                <a:lnTo>
                  <a:pt x="366" y="192"/>
                </a:lnTo>
                <a:lnTo>
                  <a:pt x="372" y="192"/>
                </a:lnTo>
                <a:lnTo>
                  <a:pt x="372" y="186"/>
                </a:lnTo>
                <a:lnTo>
                  <a:pt x="378" y="186"/>
                </a:lnTo>
                <a:lnTo>
                  <a:pt x="378" y="192"/>
                </a:lnTo>
                <a:lnTo>
                  <a:pt x="378" y="186"/>
                </a:lnTo>
                <a:lnTo>
                  <a:pt x="378" y="192"/>
                </a:lnTo>
                <a:lnTo>
                  <a:pt x="384" y="186"/>
                </a:lnTo>
                <a:lnTo>
                  <a:pt x="384" y="192"/>
                </a:lnTo>
                <a:lnTo>
                  <a:pt x="390" y="186"/>
                </a:lnTo>
                <a:lnTo>
                  <a:pt x="390" y="192"/>
                </a:lnTo>
                <a:lnTo>
                  <a:pt x="396" y="192"/>
                </a:lnTo>
                <a:lnTo>
                  <a:pt x="396" y="198"/>
                </a:lnTo>
                <a:lnTo>
                  <a:pt x="396" y="192"/>
                </a:lnTo>
                <a:lnTo>
                  <a:pt x="396" y="198"/>
                </a:lnTo>
                <a:lnTo>
                  <a:pt x="402" y="198"/>
                </a:lnTo>
                <a:lnTo>
                  <a:pt x="402" y="204"/>
                </a:lnTo>
                <a:lnTo>
                  <a:pt x="408" y="204"/>
                </a:lnTo>
                <a:lnTo>
                  <a:pt x="408" y="210"/>
                </a:lnTo>
                <a:lnTo>
                  <a:pt x="414" y="210"/>
                </a:lnTo>
                <a:lnTo>
                  <a:pt x="420" y="210"/>
                </a:lnTo>
                <a:lnTo>
                  <a:pt x="426" y="210"/>
                </a:lnTo>
                <a:lnTo>
                  <a:pt x="432" y="210"/>
                </a:lnTo>
                <a:lnTo>
                  <a:pt x="432" y="216"/>
                </a:lnTo>
                <a:lnTo>
                  <a:pt x="438" y="216"/>
                </a:lnTo>
                <a:lnTo>
                  <a:pt x="444" y="216"/>
                </a:lnTo>
                <a:lnTo>
                  <a:pt x="450" y="222"/>
                </a:lnTo>
                <a:lnTo>
                  <a:pt x="456" y="222"/>
                </a:lnTo>
                <a:lnTo>
                  <a:pt x="462" y="222"/>
                </a:lnTo>
                <a:lnTo>
                  <a:pt x="468" y="222"/>
                </a:lnTo>
                <a:lnTo>
                  <a:pt x="474" y="216"/>
                </a:lnTo>
                <a:lnTo>
                  <a:pt x="480" y="216"/>
                </a:lnTo>
                <a:lnTo>
                  <a:pt x="486" y="216"/>
                </a:lnTo>
                <a:lnTo>
                  <a:pt x="492" y="216"/>
                </a:lnTo>
                <a:lnTo>
                  <a:pt x="492" y="222"/>
                </a:lnTo>
                <a:lnTo>
                  <a:pt x="492" y="216"/>
                </a:lnTo>
                <a:lnTo>
                  <a:pt x="498" y="216"/>
                </a:lnTo>
                <a:lnTo>
                  <a:pt x="504" y="210"/>
                </a:lnTo>
                <a:lnTo>
                  <a:pt x="510" y="210"/>
                </a:lnTo>
                <a:lnTo>
                  <a:pt x="510" y="204"/>
                </a:lnTo>
                <a:lnTo>
                  <a:pt x="510" y="198"/>
                </a:lnTo>
                <a:lnTo>
                  <a:pt x="510" y="192"/>
                </a:lnTo>
                <a:lnTo>
                  <a:pt x="516" y="186"/>
                </a:lnTo>
                <a:lnTo>
                  <a:pt x="516" y="180"/>
                </a:lnTo>
                <a:lnTo>
                  <a:pt x="522" y="174"/>
                </a:lnTo>
                <a:lnTo>
                  <a:pt x="522" y="168"/>
                </a:lnTo>
                <a:lnTo>
                  <a:pt x="522" y="162"/>
                </a:lnTo>
                <a:lnTo>
                  <a:pt x="522" y="156"/>
                </a:lnTo>
                <a:lnTo>
                  <a:pt x="528" y="156"/>
                </a:lnTo>
                <a:lnTo>
                  <a:pt x="534" y="156"/>
                </a:lnTo>
                <a:lnTo>
                  <a:pt x="534" y="150"/>
                </a:lnTo>
                <a:lnTo>
                  <a:pt x="540" y="150"/>
                </a:lnTo>
                <a:lnTo>
                  <a:pt x="546" y="150"/>
                </a:lnTo>
                <a:lnTo>
                  <a:pt x="552" y="150"/>
                </a:lnTo>
                <a:lnTo>
                  <a:pt x="558" y="150"/>
                </a:lnTo>
                <a:lnTo>
                  <a:pt x="558" y="144"/>
                </a:lnTo>
                <a:lnTo>
                  <a:pt x="558" y="138"/>
                </a:lnTo>
                <a:lnTo>
                  <a:pt x="564" y="138"/>
                </a:lnTo>
                <a:lnTo>
                  <a:pt x="564" y="132"/>
                </a:lnTo>
                <a:lnTo>
                  <a:pt x="570" y="132"/>
                </a:lnTo>
                <a:lnTo>
                  <a:pt x="570" y="126"/>
                </a:lnTo>
                <a:lnTo>
                  <a:pt x="570" y="132"/>
                </a:lnTo>
                <a:lnTo>
                  <a:pt x="576" y="126"/>
                </a:lnTo>
                <a:lnTo>
                  <a:pt x="576" y="120"/>
                </a:lnTo>
                <a:lnTo>
                  <a:pt x="576" y="114"/>
                </a:lnTo>
                <a:lnTo>
                  <a:pt x="582" y="114"/>
                </a:lnTo>
                <a:lnTo>
                  <a:pt x="582" y="108"/>
                </a:lnTo>
                <a:lnTo>
                  <a:pt x="582" y="102"/>
                </a:lnTo>
                <a:lnTo>
                  <a:pt x="582" y="96"/>
                </a:lnTo>
                <a:lnTo>
                  <a:pt x="582" y="90"/>
                </a:lnTo>
                <a:lnTo>
                  <a:pt x="588" y="90"/>
                </a:lnTo>
                <a:lnTo>
                  <a:pt x="588" y="84"/>
                </a:lnTo>
                <a:lnTo>
                  <a:pt x="594" y="84"/>
                </a:lnTo>
                <a:lnTo>
                  <a:pt x="600" y="84"/>
                </a:lnTo>
                <a:lnTo>
                  <a:pt x="594" y="84"/>
                </a:lnTo>
                <a:lnTo>
                  <a:pt x="594" y="78"/>
                </a:lnTo>
                <a:lnTo>
                  <a:pt x="600" y="78"/>
                </a:lnTo>
                <a:lnTo>
                  <a:pt x="606" y="78"/>
                </a:lnTo>
                <a:lnTo>
                  <a:pt x="606" y="72"/>
                </a:lnTo>
                <a:lnTo>
                  <a:pt x="606" y="78"/>
                </a:lnTo>
                <a:lnTo>
                  <a:pt x="606" y="72"/>
                </a:lnTo>
                <a:lnTo>
                  <a:pt x="606" y="78"/>
                </a:lnTo>
                <a:lnTo>
                  <a:pt x="612" y="78"/>
                </a:lnTo>
                <a:lnTo>
                  <a:pt x="612" y="72"/>
                </a:lnTo>
                <a:lnTo>
                  <a:pt x="618" y="72"/>
                </a:lnTo>
                <a:lnTo>
                  <a:pt x="618" y="66"/>
                </a:lnTo>
                <a:lnTo>
                  <a:pt x="624" y="66"/>
                </a:lnTo>
                <a:lnTo>
                  <a:pt x="624" y="60"/>
                </a:lnTo>
                <a:lnTo>
                  <a:pt x="624" y="66"/>
                </a:lnTo>
                <a:lnTo>
                  <a:pt x="630" y="66"/>
                </a:lnTo>
                <a:lnTo>
                  <a:pt x="630" y="60"/>
                </a:lnTo>
                <a:lnTo>
                  <a:pt x="630" y="54"/>
                </a:lnTo>
                <a:lnTo>
                  <a:pt x="636" y="54"/>
                </a:lnTo>
                <a:lnTo>
                  <a:pt x="636" y="48"/>
                </a:lnTo>
                <a:lnTo>
                  <a:pt x="642" y="48"/>
                </a:lnTo>
                <a:lnTo>
                  <a:pt x="642" y="42"/>
                </a:lnTo>
                <a:lnTo>
                  <a:pt x="648" y="42"/>
                </a:lnTo>
                <a:lnTo>
                  <a:pt x="648" y="36"/>
                </a:lnTo>
                <a:lnTo>
                  <a:pt x="648" y="30"/>
                </a:lnTo>
                <a:lnTo>
                  <a:pt x="654" y="30"/>
                </a:lnTo>
                <a:lnTo>
                  <a:pt x="654" y="24"/>
                </a:lnTo>
                <a:lnTo>
                  <a:pt x="660" y="24"/>
                </a:lnTo>
                <a:lnTo>
                  <a:pt x="666" y="24"/>
                </a:lnTo>
                <a:lnTo>
                  <a:pt x="672" y="24"/>
                </a:lnTo>
                <a:lnTo>
                  <a:pt x="678" y="24"/>
                </a:lnTo>
                <a:lnTo>
                  <a:pt x="678" y="18"/>
                </a:lnTo>
                <a:lnTo>
                  <a:pt x="684" y="18"/>
                </a:lnTo>
                <a:lnTo>
                  <a:pt x="690" y="18"/>
                </a:lnTo>
                <a:lnTo>
                  <a:pt x="696" y="18"/>
                </a:lnTo>
                <a:lnTo>
                  <a:pt x="696" y="12"/>
                </a:lnTo>
                <a:lnTo>
                  <a:pt x="696" y="6"/>
                </a:lnTo>
                <a:lnTo>
                  <a:pt x="696" y="0"/>
                </a:lnTo>
                <a:lnTo>
                  <a:pt x="702" y="0"/>
                </a:lnTo>
                <a:lnTo>
                  <a:pt x="708" y="0"/>
                </a:lnTo>
                <a:lnTo>
                  <a:pt x="714" y="0"/>
                </a:lnTo>
                <a:lnTo>
                  <a:pt x="720" y="0"/>
                </a:lnTo>
                <a:lnTo>
                  <a:pt x="726" y="0"/>
                </a:lnTo>
                <a:lnTo>
                  <a:pt x="732" y="0"/>
                </a:lnTo>
                <a:lnTo>
                  <a:pt x="738" y="0"/>
                </a:lnTo>
                <a:lnTo>
                  <a:pt x="744" y="0"/>
                </a:lnTo>
                <a:lnTo>
                  <a:pt x="750" y="0"/>
                </a:lnTo>
                <a:lnTo>
                  <a:pt x="750" y="6"/>
                </a:lnTo>
                <a:lnTo>
                  <a:pt x="756" y="6"/>
                </a:lnTo>
                <a:lnTo>
                  <a:pt x="762" y="6"/>
                </a:lnTo>
                <a:lnTo>
                  <a:pt x="768" y="6"/>
                </a:lnTo>
                <a:lnTo>
                  <a:pt x="768" y="12"/>
                </a:lnTo>
                <a:lnTo>
                  <a:pt x="774" y="12"/>
                </a:lnTo>
                <a:lnTo>
                  <a:pt x="780" y="12"/>
                </a:lnTo>
                <a:lnTo>
                  <a:pt x="780" y="6"/>
                </a:lnTo>
                <a:lnTo>
                  <a:pt x="786" y="6"/>
                </a:lnTo>
                <a:lnTo>
                  <a:pt x="786" y="12"/>
                </a:lnTo>
                <a:lnTo>
                  <a:pt x="786" y="6"/>
                </a:lnTo>
                <a:lnTo>
                  <a:pt x="792" y="6"/>
                </a:lnTo>
                <a:lnTo>
                  <a:pt x="798" y="6"/>
                </a:lnTo>
                <a:lnTo>
                  <a:pt x="804" y="6"/>
                </a:lnTo>
                <a:lnTo>
                  <a:pt x="810" y="12"/>
                </a:lnTo>
                <a:lnTo>
                  <a:pt x="810" y="6"/>
                </a:lnTo>
                <a:lnTo>
                  <a:pt x="810" y="12"/>
                </a:lnTo>
                <a:lnTo>
                  <a:pt x="816" y="12"/>
                </a:lnTo>
                <a:lnTo>
                  <a:pt x="822" y="12"/>
                </a:lnTo>
                <a:lnTo>
                  <a:pt x="828" y="12"/>
                </a:lnTo>
                <a:lnTo>
                  <a:pt x="828" y="24"/>
                </a:lnTo>
                <a:lnTo>
                  <a:pt x="834" y="36"/>
                </a:lnTo>
                <a:lnTo>
                  <a:pt x="834" y="48"/>
                </a:lnTo>
                <a:lnTo>
                  <a:pt x="834" y="54"/>
                </a:lnTo>
                <a:lnTo>
                  <a:pt x="840" y="54"/>
                </a:lnTo>
                <a:lnTo>
                  <a:pt x="840" y="60"/>
                </a:lnTo>
                <a:lnTo>
                  <a:pt x="840" y="66"/>
                </a:lnTo>
                <a:lnTo>
                  <a:pt x="840" y="72"/>
                </a:lnTo>
                <a:lnTo>
                  <a:pt x="840" y="78"/>
                </a:lnTo>
                <a:lnTo>
                  <a:pt x="846" y="84"/>
                </a:lnTo>
                <a:lnTo>
                  <a:pt x="846" y="90"/>
                </a:lnTo>
                <a:lnTo>
                  <a:pt x="846" y="96"/>
                </a:lnTo>
                <a:lnTo>
                  <a:pt x="852" y="102"/>
                </a:lnTo>
                <a:lnTo>
                  <a:pt x="858" y="108"/>
                </a:lnTo>
                <a:lnTo>
                  <a:pt x="858" y="120"/>
                </a:lnTo>
                <a:lnTo>
                  <a:pt x="864" y="126"/>
                </a:lnTo>
                <a:lnTo>
                  <a:pt x="864" y="132"/>
                </a:lnTo>
                <a:lnTo>
                  <a:pt x="864" y="138"/>
                </a:lnTo>
                <a:lnTo>
                  <a:pt x="864" y="144"/>
                </a:lnTo>
                <a:lnTo>
                  <a:pt x="864" y="150"/>
                </a:lnTo>
                <a:lnTo>
                  <a:pt x="864" y="156"/>
                </a:lnTo>
                <a:lnTo>
                  <a:pt x="864" y="162"/>
                </a:lnTo>
                <a:lnTo>
                  <a:pt x="864" y="168"/>
                </a:lnTo>
                <a:lnTo>
                  <a:pt x="864" y="174"/>
                </a:lnTo>
                <a:lnTo>
                  <a:pt x="864" y="180"/>
                </a:lnTo>
                <a:lnTo>
                  <a:pt x="864" y="186"/>
                </a:lnTo>
                <a:lnTo>
                  <a:pt x="864" y="192"/>
                </a:lnTo>
                <a:lnTo>
                  <a:pt x="864" y="198"/>
                </a:lnTo>
                <a:lnTo>
                  <a:pt x="864" y="204"/>
                </a:lnTo>
                <a:lnTo>
                  <a:pt x="864" y="210"/>
                </a:lnTo>
                <a:lnTo>
                  <a:pt x="864" y="216"/>
                </a:lnTo>
                <a:lnTo>
                  <a:pt x="864" y="222"/>
                </a:lnTo>
                <a:lnTo>
                  <a:pt x="858" y="222"/>
                </a:lnTo>
                <a:lnTo>
                  <a:pt x="864" y="228"/>
                </a:lnTo>
                <a:lnTo>
                  <a:pt x="858" y="234"/>
                </a:lnTo>
                <a:lnTo>
                  <a:pt x="852" y="234"/>
                </a:lnTo>
                <a:lnTo>
                  <a:pt x="852" y="228"/>
                </a:lnTo>
                <a:lnTo>
                  <a:pt x="846" y="228"/>
                </a:lnTo>
                <a:lnTo>
                  <a:pt x="846" y="222"/>
                </a:lnTo>
                <a:lnTo>
                  <a:pt x="840" y="222"/>
                </a:lnTo>
                <a:lnTo>
                  <a:pt x="834" y="222"/>
                </a:lnTo>
                <a:lnTo>
                  <a:pt x="834" y="216"/>
                </a:lnTo>
                <a:lnTo>
                  <a:pt x="828" y="216"/>
                </a:lnTo>
                <a:lnTo>
                  <a:pt x="822" y="222"/>
                </a:lnTo>
                <a:lnTo>
                  <a:pt x="816" y="228"/>
                </a:lnTo>
                <a:lnTo>
                  <a:pt x="816" y="234"/>
                </a:lnTo>
                <a:lnTo>
                  <a:pt x="810" y="234"/>
                </a:lnTo>
                <a:lnTo>
                  <a:pt x="810" y="240"/>
                </a:lnTo>
                <a:lnTo>
                  <a:pt x="810" y="246"/>
                </a:lnTo>
                <a:lnTo>
                  <a:pt x="804" y="252"/>
                </a:lnTo>
                <a:lnTo>
                  <a:pt x="804" y="258"/>
                </a:lnTo>
                <a:lnTo>
                  <a:pt x="798" y="258"/>
                </a:lnTo>
                <a:lnTo>
                  <a:pt x="798" y="270"/>
                </a:lnTo>
                <a:lnTo>
                  <a:pt x="798" y="276"/>
                </a:lnTo>
                <a:lnTo>
                  <a:pt x="798" y="282"/>
                </a:lnTo>
                <a:lnTo>
                  <a:pt x="798" y="288"/>
                </a:lnTo>
                <a:lnTo>
                  <a:pt x="798" y="282"/>
                </a:lnTo>
                <a:lnTo>
                  <a:pt x="804" y="282"/>
                </a:lnTo>
                <a:lnTo>
                  <a:pt x="804" y="288"/>
                </a:lnTo>
                <a:lnTo>
                  <a:pt x="810" y="288"/>
                </a:lnTo>
                <a:lnTo>
                  <a:pt x="810" y="294"/>
                </a:lnTo>
                <a:lnTo>
                  <a:pt x="804" y="294"/>
                </a:lnTo>
                <a:lnTo>
                  <a:pt x="810" y="300"/>
                </a:lnTo>
                <a:lnTo>
                  <a:pt x="816" y="306"/>
                </a:lnTo>
                <a:lnTo>
                  <a:pt x="822" y="312"/>
                </a:lnTo>
                <a:lnTo>
                  <a:pt x="828" y="312"/>
                </a:lnTo>
                <a:lnTo>
                  <a:pt x="834" y="312"/>
                </a:lnTo>
                <a:lnTo>
                  <a:pt x="834" y="318"/>
                </a:lnTo>
                <a:lnTo>
                  <a:pt x="840" y="318"/>
                </a:lnTo>
                <a:lnTo>
                  <a:pt x="846" y="318"/>
                </a:lnTo>
                <a:lnTo>
                  <a:pt x="852" y="318"/>
                </a:lnTo>
                <a:lnTo>
                  <a:pt x="858" y="318"/>
                </a:lnTo>
                <a:lnTo>
                  <a:pt x="864" y="318"/>
                </a:lnTo>
                <a:lnTo>
                  <a:pt x="864" y="312"/>
                </a:lnTo>
                <a:lnTo>
                  <a:pt x="864" y="306"/>
                </a:lnTo>
                <a:lnTo>
                  <a:pt x="864" y="300"/>
                </a:lnTo>
                <a:lnTo>
                  <a:pt x="864" y="294"/>
                </a:lnTo>
                <a:lnTo>
                  <a:pt x="864" y="288"/>
                </a:lnTo>
                <a:lnTo>
                  <a:pt x="864" y="282"/>
                </a:lnTo>
                <a:lnTo>
                  <a:pt x="870" y="282"/>
                </a:lnTo>
                <a:lnTo>
                  <a:pt x="870" y="288"/>
                </a:lnTo>
                <a:close/>
                <a:moveTo>
                  <a:pt x="708" y="468"/>
                </a:moveTo>
                <a:lnTo>
                  <a:pt x="702" y="468"/>
                </a:lnTo>
                <a:lnTo>
                  <a:pt x="708" y="468"/>
                </a:lnTo>
                <a:lnTo>
                  <a:pt x="708" y="462"/>
                </a:lnTo>
                <a:lnTo>
                  <a:pt x="714" y="462"/>
                </a:lnTo>
                <a:lnTo>
                  <a:pt x="714" y="456"/>
                </a:lnTo>
                <a:lnTo>
                  <a:pt x="714" y="450"/>
                </a:lnTo>
                <a:lnTo>
                  <a:pt x="720" y="450"/>
                </a:lnTo>
                <a:lnTo>
                  <a:pt x="720" y="444"/>
                </a:lnTo>
                <a:lnTo>
                  <a:pt x="720" y="438"/>
                </a:lnTo>
                <a:lnTo>
                  <a:pt x="720" y="432"/>
                </a:lnTo>
                <a:lnTo>
                  <a:pt x="714" y="432"/>
                </a:lnTo>
                <a:lnTo>
                  <a:pt x="714" y="426"/>
                </a:lnTo>
                <a:lnTo>
                  <a:pt x="708" y="426"/>
                </a:lnTo>
                <a:lnTo>
                  <a:pt x="708" y="420"/>
                </a:lnTo>
                <a:lnTo>
                  <a:pt x="702" y="420"/>
                </a:lnTo>
                <a:lnTo>
                  <a:pt x="696" y="414"/>
                </a:lnTo>
                <a:lnTo>
                  <a:pt x="690" y="408"/>
                </a:lnTo>
                <a:lnTo>
                  <a:pt x="684" y="408"/>
                </a:lnTo>
                <a:lnTo>
                  <a:pt x="684" y="402"/>
                </a:lnTo>
                <a:lnTo>
                  <a:pt x="678" y="402"/>
                </a:lnTo>
                <a:lnTo>
                  <a:pt x="678" y="396"/>
                </a:lnTo>
                <a:lnTo>
                  <a:pt x="672" y="396"/>
                </a:lnTo>
                <a:lnTo>
                  <a:pt x="666" y="396"/>
                </a:lnTo>
                <a:lnTo>
                  <a:pt x="660" y="402"/>
                </a:lnTo>
                <a:lnTo>
                  <a:pt x="654" y="402"/>
                </a:lnTo>
                <a:lnTo>
                  <a:pt x="648" y="402"/>
                </a:lnTo>
                <a:lnTo>
                  <a:pt x="648" y="408"/>
                </a:lnTo>
                <a:lnTo>
                  <a:pt x="648" y="402"/>
                </a:lnTo>
                <a:lnTo>
                  <a:pt x="648" y="408"/>
                </a:lnTo>
                <a:lnTo>
                  <a:pt x="642" y="408"/>
                </a:lnTo>
                <a:lnTo>
                  <a:pt x="642" y="414"/>
                </a:lnTo>
                <a:lnTo>
                  <a:pt x="636" y="414"/>
                </a:lnTo>
                <a:lnTo>
                  <a:pt x="630" y="414"/>
                </a:lnTo>
                <a:lnTo>
                  <a:pt x="630" y="420"/>
                </a:lnTo>
                <a:lnTo>
                  <a:pt x="624" y="420"/>
                </a:lnTo>
                <a:lnTo>
                  <a:pt x="624" y="426"/>
                </a:lnTo>
                <a:lnTo>
                  <a:pt x="624" y="432"/>
                </a:lnTo>
                <a:lnTo>
                  <a:pt x="618" y="432"/>
                </a:lnTo>
                <a:lnTo>
                  <a:pt x="618" y="438"/>
                </a:lnTo>
                <a:lnTo>
                  <a:pt x="612" y="438"/>
                </a:lnTo>
                <a:lnTo>
                  <a:pt x="618" y="438"/>
                </a:lnTo>
                <a:lnTo>
                  <a:pt x="612" y="438"/>
                </a:lnTo>
                <a:lnTo>
                  <a:pt x="612" y="444"/>
                </a:lnTo>
                <a:lnTo>
                  <a:pt x="606" y="444"/>
                </a:lnTo>
                <a:lnTo>
                  <a:pt x="612" y="444"/>
                </a:lnTo>
                <a:lnTo>
                  <a:pt x="612" y="450"/>
                </a:lnTo>
                <a:lnTo>
                  <a:pt x="606" y="450"/>
                </a:lnTo>
                <a:lnTo>
                  <a:pt x="600" y="456"/>
                </a:lnTo>
                <a:lnTo>
                  <a:pt x="606" y="456"/>
                </a:lnTo>
                <a:lnTo>
                  <a:pt x="600" y="456"/>
                </a:lnTo>
                <a:lnTo>
                  <a:pt x="594" y="456"/>
                </a:lnTo>
                <a:lnTo>
                  <a:pt x="594" y="462"/>
                </a:lnTo>
                <a:lnTo>
                  <a:pt x="588" y="462"/>
                </a:lnTo>
                <a:lnTo>
                  <a:pt x="588" y="468"/>
                </a:lnTo>
                <a:lnTo>
                  <a:pt x="594" y="468"/>
                </a:lnTo>
                <a:lnTo>
                  <a:pt x="594" y="474"/>
                </a:lnTo>
                <a:lnTo>
                  <a:pt x="594" y="480"/>
                </a:lnTo>
                <a:lnTo>
                  <a:pt x="600" y="480"/>
                </a:lnTo>
                <a:lnTo>
                  <a:pt x="600" y="486"/>
                </a:lnTo>
                <a:lnTo>
                  <a:pt x="600" y="492"/>
                </a:lnTo>
                <a:lnTo>
                  <a:pt x="606" y="492"/>
                </a:lnTo>
                <a:lnTo>
                  <a:pt x="606" y="498"/>
                </a:lnTo>
                <a:lnTo>
                  <a:pt x="606" y="492"/>
                </a:lnTo>
                <a:lnTo>
                  <a:pt x="606" y="498"/>
                </a:lnTo>
                <a:lnTo>
                  <a:pt x="606" y="504"/>
                </a:lnTo>
                <a:lnTo>
                  <a:pt x="612" y="504"/>
                </a:lnTo>
                <a:lnTo>
                  <a:pt x="612" y="510"/>
                </a:lnTo>
                <a:lnTo>
                  <a:pt x="618" y="510"/>
                </a:lnTo>
                <a:lnTo>
                  <a:pt x="618" y="516"/>
                </a:lnTo>
                <a:lnTo>
                  <a:pt x="624" y="516"/>
                </a:lnTo>
                <a:lnTo>
                  <a:pt x="624" y="522"/>
                </a:lnTo>
                <a:lnTo>
                  <a:pt x="630" y="522"/>
                </a:lnTo>
                <a:lnTo>
                  <a:pt x="636" y="522"/>
                </a:lnTo>
                <a:lnTo>
                  <a:pt x="636" y="528"/>
                </a:lnTo>
                <a:lnTo>
                  <a:pt x="642" y="528"/>
                </a:lnTo>
                <a:lnTo>
                  <a:pt x="648" y="528"/>
                </a:lnTo>
                <a:lnTo>
                  <a:pt x="648" y="522"/>
                </a:lnTo>
                <a:lnTo>
                  <a:pt x="648" y="516"/>
                </a:lnTo>
                <a:lnTo>
                  <a:pt x="654" y="516"/>
                </a:lnTo>
                <a:lnTo>
                  <a:pt x="648" y="516"/>
                </a:lnTo>
                <a:lnTo>
                  <a:pt x="654" y="516"/>
                </a:lnTo>
                <a:lnTo>
                  <a:pt x="654" y="510"/>
                </a:lnTo>
                <a:lnTo>
                  <a:pt x="654" y="504"/>
                </a:lnTo>
                <a:lnTo>
                  <a:pt x="660" y="504"/>
                </a:lnTo>
                <a:lnTo>
                  <a:pt x="660" y="498"/>
                </a:lnTo>
                <a:lnTo>
                  <a:pt x="666" y="492"/>
                </a:lnTo>
                <a:lnTo>
                  <a:pt x="666" y="498"/>
                </a:lnTo>
                <a:lnTo>
                  <a:pt x="672" y="492"/>
                </a:lnTo>
                <a:lnTo>
                  <a:pt x="672" y="498"/>
                </a:lnTo>
                <a:lnTo>
                  <a:pt x="672" y="492"/>
                </a:lnTo>
                <a:lnTo>
                  <a:pt x="678" y="492"/>
                </a:lnTo>
                <a:lnTo>
                  <a:pt x="684" y="492"/>
                </a:lnTo>
                <a:lnTo>
                  <a:pt x="690" y="492"/>
                </a:lnTo>
                <a:lnTo>
                  <a:pt x="696" y="486"/>
                </a:lnTo>
                <a:lnTo>
                  <a:pt x="702" y="486"/>
                </a:lnTo>
                <a:lnTo>
                  <a:pt x="702" y="480"/>
                </a:lnTo>
                <a:lnTo>
                  <a:pt x="702" y="486"/>
                </a:lnTo>
                <a:lnTo>
                  <a:pt x="702" y="480"/>
                </a:lnTo>
                <a:lnTo>
                  <a:pt x="708" y="480"/>
                </a:lnTo>
                <a:lnTo>
                  <a:pt x="708" y="474"/>
                </a:lnTo>
                <a:lnTo>
                  <a:pt x="702" y="474"/>
                </a:lnTo>
                <a:lnTo>
                  <a:pt x="708" y="474"/>
                </a:lnTo>
                <a:lnTo>
                  <a:pt x="708" y="468"/>
                </a:lnTo>
                <a:close/>
                <a:moveTo>
                  <a:pt x="102" y="732"/>
                </a:moveTo>
                <a:lnTo>
                  <a:pt x="108" y="732"/>
                </a:lnTo>
                <a:lnTo>
                  <a:pt x="108" y="738"/>
                </a:lnTo>
                <a:lnTo>
                  <a:pt x="102" y="738"/>
                </a:lnTo>
                <a:lnTo>
                  <a:pt x="102" y="732"/>
                </a:lnTo>
                <a:close/>
              </a:path>
            </a:pathLst>
          </a:custGeom>
          <a:solidFill>
            <a:schemeClr val="accent1">
              <a:lumMod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66" name="Freeform 60">
            <a:extLst>
              <a:ext uri="{FF2B5EF4-FFF2-40B4-BE49-F238E27FC236}">
                <a16:creationId xmlns:a16="http://schemas.microsoft.com/office/drawing/2014/main" id="{D057E54E-D8C1-2F47-9245-556AB612B089}"/>
              </a:ext>
            </a:extLst>
          </p:cNvPr>
          <p:cNvSpPr>
            <a:spLocks/>
          </p:cNvSpPr>
          <p:nvPr>
            <p:custDataLst>
              <p:tags r:id="rId54"/>
            </p:custDataLst>
          </p:nvPr>
        </p:nvSpPr>
        <p:spPr bwMode="gray">
          <a:xfrm>
            <a:off x="5524839" y="5822256"/>
            <a:ext cx="80988" cy="89455"/>
          </a:xfrm>
          <a:custGeom>
            <a:avLst/>
            <a:gdLst>
              <a:gd name="T0" fmla="*/ 21490 w 72"/>
              <a:gd name="T1" fmla="*/ 3956 h 102"/>
              <a:gd name="T2" fmla="*/ 21490 w 72"/>
              <a:gd name="T3" fmla="*/ 6924 h 102"/>
              <a:gd name="T4" fmla="*/ 24294 w 72"/>
              <a:gd name="T5" fmla="*/ 6924 h 102"/>
              <a:gd name="T6" fmla="*/ 24294 w 72"/>
              <a:gd name="T7" fmla="*/ 10880 h 102"/>
              <a:gd name="T8" fmla="*/ 24294 w 72"/>
              <a:gd name="T9" fmla="*/ 12858 h 102"/>
              <a:gd name="T10" fmla="*/ 24294 w 72"/>
              <a:gd name="T11" fmla="*/ 15825 h 102"/>
              <a:gd name="T12" fmla="*/ 24294 w 72"/>
              <a:gd name="T13" fmla="*/ 17803 h 102"/>
              <a:gd name="T14" fmla="*/ 24294 w 72"/>
              <a:gd name="T15" fmla="*/ 21760 h 102"/>
              <a:gd name="T16" fmla="*/ 24294 w 72"/>
              <a:gd name="T17" fmla="*/ 26705 h 102"/>
              <a:gd name="T18" fmla="*/ 24294 w 72"/>
              <a:gd name="T19" fmla="*/ 23738 h 102"/>
              <a:gd name="T20" fmla="*/ 21490 w 72"/>
              <a:gd name="T21" fmla="*/ 23738 h 102"/>
              <a:gd name="T22" fmla="*/ 21490 w 72"/>
              <a:gd name="T23" fmla="*/ 26705 h 102"/>
              <a:gd name="T24" fmla="*/ 21490 w 72"/>
              <a:gd name="T25" fmla="*/ 28684 h 102"/>
              <a:gd name="T26" fmla="*/ 21490 w 72"/>
              <a:gd name="T27" fmla="*/ 30662 h 102"/>
              <a:gd name="T28" fmla="*/ 21490 w 72"/>
              <a:gd name="T29" fmla="*/ 32640 h 102"/>
              <a:gd name="T30" fmla="*/ 21490 w 72"/>
              <a:gd name="T31" fmla="*/ 34618 h 102"/>
              <a:gd name="T32" fmla="*/ 21490 w 72"/>
              <a:gd name="T33" fmla="*/ 37585 h 102"/>
              <a:gd name="T34" fmla="*/ 20556 w 72"/>
              <a:gd name="T35" fmla="*/ 37585 h 102"/>
              <a:gd name="T36" fmla="*/ 17753 w 72"/>
              <a:gd name="T37" fmla="*/ 37585 h 102"/>
              <a:gd name="T38" fmla="*/ 15884 w 72"/>
              <a:gd name="T39" fmla="*/ 37585 h 102"/>
              <a:gd name="T40" fmla="*/ 14016 w 72"/>
              <a:gd name="T41" fmla="*/ 37585 h 102"/>
              <a:gd name="T42" fmla="*/ 12147 w 72"/>
              <a:gd name="T43" fmla="*/ 37585 h 102"/>
              <a:gd name="T44" fmla="*/ 12147 w 72"/>
              <a:gd name="T45" fmla="*/ 34618 h 102"/>
              <a:gd name="T46" fmla="*/ 10278 w 72"/>
              <a:gd name="T47" fmla="*/ 34618 h 102"/>
              <a:gd name="T48" fmla="*/ 7475 w 72"/>
              <a:gd name="T49" fmla="*/ 34618 h 102"/>
              <a:gd name="T50" fmla="*/ 6540 w 72"/>
              <a:gd name="T51" fmla="*/ 32640 h 102"/>
              <a:gd name="T52" fmla="*/ 3738 w 72"/>
              <a:gd name="T53" fmla="*/ 30662 h 102"/>
              <a:gd name="T54" fmla="*/ 1868 w 72"/>
              <a:gd name="T55" fmla="*/ 28684 h 102"/>
              <a:gd name="T56" fmla="*/ 3738 w 72"/>
              <a:gd name="T57" fmla="*/ 28684 h 102"/>
              <a:gd name="T58" fmla="*/ 3738 w 72"/>
              <a:gd name="T59" fmla="*/ 26705 h 102"/>
              <a:gd name="T60" fmla="*/ 1868 w 72"/>
              <a:gd name="T61" fmla="*/ 26705 h 102"/>
              <a:gd name="T62" fmla="*/ 1868 w 72"/>
              <a:gd name="T63" fmla="*/ 23738 h 102"/>
              <a:gd name="T64" fmla="*/ 0 w 72"/>
              <a:gd name="T65" fmla="*/ 23738 h 102"/>
              <a:gd name="T66" fmla="*/ 0 w 72"/>
              <a:gd name="T67" fmla="*/ 26705 h 102"/>
              <a:gd name="T68" fmla="*/ 0 w 72"/>
              <a:gd name="T69" fmla="*/ 23738 h 102"/>
              <a:gd name="T70" fmla="*/ 0 w 72"/>
              <a:gd name="T71" fmla="*/ 21760 h 102"/>
              <a:gd name="T72" fmla="*/ 0 w 72"/>
              <a:gd name="T73" fmla="*/ 19781 h 102"/>
              <a:gd name="T74" fmla="*/ 0 w 72"/>
              <a:gd name="T75" fmla="*/ 15825 h 102"/>
              <a:gd name="T76" fmla="*/ 1868 w 72"/>
              <a:gd name="T77" fmla="*/ 15825 h 102"/>
              <a:gd name="T78" fmla="*/ 1868 w 72"/>
              <a:gd name="T79" fmla="*/ 12858 h 102"/>
              <a:gd name="T80" fmla="*/ 3738 w 72"/>
              <a:gd name="T81" fmla="*/ 10880 h 102"/>
              <a:gd name="T82" fmla="*/ 3738 w 72"/>
              <a:gd name="T83" fmla="*/ 8902 h 102"/>
              <a:gd name="T84" fmla="*/ 3738 w 72"/>
              <a:gd name="T85" fmla="*/ 6924 h 102"/>
              <a:gd name="T86" fmla="*/ 6540 w 72"/>
              <a:gd name="T87" fmla="*/ 6924 h 102"/>
              <a:gd name="T88" fmla="*/ 6540 w 72"/>
              <a:gd name="T89" fmla="*/ 3956 h 102"/>
              <a:gd name="T90" fmla="*/ 7475 w 72"/>
              <a:gd name="T91" fmla="*/ 1978 h 102"/>
              <a:gd name="T92" fmla="*/ 10278 w 72"/>
              <a:gd name="T93" fmla="*/ 0 h 102"/>
              <a:gd name="T94" fmla="*/ 12147 w 72"/>
              <a:gd name="T95" fmla="*/ 0 h 102"/>
              <a:gd name="T96" fmla="*/ 12147 w 72"/>
              <a:gd name="T97" fmla="*/ 1978 h 102"/>
              <a:gd name="T98" fmla="*/ 14016 w 72"/>
              <a:gd name="T99" fmla="*/ 1978 h 102"/>
              <a:gd name="T100" fmla="*/ 15884 w 72"/>
              <a:gd name="T101" fmla="*/ 1978 h 102"/>
              <a:gd name="T102" fmla="*/ 15884 w 72"/>
              <a:gd name="T103" fmla="*/ 3956 h 102"/>
              <a:gd name="T104" fmla="*/ 17753 w 72"/>
              <a:gd name="T105" fmla="*/ 3956 h 102"/>
              <a:gd name="T106" fmla="*/ 17753 w 72"/>
              <a:gd name="T107" fmla="*/ 6924 h 102"/>
              <a:gd name="T108" fmla="*/ 20556 w 72"/>
              <a:gd name="T109" fmla="*/ 6924 h 102"/>
              <a:gd name="T110" fmla="*/ 21490 w 72"/>
              <a:gd name="T111" fmla="*/ 3956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 h="102">
                <a:moveTo>
                  <a:pt x="66" y="12"/>
                </a:moveTo>
                <a:lnTo>
                  <a:pt x="66" y="18"/>
                </a:lnTo>
                <a:lnTo>
                  <a:pt x="72" y="18"/>
                </a:lnTo>
                <a:lnTo>
                  <a:pt x="72" y="30"/>
                </a:lnTo>
                <a:lnTo>
                  <a:pt x="72" y="36"/>
                </a:lnTo>
                <a:lnTo>
                  <a:pt x="72" y="42"/>
                </a:lnTo>
                <a:lnTo>
                  <a:pt x="72" y="48"/>
                </a:lnTo>
                <a:lnTo>
                  <a:pt x="72" y="60"/>
                </a:lnTo>
                <a:lnTo>
                  <a:pt x="72" y="72"/>
                </a:lnTo>
                <a:lnTo>
                  <a:pt x="72" y="66"/>
                </a:lnTo>
                <a:lnTo>
                  <a:pt x="66" y="66"/>
                </a:lnTo>
                <a:lnTo>
                  <a:pt x="66" y="72"/>
                </a:lnTo>
                <a:lnTo>
                  <a:pt x="66" y="78"/>
                </a:lnTo>
                <a:lnTo>
                  <a:pt x="66" y="84"/>
                </a:lnTo>
                <a:lnTo>
                  <a:pt x="66" y="90"/>
                </a:lnTo>
                <a:lnTo>
                  <a:pt x="66" y="96"/>
                </a:lnTo>
                <a:lnTo>
                  <a:pt x="66" y="102"/>
                </a:lnTo>
                <a:lnTo>
                  <a:pt x="60" y="102"/>
                </a:lnTo>
                <a:lnTo>
                  <a:pt x="54" y="102"/>
                </a:lnTo>
                <a:lnTo>
                  <a:pt x="48" y="102"/>
                </a:lnTo>
                <a:lnTo>
                  <a:pt x="42" y="102"/>
                </a:lnTo>
                <a:lnTo>
                  <a:pt x="36" y="102"/>
                </a:lnTo>
                <a:lnTo>
                  <a:pt x="36" y="96"/>
                </a:lnTo>
                <a:lnTo>
                  <a:pt x="30" y="96"/>
                </a:lnTo>
                <a:lnTo>
                  <a:pt x="24" y="96"/>
                </a:lnTo>
                <a:lnTo>
                  <a:pt x="18" y="90"/>
                </a:lnTo>
                <a:lnTo>
                  <a:pt x="12" y="84"/>
                </a:lnTo>
                <a:lnTo>
                  <a:pt x="6" y="78"/>
                </a:lnTo>
                <a:lnTo>
                  <a:pt x="12" y="78"/>
                </a:lnTo>
                <a:lnTo>
                  <a:pt x="12" y="72"/>
                </a:lnTo>
                <a:lnTo>
                  <a:pt x="6" y="72"/>
                </a:lnTo>
                <a:lnTo>
                  <a:pt x="6" y="66"/>
                </a:lnTo>
                <a:lnTo>
                  <a:pt x="0" y="66"/>
                </a:lnTo>
                <a:lnTo>
                  <a:pt x="0" y="72"/>
                </a:lnTo>
                <a:lnTo>
                  <a:pt x="0" y="66"/>
                </a:lnTo>
                <a:lnTo>
                  <a:pt x="0" y="60"/>
                </a:lnTo>
                <a:lnTo>
                  <a:pt x="0" y="54"/>
                </a:lnTo>
                <a:lnTo>
                  <a:pt x="0" y="42"/>
                </a:lnTo>
                <a:lnTo>
                  <a:pt x="6" y="42"/>
                </a:lnTo>
                <a:lnTo>
                  <a:pt x="6" y="36"/>
                </a:lnTo>
                <a:lnTo>
                  <a:pt x="12" y="30"/>
                </a:lnTo>
                <a:lnTo>
                  <a:pt x="12" y="24"/>
                </a:lnTo>
                <a:lnTo>
                  <a:pt x="12" y="18"/>
                </a:lnTo>
                <a:lnTo>
                  <a:pt x="18" y="18"/>
                </a:lnTo>
                <a:lnTo>
                  <a:pt x="18" y="12"/>
                </a:lnTo>
                <a:lnTo>
                  <a:pt x="24" y="6"/>
                </a:lnTo>
                <a:lnTo>
                  <a:pt x="30" y="0"/>
                </a:lnTo>
                <a:lnTo>
                  <a:pt x="36" y="0"/>
                </a:lnTo>
                <a:lnTo>
                  <a:pt x="36" y="6"/>
                </a:lnTo>
                <a:lnTo>
                  <a:pt x="42" y="6"/>
                </a:lnTo>
                <a:lnTo>
                  <a:pt x="48" y="6"/>
                </a:lnTo>
                <a:lnTo>
                  <a:pt x="48" y="12"/>
                </a:lnTo>
                <a:lnTo>
                  <a:pt x="54" y="12"/>
                </a:lnTo>
                <a:lnTo>
                  <a:pt x="54" y="18"/>
                </a:lnTo>
                <a:lnTo>
                  <a:pt x="60" y="18"/>
                </a:lnTo>
                <a:lnTo>
                  <a:pt x="66" y="12"/>
                </a:lnTo>
                <a:close/>
              </a:path>
            </a:pathLst>
          </a:custGeom>
          <a:solidFill>
            <a:schemeClr val="accent1">
              <a:lumMod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sp>
        <p:nvSpPr>
          <p:cNvPr id="67" name="Freeform 61">
            <a:extLst>
              <a:ext uri="{FF2B5EF4-FFF2-40B4-BE49-F238E27FC236}">
                <a16:creationId xmlns:a16="http://schemas.microsoft.com/office/drawing/2014/main" id="{4B7430E8-C7FC-7749-812B-BEDDA2B2731B}"/>
              </a:ext>
            </a:extLst>
          </p:cNvPr>
          <p:cNvSpPr>
            <a:spLocks noEditPoints="1"/>
          </p:cNvSpPr>
          <p:nvPr>
            <p:custDataLst>
              <p:tags r:id="rId55"/>
            </p:custDataLst>
          </p:nvPr>
        </p:nvSpPr>
        <p:spPr bwMode="gray">
          <a:xfrm>
            <a:off x="4301203" y="5370568"/>
            <a:ext cx="864355" cy="627283"/>
          </a:xfrm>
          <a:custGeom>
            <a:avLst/>
            <a:gdLst>
              <a:gd name="T0" fmla="*/ 165322 w 750"/>
              <a:gd name="T1" fmla="*/ 179743 h 726"/>
              <a:gd name="T2" fmla="*/ 165322 w 750"/>
              <a:gd name="T3" fmla="*/ 201118 h 726"/>
              <a:gd name="T4" fmla="*/ 165322 w 750"/>
              <a:gd name="T5" fmla="*/ 222493 h 726"/>
              <a:gd name="T6" fmla="*/ 165322 w 750"/>
              <a:gd name="T7" fmla="*/ 245811 h 726"/>
              <a:gd name="T8" fmla="*/ 152679 w 750"/>
              <a:gd name="T9" fmla="*/ 252612 h 726"/>
              <a:gd name="T10" fmla="*/ 145872 w 750"/>
              <a:gd name="T11" fmla="*/ 259413 h 726"/>
              <a:gd name="T12" fmla="*/ 131285 w 750"/>
              <a:gd name="T13" fmla="*/ 256498 h 726"/>
              <a:gd name="T14" fmla="*/ 116698 w 750"/>
              <a:gd name="T15" fmla="*/ 254556 h 726"/>
              <a:gd name="T16" fmla="*/ 111835 w 750"/>
              <a:gd name="T17" fmla="*/ 244839 h 726"/>
              <a:gd name="T18" fmla="*/ 105028 w 750"/>
              <a:gd name="T19" fmla="*/ 239982 h 726"/>
              <a:gd name="T20" fmla="*/ 101138 w 750"/>
              <a:gd name="T21" fmla="*/ 241925 h 726"/>
              <a:gd name="T22" fmla="*/ 96276 w 750"/>
              <a:gd name="T23" fmla="*/ 248726 h 726"/>
              <a:gd name="T24" fmla="*/ 83633 w 750"/>
              <a:gd name="T25" fmla="*/ 241925 h 726"/>
              <a:gd name="T26" fmla="*/ 76826 w 750"/>
              <a:gd name="T27" fmla="*/ 231237 h 726"/>
              <a:gd name="T28" fmla="*/ 70991 w 750"/>
              <a:gd name="T29" fmla="*/ 220550 h 726"/>
              <a:gd name="T30" fmla="*/ 67101 w 750"/>
              <a:gd name="T31" fmla="*/ 209863 h 726"/>
              <a:gd name="T32" fmla="*/ 68074 w 750"/>
              <a:gd name="T33" fmla="*/ 203062 h 726"/>
              <a:gd name="T34" fmla="*/ 62238 w 750"/>
              <a:gd name="T35" fmla="*/ 190431 h 726"/>
              <a:gd name="T36" fmla="*/ 62238 w 750"/>
              <a:gd name="T37" fmla="*/ 175857 h 726"/>
              <a:gd name="T38" fmla="*/ 57377 w 750"/>
              <a:gd name="T39" fmla="*/ 160311 h 726"/>
              <a:gd name="T40" fmla="*/ 53487 w 750"/>
              <a:gd name="T41" fmla="*/ 150596 h 726"/>
              <a:gd name="T42" fmla="*/ 53487 w 750"/>
              <a:gd name="T43" fmla="*/ 135050 h 726"/>
              <a:gd name="T44" fmla="*/ 53487 w 750"/>
              <a:gd name="T45" fmla="*/ 131164 h 726"/>
              <a:gd name="T46" fmla="*/ 56404 w 750"/>
              <a:gd name="T47" fmla="*/ 120476 h 726"/>
              <a:gd name="T48" fmla="*/ 49597 w 750"/>
              <a:gd name="T49" fmla="*/ 106874 h 726"/>
              <a:gd name="T50" fmla="*/ 42789 w 750"/>
              <a:gd name="T51" fmla="*/ 96187 h 726"/>
              <a:gd name="T52" fmla="*/ 36954 w 750"/>
              <a:gd name="T53" fmla="*/ 85500 h 726"/>
              <a:gd name="T54" fmla="*/ 30147 w 750"/>
              <a:gd name="T55" fmla="*/ 74812 h 726"/>
              <a:gd name="T56" fmla="*/ 26257 w 750"/>
              <a:gd name="T57" fmla="*/ 62181 h 726"/>
              <a:gd name="T58" fmla="*/ 19449 w 750"/>
              <a:gd name="T59" fmla="*/ 46636 h 726"/>
              <a:gd name="T60" fmla="*/ 10697 w 750"/>
              <a:gd name="T61" fmla="*/ 36920 h 726"/>
              <a:gd name="T62" fmla="*/ 3890 w 750"/>
              <a:gd name="T63" fmla="*/ 26233 h 726"/>
              <a:gd name="T64" fmla="*/ 0 w 750"/>
              <a:gd name="T65" fmla="*/ 8745 h 726"/>
              <a:gd name="T66" fmla="*/ 6808 w 750"/>
              <a:gd name="T67" fmla="*/ 1943 h 726"/>
              <a:gd name="T68" fmla="*/ 14587 w 750"/>
              <a:gd name="T69" fmla="*/ 6801 h 726"/>
              <a:gd name="T70" fmla="*/ 28202 w 750"/>
              <a:gd name="T71" fmla="*/ 0 h 726"/>
              <a:gd name="T72" fmla="*/ 36954 w 750"/>
              <a:gd name="T73" fmla="*/ 3886 h 726"/>
              <a:gd name="T74" fmla="*/ 49597 w 750"/>
              <a:gd name="T75" fmla="*/ 8745 h 726"/>
              <a:gd name="T76" fmla="*/ 109890 w 750"/>
              <a:gd name="T77" fmla="*/ 8745 h 726"/>
              <a:gd name="T78" fmla="*/ 126423 w 750"/>
              <a:gd name="T79" fmla="*/ 8745 h 726"/>
              <a:gd name="T80" fmla="*/ 137120 w 750"/>
              <a:gd name="T81" fmla="*/ 14574 h 726"/>
              <a:gd name="T82" fmla="*/ 152679 w 750"/>
              <a:gd name="T83" fmla="*/ 17488 h 726"/>
              <a:gd name="T84" fmla="*/ 163377 w 750"/>
              <a:gd name="T85" fmla="*/ 19432 h 726"/>
              <a:gd name="T86" fmla="*/ 172130 w 750"/>
              <a:gd name="T87" fmla="*/ 19432 h 726"/>
              <a:gd name="T88" fmla="*/ 180881 w 750"/>
              <a:gd name="T89" fmla="*/ 21375 h 726"/>
              <a:gd name="T90" fmla="*/ 193524 w 750"/>
              <a:gd name="T91" fmla="*/ 21375 h 726"/>
              <a:gd name="T92" fmla="*/ 253817 w 750"/>
              <a:gd name="T93" fmla="*/ 10687 h 726"/>
              <a:gd name="T94" fmla="*/ 266460 w 750"/>
              <a:gd name="T95" fmla="*/ 12631 h 726"/>
              <a:gd name="T96" fmla="*/ 266460 w 750"/>
              <a:gd name="T97" fmla="*/ 17488 h 726"/>
              <a:gd name="T98" fmla="*/ 259653 w 750"/>
              <a:gd name="T99" fmla="*/ 19432 h 726"/>
              <a:gd name="T100" fmla="*/ 248955 w 750"/>
              <a:gd name="T101" fmla="*/ 21375 h 726"/>
              <a:gd name="T102" fmla="*/ 241176 w 750"/>
              <a:gd name="T103" fmla="*/ 30119 h 726"/>
              <a:gd name="T104" fmla="*/ 231450 w 750"/>
              <a:gd name="T105" fmla="*/ 23318 h 726"/>
              <a:gd name="T106" fmla="*/ 184771 w 750"/>
              <a:gd name="T107" fmla="*/ 27205 h 726"/>
              <a:gd name="T108" fmla="*/ 165322 w 750"/>
              <a:gd name="T109" fmla="*/ 111732 h 726"/>
              <a:gd name="T110" fmla="*/ 165322 w 750"/>
              <a:gd name="T111" fmla="*/ 128249 h 726"/>
              <a:gd name="T112" fmla="*/ 165322 w 750"/>
              <a:gd name="T113" fmla="*/ 145737 h 726"/>
              <a:gd name="T114" fmla="*/ 165322 w 750"/>
              <a:gd name="T115" fmla="*/ 162255 h 726"/>
              <a:gd name="T116" fmla="*/ 65156 w 750"/>
              <a:gd name="T117" fmla="*/ 20111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50" h="726">
                <a:moveTo>
                  <a:pt x="462" y="462"/>
                </a:moveTo>
                <a:lnTo>
                  <a:pt x="462" y="468"/>
                </a:lnTo>
                <a:lnTo>
                  <a:pt x="462" y="474"/>
                </a:lnTo>
                <a:lnTo>
                  <a:pt x="462" y="480"/>
                </a:lnTo>
                <a:lnTo>
                  <a:pt x="462" y="486"/>
                </a:lnTo>
                <a:lnTo>
                  <a:pt x="462" y="492"/>
                </a:lnTo>
                <a:lnTo>
                  <a:pt x="462" y="498"/>
                </a:lnTo>
                <a:lnTo>
                  <a:pt x="462" y="504"/>
                </a:lnTo>
                <a:lnTo>
                  <a:pt x="462" y="510"/>
                </a:lnTo>
                <a:lnTo>
                  <a:pt x="462" y="516"/>
                </a:lnTo>
                <a:lnTo>
                  <a:pt x="462" y="522"/>
                </a:lnTo>
                <a:lnTo>
                  <a:pt x="462" y="534"/>
                </a:lnTo>
                <a:lnTo>
                  <a:pt x="462" y="540"/>
                </a:lnTo>
                <a:lnTo>
                  <a:pt x="462" y="546"/>
                </a:lnTo>
                <a:lnTo>
                  <a:pt x="462" y="558"/>
                </a:lnTo>
                <a:lnTo>
                  <a:pt x="462" y="564"/>
                </a:lnTo>
                <a:lnTo>
                  <a:pt x="462" y="570"/>
                </a:lnTo>
                <a:lnTo>
                  <a:pt x="462" y="582"/>
                </a:lnTo>
                <a:lnTo>
                  <a:pt x="462" y="588"/>
                </a:lnTo>
                <a:lnTo>
                  <a:pt x="462" y="594"/>
                </a:lnTo>
                <a:lnTo>
                  <a:pt x="462" y="600"/>
                </a:lnTo>
                <a:lnTo>
                  <a:pt x="462" y="612"/>
                </a:lnTo>
                <a:lnTo>
                  <a:pt x="462" y="618"/>
                </a:lnTo>
                <a:lnTo>
                  <a:pt x="462" y="624"/>
                </a:lnTo>
                <a:lnTo>
                  <a:pt x="462" y="636"/>
                </a:lnTo>
                <a:lnTo>
                  <a:pt x="462" y="642"/>
                </a:lnTo>
                <a:lnTo>
                  <a:pt x="462" y="648"/>
                </a:lnTo>
                <a:lnTo>
                  <a:pt x="462" y="660"/>
                </a:lnTo>
                <a:lnTo>
                  <a:pt x="462" y="666"/>
                </a:lnTo>
                <a:lnTo>
                  <a:pt x="462" y="672"/>
                </a:lnTo>
                <a:lnTo>
                  <a:pt x="462" y="684"/>
                </a:lnTo>
                <a:lnTo>
                  <a:pt x="462" y="690"/>
                </a:lnTo>
                <a:lnTo>
                  <a:pt x="456" y="690"/>
                </a:lnTo>
                <a:lnTo>
                  <a:pt x="450" y="690"/>
                </a:lnTo>
                <a:lnTo>
                  <a:pt x="450" y="696"/>
                </a:lnTo>
                <a:lnTo>
                  <a:pt x="444" y="696"/>
                </a:lnTo>
                <a:lnTo>
                  <a:pt x="438" y="696"/>
                </a:lnTo>
                <a:lnTo>
                  <a:pt x="432" y="702"/>
                </a:lnTo>
                <a:lnTo>
                  <a:pt x="432" y="708"/>
                </a:lnTo>
                <a:lnTo>
                  <a:pt x="426" y="708"/>
                </a:lnTo>
                <a:lnTo>
                  <a:pt x="426" y="714"/>
                </a:lnTo>
                <a:lnTo>
                  <a:pt x="420" y="714"/>
                </a:lnTo>
                <a:lnTo>
                  <a:pt x="420" y="708"/>
                </a:lnTo>
                <a:lnTo>
                  <a:pt x="420" y="714"/>
                </a:lnTo>
                <a:lnTo>
                  <a:pt x="420" y="720"/>
                </a:lnTo>
                <a:lnTo>
                  <a:pt x="414" y="720"/>
                </a:lnTo>
                <a:lnTo>
                  <a:pt x="414" y="726"/>
                </a:lnTo>
                <a:lnTo>
                  <a:pt x="408" y="726"/>
                </a:lnTo>
                <a:lnTo>
                  <a:pt x="402" y="726"/>
                </a:lnTo>
                <a:lnTo>
                  <a:pt x="402" y="720"/>
                </a:lnTo>
                <a:lnTo>
                  <a:pt x="396" y="720"/>
                </a:lnTo>
                <a:lnTo>
                  <a:pt x="390" y="720"/>
                </a:lnTo>
                <a:lnTo>
                  <a:pt x="384" y="720"/>
                </a:lnTo>
                <a:lnTo>
                  <a:pt x="378" y="720"/>
                </a:lnTo>
                <a:lnTo>
                  <a:pt x="372" y="720"/>
                </a:lnTo>
                <a:lnTo>
                  <a:pt x="366" y="720"/>
                </a:lnTo>
                <a:lnTo>
                  <a:pt x="360" y="720"/>
                </a:lnTo>
                <a:lnTo>
                  <a:pt x="354" y="720"/>
                </a:lnTo>
                <a:lnTo>
                  <a:pt x="348" y="720"/>
                </a:lnTo>
                <a:lnTo>
                  <a:pt x="348" y="714"/>
                </a:lnTo>
                <a:lnTo>
                  <a:pt x="342" y="714"/>
                </a:lnTo>
                <a:lnTo>
                  <a:pt x="336" y="714"/>
                </a:lnTo>
                <a:lnTo>
                  <a:pt x="330" y="714"/>
                </a:lnTo>
                <a:lnTo>
                  <a:pt x="324" y="714"/>
                </a:lnTo>
                <a:lnTo>
                  <a:pt x="324" y="708"/>
                </a:lnTo>
                <a:lnTo>
                  <a:pt x="318" y="708"/>
                </a:lnTo>
                <a:lnTo>
                  <a:pt x="318" y="702"/>
                </a:lnTo>
                <a:lnTo>
                  <a:pt x="312" y="702"/>
                </a:lnTo>
                <a:lnTo>
                  <a:pt x="312" y="696"/>
                </a:lnTo>
                <a:lnTo>
                  <a:pt x="312" y="690"/>
                </a:lnTo>
                <a:lnTo>
                  <a:pt x="318" y="690"/>
                </a:lnTo>
                <a:lnTo>
                  <a:pt x="312" y="684"/>
                </a:lnTo>
                <a:lnTo>
                  <a:pt x="312" y="678"/>
                </a:lnTo>
                <a:lnTo>
                  <a:pt x="306" y="678"/>
                </a:lnTo>
                <a:lnTo>
                  <a:pt x="300" y="678"/>
                </a:lnTo>
                <a:lnTo>
                  <a:pt x="306" y="672"/>
                </a:lnTo>
                <a:lnTo>
                  <a:pt x="300" y="672"/>
                </a:lnTo>
                <a:lnTo>
                  <a:pt x="300" y="666"/>
                </a:lnTo>
                <a:lnTo>
                  <a:pt x="294" y="666"/>
                </a:lnTo>
                <a:lnTo>
                  <a:pt x="294" y="672"/>
                </a:lnTo>
                <a:lnTo>
                  <a:pt x="294" y="666"/>
                </a:lnTo>
                <a:lnTo>
                  <a:pt x="288" y="666"/>
                </a:lnTo>
                <a:lnTo>
                  <a:pt x="288" y="672"/>
                </a:lnTo>
                <a:lnTo>
                  <a:pt x="288" y="666"/>
                </a:lnTo>
                <a:lnTo>
                  <a:pt x="288" y="672"/>
                </a:lnTo>
                <a:lnTo>
                  <a:pt x="288" y="678"/>
                </a:lnTo>
                <a:lnTo>
                  <a:pt x="282" y="672"/>
                </a:lnTo>
                <a:lnTo>
                  <a:pt x="282" y="678"/>
                </a:lnTo>
                <a:lnTo>
                  <a:pt x="282" y="684"/>
                </a:lnTo>
                <a:lnTo>
                  <a:pt x="282" y="678"/>
                </a:lnTo>
                <a:lnTo>
                  <a:pt x="282" y="684"/>
                </a:lnTo>
                <a:lnTo>
                  <a:pt x="276" y="684"/>
                </a:lnTo>
                <a:lnTo>
                  <a:pt x="282" y="684"/>
                </a:lnTo>
                <a:lnTo>
                  <a:pt x="282" y="690"/>
                </a:lnTo>
                <a:lnTo>
                  <a:pt x="276" y="696"/>
                </a:lnTo>
                <a:lnTo>
                  <a:pt x="270" y="696"/>
                </a:lnTo>
                <a:lnTo>
                  <a:pt x="270" y="702"/>
                </a:lnTo>
                <a:lnTo>
                  <a:pt x="264" y="702"/>
                </a:lnTo>
                <a:lnTo>
                  <a:pt x="258" y="702"/>
                </a:lnTo>
                <a:lnTo>
                  <a:pt x="252" y="696"/>
                </a:lnTo>
                <a:lnTo>
                  <a:pt x="246" y="690"/>
                </a:lnTo>
                <a:lnTo>
                  <a:pt x="240" y="684"/>
                </a:lnTo>
                <a:lnTo>
                  <a:pt x="240" y="678"/>
                </a:lnTo>
                <a:lnTo>
                  <a:pt x="234" y="678"/>
                </a:lnTo>
                <a:lnTo>
                  <a:pt x="234" y="672"/>
                </a:lnTo>
                <a:lnTo>
                  <a:pt x="228" y="672"/>
                </a:lnTo>
                <a:lnTo>
                  <a:pt x="228" y="666"/>
                </a:lnTo>
                <a:lnTo>
                  <a:pt x="222" y="666"/>
                </a:lnTo>
                <a:lnTo>
                  <a:pt x="222" y="660"/>
                </a:lnTo>
                <a:lnTo>
                  <a:pt x="216" y="660"/>
                </a:lnTo>
                <a:lnTo>
                  <a:pt x="216" y="654"/>
                </a:lnTo>
                <a:lnTo>
                  <a:pt x="216" y="648"/>
                </a:lnTo>
                <a:lnTo>
                  <a:pt x="210" y="648"/>
                </a:lnTo>
                <a:lnTo>
                  <a:pt x="210" y="642"/>
                </a:lnTo>
                <a:lnTo>
                  <a:pt x="210" y="636"/>
                </a:lnTo>
                <a:lnTo>
                  <a:pt x="204" y="636"/>
                </a:lnTo>
                <a:lnTo>
                  <a:pt x="204" y="630"/>
                </a:lnTo>
                <a:lnTo>
                  <a:pt x="204" y="624"/>
                </a:lnTo>
                <a:lnTo>
                  <a:pt x="198" y="624"/>
                </a:lnTo>
                <a:lnTo>
                  <a:pt x="198" y="618"/>
                </a:lnTo>
                <a:lnTo>
                  <a:pt x="198" y="612"/>
                </a:lnTo>
                <a:lnTo>
                  <a:pt x="198" y="606"/>
                </a:lnTo>
                <a:lnTo>
                  <a:pt x="192" y="606"/>
                </a:lnTo>
                <a:lnTo>
                  <a:pt x="192" y="600"/>
                </a:lnTo>
                <a:lnTo>
                  <a:pt x="192" y="594"/>
                </a:lnTo>
                <a:lnTo>
                  <a:pt x="192" y="600"/>
                </a:lnTo>
                <a:lnTo>
                  <a:pt x="192" y="594"/>
                </a:lnTo>
                <a:lnTo>
                  <a:pt x="186" y="588"/>
                </a:lnTo>
                <a:lnTo>
                  <a:pt x="186" y="582"/>
                </a:lnTo>
                <a:lnTo>
                  <a:pt x="186" y="576"/>
                </a:lnTo>
                <a:lnTo>
                  <a:pt x="186" y="582"/>
                </a:lnTo>
                <a:lnTo>
                  <a:pt x="186" y="576"/>
                </a:lnTo>
                <a:lnTo>
                  <a:pt x="186" y="582"/>
                </a:lnTo>
                <a:lnTo>
                  <a:pt x="192" y="582"/>
                </a:lnTo>
                <a:lnTo>
                  <a:pt x="192" y="576"/>
                </a:lnTo>
                <a:lnTo>
                  <a:pt x="192" y="570"/>
                </a:lnTo>
                <a:lnTo>
                  <a:pt x="186" y="570"/>
                </a:lnTo>
                <a:lnTo>
                  <a:pt x="186" y="564"/>
                </a:lnTo>
                <a:lnTo>
                  <a:pt x="180" y="564"/>
                </a:lnTo>
                <a:lnTo>
                  <a:pt x="180" y="558"/>
                </a:lnTo>
                <a:lnTo>
                  <a:pt x="180" y="552"/>
                </a:lnTo>
                <a:lnTo>
                  <a:pt x="180" y="546"/>
                </a:lnTo>
                <a:lnTo>
                  <a:pt x="180" y="540"/>
                </a:lnTo>
                <a:lnTo>
                  <a:pt x="174" y="534"/>
                </a:lnTo>
                <a:lnTo>
                  <a:pt x="174" y="528"/>
                </a:lnTo>
                <a:lnTo>
                  <a:pt x="174" y="522"/>
                </a:lnTo>
                <a:lnTo>
                  <a:pt x="174" y="516"/>
                </a:lnTo>
                <a:lnTo>
                  <a:pt x="174" y="510"/>
                </a:lnTo>
                <a:lnTo>
                  <a:pt x="174" y="504"/>
                </a:lnTo>
                <a:lnTo>
                  <a:pt x="168" y="498"/>
                </a:lnTo>
                <a:lnTo>
                  <a:pt x="168" y="492"/>
                </a:lnTo>
                <a:lnTo>
                  <a:pt x="174" y="492"/>
                </a:lnTo>
                <a:lnTo>
                  <a:pt x="174" y="486"/>
                </a:lnTo>
                <a:lnTo>
                  <a:pt x="174" y="480"/>
                </a:lnTo>
                <a:lnTo>
                  <a:pt x="174" y="474"/>
                </a:lnTo>
                <a:lnTo>
                  <a:pt x="168" y="474"/>
                </a:lnTo>
                <a:lnTo>
                  <a:pt x="168" y="468"/>
                </a:lnTo>
                <a:lnTo>
                  <a:pt x="168" y="462"/>
                </a:lnTo>
                <a:lnTo>
                  <a:pt x="162" y="456"/>
                </a:lnTo>
                <a:lnTo>
                  <a:pt x="162" y="450"/>
                </a:lnTo>
                <a:lnTo>
                  <a:pt x="156" y="450"/>
                </a:lnTo>
                <a:lnTo>
                  <a:pt x="162" y="450"/>
                </a:lnTo>
                <a:lnTo>
                  <a:pt x="162" y="444"/>
                </a:lnTo>
                <a:lnTo>
                  <a:pt x="156" y="438"/>
                </a:lnTo>
                <a:lnTo>
                  <a:pt x="156" y="432"/>
                </a:lnTo>
                <a:lnTo>
                  <a:pt x="156" y="426"/>
                </a:lnTo>
                <a:lnTo>
                  <a:pt x="150" y="426"/>
                </a:lnTo>
                <a:lnTo>
                  <a:pt x="150" y="420"/>
                </a:lnTo>
                <a:lnTo>
                  <a:pt x="150" y="414"/>
                </a:lnTo>
                <a:lnTo>
                  <a:pt x="156" y="414"/>
                </a:lnTo>
                <a:lnTo>
                  <a:pt x="156" y="408"/>
                </a:lnTo>
                <a:lnTo>
                  <a:pt x="156" y="402"/>
                </a:lnTo>
                <a:lnTo>
                  <a:pt x="156" y="396"/>
                </a:lnTo>
                <a:lnTo>
                  <a:pt x="150" y="390"/>
                </a:lnTo>
                <a:lnTo>
                  <a:pt x="150" y="384"/>
                </a:lnTo>
                <a:lnTo>
                  <a:pt x="150" y="378"/>
                </a:lnTo>
                <a:lnTo>
                  <a:pt x="156" y="378"/>
                </a:lnTo>
                <a:lnTo>
                  <a:pt x="156" y="372"/>
                </a:lnTo>
                <a:lnTo>
                  <a:pt x="156" y="378"/>
                </a:lnTo>
                <a:lnTo>
                  <a:pt x="150" y="378"/>
                </a:lnTo>
                <a:lnTo>
                  <a:pt x="156" y="378"/>
                </a:lnTo>
                <a:lnTo>
                  <a:pt x="156" y="372"/>
                </a:lnTo>
                <a:lnTo>
                  <a:pt x="150" y="372"/>
                </a:lnTo>
                <a:lnTo>
                  <a:pt x="150" y="366"/>
                </a:lnTo>
                <a:lnTo>
                  <a:pt x="150" y="360"/>
                </a:lnTo>
                <a:lnTo>
                  <a:pt x="150" y="354"/>
                </a:lnTo>
                <a:lnTo>
                  <a:pt x="150" y="348"/>
                </a:lnTo>
                <a:lnTo>
                  <a:pt x="150" y="354"/>
                </a:lnTo>
                <a:lnTo>
                  <a:pt x="156" y="354"/>
                </a:lnTo>
                <a:lnTo>
                  <a:pt x="156" y="348"/>
                </a:lnTo>
                <a:lnTo>
                  <a:pt x="156" y="342"/>
                </a:lnTo>
                <a:lnTo>
                  <a:pt x="156" y="336"/>
                </a:lnTo>
                <a:lnTo>
                  <a:pt x="156" y="330"/>
                </a:lnTo>
                <a:lnTo>
                  <a:pt x="150" y="324"/>
                </a:lnTo>
                <a:lnTo>
                  <a:pt x="150" y="318"/>
                </a:lnTo>
                <a:lnTo>
                  <a:pt x="150" y="312"/>
                </a:lnTo>
                <a:lnTo>
                  <a:pt x="144" y="312"/>
                </a:lnTo>
                <a:lnTo>
                  <a:pt x="144" y="306"/>
                </a:lnTo>
                <a:lnTo>
                  <a:pt x="144" y="300"/>
                </a:lnTo>
                <a:lnTo>
                  <a:pt x="138" y="300"/>
                </a:lnTo>
                <a:lnTo>
                  <a:pt x="138" y="294"/>
                </a:lnTo>
                <a:lnTo>
                  <a:pt x="132" y="294"/>
                </a:lnTo>
                <a:lnTo>
                  <a:pt x="132" y="288"/>
                </a:lnTo>
                <a:lnTo>
                  <a:pt x="126" y="288"/>
                </a:lnTo>
                <a:lnTo>
                  <a:pt x="126" y="282"/>
                </a:lnTo>
                <a:lnTo>
                  <a:pt x="126" y="276"/>
                </a:lnTo>
                <a:lnTo>
                  <a:pt x="120" y="276"/>
                </a:lnTo>
                <a:lnTo>
                  <a:pt x="120" y="270"/>
                </a:lnTo>
                <a:lnTo>
                  <a:pt x="120" y="264"/>
                </a:lnTo>
                <a:lnTo>
                  <a:pt x="114" y="264"/>
                </a:lnTo>
                <a:lnTo>
                  <a:pt x="114" y="258"/>
                </a:lnTo>
                <a:lnTo>
                  <a:pt x="108" y="258"/>
                </a:lnTo>
                <a:lnTo>
                  <a:pt x="108" y="252"/>
                </a:lnTo>
                <a:lnTo>
                  <a:pt x="108" y="246"/>
                </a:lnTo>
                <a:lnTo>
                  <a:pt x="102" y="246"/>
                </a:lnTo>
                <a:lnTo>
                  <a:pt x="102" y="240"/>
                </a:lnTo>
                <a:lnTo>
                  <a:pt x="102" y="234"/>
                </a:lnTo>
                <a:lnTo>
                  <a:pt x="96" y="234"/>
                </a:lnTo>
                <a:lnTo>
                  <a:pt x="96" y="228"/>
                </a:lnTo>
                <a:lnTo>
                  <a:pt x="90" y="228"/>
                </a:lnTo>
                <a:lnTo>
                  <a:pt x="90" y="222"/>
                </a:lnTo>
                <a:lnTo>
                  <a:pt x="90" y="216"/>
                </a:lnTo>
                <a:lnTo>
                  <a:pt x="90" y="210"/>
                </a:lnTo>
                <a:lnTo>
                  <a:pt x="84" y="210"/>
                </a:lnTo>
                <a:lnTo>
                  <a:pt x="84" y="204"/>
                </a:lnTo>
                <a:lnTo>
                  <a:pt x="84" y="198"/>
                </a:lnTo>
                <a:lnTo>
                  <a:pt x="84" y="192"/>
                </a:lnTo>
                <a:lnTo>
                  <a:pt x="78" y="192"/>
                </a:lnTo>
                <a:lnTo>
                  <a:pt x="78" y="186"/>
                </a:lnTo>
                <a:lnTo>
                  <a:pt x="72" y="186"/>
                </a:lnTo>
                <a:lnTo>
                  <a:pt x="72" y="180"/>
                </a:lnTo>
                <a:lnTo>
                  <a:pt x="72" y="174"/>
                </a:lnTo>
                <a:lnTo>
                  <a:pt x="66" y="168"/>
                </a:lnTo>
                <a:lnTo>
                  <a:pt x="66" y="162"/>
                </a:lnTo>
                <a:lnTo>
                  <a:pt x="60" y="156"/>
                </a:lnTo>
                <a:lnTo>
                  <a:pt x="60" y="150"/>
                </a:lnTo>
                <a:lnTo>
                  <a:pt x="60" y="144"/>
                </a:lnTo>
                <a:lnTo>
                  <a:pt x="54" y="144"/>
                </a:lnTo>
                <a:lnTo>
                  <a:pt x="54" y="138"/>
                </a:lnTo>
                <a:lnTo>
                  <a:pt x="54" y="132"/>
                </a:lnTo>
                <a:lnTo>
                  <a:pt x="48" y="132"/>
                </a:lnTo>
                <a:lnTo>
                  <a:pt x="48" y="126"/>
                </a:lnTo>
                <a:lnTo>
                  <a:pt x="48" y="120"/>
                </a:lnTo>
                <a:lnTo>
                  <a:pt x="42" y="120"/>
                </a:lnTo>
                <a:lnTo>
                  <a:pt x="42" y="114"/>
                </a:lnTo>
                <a:lnTo>
                  <a:pt x="36" y="108"/>
                </a:lnTo>
                <a:lnTo>
                  <a:pt x="36" y="102"/>
                </a:lnTo>
                <a:lnTo>
                  <a:pt x="30" y="102"/>
                </a:lnTo>
                <a:lnTo>
                  <a:pt x="30" y="96"/>
                </a:lnTo>
                <a:lnTo>
                  <a:pt x="24" y="96"/>
                </a:lnTo>
                <a:lnTo>
                  <a:pt x="24" y="90"/>
                </a:lnTo>
                <a:lnTo>
                  <a:pt x="18" y="90"/>
                </a:lnTo>
                <a:lnTo>
                  <a:pt x="18" y="84"/>
                </a:lnTo>
                <a:lnTo>
                  <a:pt x="12" y="84"/>
                </a:lnTo>
                <a:lnTo>
                  <a:pt x="12" y="78"/>
                </a:lnTo>
                <a:lnTo>
                  <a:pt x="12" y="72"/>
                </a:lnTo>
                <a:lnTo>
                  <a:pt x="6" y="66"/>
                </a:lnTo>
                <a:lnTo>
                  <a:pt x="6" y="60"/>
                </a:lnTo>
                <a:lnTo>
                  <a:pt x="0" y="54"/>
                </a:lnTo>
                <a:lnTo>
                  <a:pt x="0" y="48"/>
                </a:lnTo>
                <a:lnTo>
                  <a:pt x="0" y="42"/>
                </a:lnTo>
                <a:lnTo>
                  <a:pt x="0" y="36"/>
                </a:lnTo>
                <a:lnTo>
                  <a:pt x="0" y="30"/>
                </a:lnTo>
                <a:lnTo>
                  <a:pt x="0" y="24"/>
                </a:lnTo>
                <a:lnTo>
                  <a:pt x="0" y="18"/>
                </a:lnTo>
                <a:lnTo>
                  <a:pt x="0" y="12"/>
                </a:lnTo>
                <a:lnTo>
                  <a:pt x="0" y="18"/>
                </a:lnTo>
                <a:lnTo>
                  <a:pt x="6" y="18"/>
                </a:lnTo>
                <a:lnTo>
                  <a:pt x="6" y="12"/>
                </a:lnTo>
                <a:lnTo>
                  <a:pt x="12" y="12"/>
                </a:lnTo>
                <a:lnTo>
                  <a:pt x="18" y="12"/>
                </a:lnTo>
                <a:lnTo>
                  <a:pt x="18" y="6"/>
                </a:lnTo>
                <a:lnTo>
                  <a:pt x="18" y="12"/>
                </a:lnTo>
                <a:lnTo>
                  <a:pt x="18" y="6"/>
                </a:lnTo>
                <a:lnTo>
                  <a:pt x="18" y="12"/>
                </a:lnTo>
                <a:lnTo>
                  <a:pt x="24" y="12"/>
                </a:lnTo>
                <a:lnTo>
                  <a:pt x="30" y="12"/>
                </a:lnTo>
                <a:lnTo>
                  <a:pt x="36" y="12"/>
                </a:lnTo>
                <a:lnTo>
                  <a:pt x="36" y="18"/>
                </a:lnTo>
                <a:lnTo>
                  <a:pt x="42" y="18"/>
                </a:lnTo>
                <a:lnTo>
                  <a:pt x="42" y="12"/>
                </a:lnTo>
                <a:lnTo>
                  <a:pt x="48" y="12"/>
                </a:lnTo>
                <a:lnTo>
                  <a:pt x="54" y="12"/>
                </a:lnTo>
                <a:lnTo>
                  <a:pt x="54" y="6"/>
                </a:lnTo>
                <a:lnTo>
                  <a:pt x="60" y="6"/>
                </a:lnTo>
                <a:lnTo>
                  <a:pt x="66" y="0"/>
                </a:lnTo>
                <a:lnTo>
                  <a:pt x="72" y="0"/>
                </a:lnTo>
                <a:lnTo>
                  <a:pt x="78" y="0"/>
                </a:lnTo>
                <a:lnTo>
                  <a:pt x="84" y="0"/>
                </a:lnTo>
                <a:lnTo>
                  <a:pt x="90" y="0"/>
                </a:lnTo>
                <a:lnTo>
                  <a:pt x="96" y="0"/>
                </a:lnTo>
                <a:lnTo>
                  <a:pt x="96" y="6"/>
                </a:lnTo>
                <a:lnTo>
                  <a:pt x="102" y="6"/>
                </a:lnTo>
                <a:lnTo>
                  <a:pt x="96" y="6"/>
                </a:lnTo>
                <a:lnTo>
                  <a:pt x="102" y="6"/>
                </a:lnTo>
                <a:lnTo>
                  <a:pt x="102" y="12"/>
                </a:lnTo>
                <a:lnTo>
                  <a:pt x="108" y="12"/>
                </a:lnTo>
                <a:lnTo>
                  <a:pt x="108" y="18"/>
                </a:lnTo>
                <a:lnTo>
                  <a:pt x="114" y="18"/>
                </a:lnTo>
                <a:lnTo>
                  <a:pt x="120" y="18"/>
                </a:lnTo>
                <a:lnTo>
                  <a:pt x="120" y="24"/>
                </a:lnTo>
                <a:lnTo>
                  <a:pt x="126" y="24"/>
                </a:lnTo>
                <a:lnTo>
                  <a:pt x="132" y="24"/>
                </a:lnTo>
                <a:lnTo>
                  <a:pt x="138" y="24"/>
                </a:lnTo>
                <a:lnTo>
                  <a:pt x="144" y="24"/>
                </a:lnTo>
                <a:lnTo>
                  <a:pt x="162" y="24"/>
                </a:lnTo>
                <a:lnTo>
                  <a:pt x="180" y="24"/>
                </a:lnTo>
                <a:lnTo>
                  <a:pt x="192" y="24"/>
                </a:lnTo>
                <a:lnTo>
                  <a:pt x="204" y="24"/>
                </a:lnTo>
                <a:lnTo>
                  <a:pt x="294" y="24"/>
                </a:lnTo>
                <a:lnTo>
                  <a:pt x="300" y="24"/>
                </a:lnTo>
                <a:lnTo>
                  <a:pt x="306" y="24"/>
                </a:lnTo>
                <a:lnTo>
                  <a:pt x="312" y="24"/>
                </a:lnTo>
                <a:lnTo>
                  <a:pt x="318" y="24"/>
                </a:lnTo>
                <a:lnTo>
                  <a:pt x="324" y="24"/>
                </a:lnTo>
                <a:lnTo>
                  <a:pt x="330" y="24"/>
                </a:lnTo>
                <a:lnTo>
                  <a:pt x="336" y="24"/>
                </a:lnTo>
                <a:lnTo>
                  <a:pt x="342" y="24"/>
                </a:lnTo>
                <a:lnTo>
                  <a:pt x="348" y="24"/>
                </a:lnTo>
                <a:lnTo>
                  <a:pt x="354" y="24"/>
                </a:lnTo>
                <a:lnTo>
                  <a:pt x="360" y="24"/>
                </a:lnTo>
                <a:lnTo>
                  <a:pt x="366" y="24"/>
                </a:lnTo>
                <a:lnTo>
                  <a:pt x="372" y="24"/>
                </a:lnTo>
                <a:lnTo>
                  <a:pt x="372" y="30"/>
                </a:lnTo>
                <a:lnTo>
                  <a:pt x="378" y="30"/>
                </a:lnTo>
                <a:lnTo>
                  <a:pt x="378" y="36"/>
                </a:lnTo>
                <a:lnTo>
                  <a:pt x="384" y="36"/>
                </a:lnTo>
                <a:lnTo>
                  <a:pt x="384" y="42"/>
                </a:lnTo>
                <a:lnTo>
                  <a:pt x="390" y="42"/>
                </a:lnTo>
                <a:lnTo>
                  <a:pt x="390" y="48"/>
                </a:lnTo>
                <a:lnTo>
                  <a:pt x="396" y="48"/>
                </a:lnTo>
                <a:lnTo>
                  <a:pt x="402" y="48"/>
                </a:lnTo>
                <a:lnTo>
                  <a:pt x="408" y="48"/>
                </a:lnTo>
                <a:lnTo>
                  <a:pt x="414" y="48"/>
                </a:lnTo>
                <a:lnTo>
                  <a:pt x="420" y="48"/>
                </a:lnTo>
                <a:lnTo>
                  <a:pt x="426" y="48"/>
                </a:lnTo>
                <a:lnTo>
                  <a:pt x="432" y="48"/>
                </a:lnTo>
                <a:lnTo>
                  <a:pt x="438" y="48"/>
                </a:lnTo>
                <a:lnTo>
                  <a:pt x="444" y="48"/>
                </a:lnTo>
                <a:lnTo>
                  <a:pt x="444" y="54"/>
                </a:lnTo>
                <a:lnTo>
                  <a:pt x="450" y="54"/>
                </a:lnTo>
                <a:lnTo>
                  <a:pt x="456" y="54"/>
                </a:lnTo>
                <a:lnTo>
                  <a:pt x="456" y="48"/>
                </a:lnTo>
                <a:lnTo>
                  <a:pt x="456" y="54"/>
                </a:lnTo>
                <a:lnTo>
                  <a:pt x="462" y="54"/>
                </a:lnTo>
                <a:lnTo>
                  <a:pt x="468" y="54"/>
                </a:lnTo>
                <a:lnTo>
                  <a:pt x="474" y="54"/>
                </a:lnTo>
                <a:lnTo>
                  <a:pt x="474" y="48"/>
                </a:lnTo>
                <a:lnTo>
                  <a:pt x="474" y="54"/>
                </a:lnTo>
                <a:lnTo>
                  <a:pt x="474" y="48"/>
                </a:lnTo>
                <a:lnTo>
                  <a:pt x="480" y="48"/>
                </a:lnTo>
                <a:lnTo>
                  <a:pt x="480" y="54"/>
                </a:lnTo>
                <a:lnTo>
                  <a:pt x="486" y="54"/>
                </a:lnTo>
                <a:lnTo>
                  <a:pt x="492" y="60"/>
                </a:lnTo>
                <a:lnTo>
                  <a:pt x="492" y="54"/>
                </a:lnTo>
                <a:lnTo>
                  <a:pt x="492" y="60"/>
                </a:lnTo>
                <a:lnTo>
                  <a:pt x="492" y="54"/>
                </a:lnTo>
                <a:lnTo>
                  <a:pt x="492" y="60"/>
                </a:lnTo>
                <a:lnTo>
                  <a:pt x="498" y="60"/>
                </a:lnTo>
                <a:lnTo>
                  <a:pt x="504" y="60"/>
                </a:lnTo>
                <a:lnTo>
                  <a:pt x="510" y="60"/>
                </a:lnTo>
                <a:lnTo>
                  <a:pt x="510" y="54"/>
                </a:lnTo>
                <a:lnTo>
                  <a:pt x="516" y="54"/>
                </a:lnTo>
                <a:lnTo>
                  <a:pt x="522" y="54"/>
                </a:lnTo>
                <a:lnTo>
                  <a:pt x="528" y="54"/>
                </a:lnTo>
                <a:lnTo>
                  <a:pt x="534" y="54"/>
                </a:lnTo>
                <a:lnTo>
                  <a:pt x="534" y="60"/>
                </a:lnTo>
                <a:lnTo>
                  <a:pt x="540" y="60"/>
                </a:lnTo>
                <a:lnTo>
                  <a:pt x="558" y="54"/>
                </a:lnTo>
                <a:lnTo>
                  <a:pt x="624" y="42"/>
                </a:lnTo>
                <a:lnTo>
                  <a:pt x="642" y="36"/>
                </a:lnTo>
                <a:lnTo>
                  <a:pt x="648" y="36"/>
                </a:lnTo>
                <a:lnTo>
                  <a:pt x="654" y="36"/>
                </a:lnTo>
                <a:lnTo>
                  <a:pt x="696" y="30"/>
                </a:lnTo>
                <a:lnTo>
                  <a:pt x="702" y="30"/>
                </a:lnTo>
                <a:lnTo>
                  <a:pt x="708" y="30"/>
                </a:lnTo>
                <a:lnTo>
                  <a:pt x="714" y="30"/>
                </a:lnTo>
                <a:lnTo>
                  <a:pt x="720" y="30"/>
                </a:lnTo>
                <a:lnTo>
                  <a:pt x="726" y="30"/>
                </a:lnTo>
                <a:lnTo>
                  <a:pt x="732" y="30"/>
                </a:lnTo>
                <a:lnTo>
                  <a:pt x="738" y="36"/>
                </a:lnTo>
                <a:lnTo>
                  <a:pt x="738" y="30"/>
                </a:lnTo>
                <a:lnTo>
                  <a:pt x="738" y="36"/>
                </a:lnTo>
                <a:lnTo>
                  <a:pt x="744" y="36"/>
                </a:lnTo>
                <a:lnTo>
                  <a:pt x="744" y="42"/>
                </a:lnTo>
                <a:lnTo>
                  <a:pt x="750" y="42"/>
                </a:lnTo>
                <a:lnTo>
                  <a:pt x="750" y="48"/>
                </a:lnTo>
                <a:lnTo>
                  <a:pt x="750" y="42"/>
                </a:lnTo>
                <a:lnTo>
                  <a:pt x="750" y="48"/>
                </a:lnTo>
                <a:lnTo>
                  <a:pt x="744" y="48"/>
                </a:lnTo>
                <a:lnTo>
                  <a:pt x="738" y="48"/>
                </a:lnTo>
                <a:lnTo>
                  <a:pt x="744" y="48"/>
                </a:lnTo>
                <a:lnTo>
                  <a:pt x="738" y="48"/>
                </a:lnTo>
                <a:lnTo>
                  <a:pt x="732" y="48"/>
                </a:lnTo>
                <a:lnTo>
                  <a:pt x="726" y="48"/>
                </a:lnTo>
                <a:lnTo>
                  <a:pt x="726" y="54"/>
                </a:lnTo>
                <a:lnTo>
                  <a:pt x="726" y="48"/>
                </a:lnTo>
                <a:lnTo>
                  <a:pt x="726" y="54"/>
                </a:lnTo>
                <a:lnTo>
                  <a:pt x="720" y="54"/>
                </a:lnTo>
                <a:lnTo>
                  <a:pt x="726" y="54"/>
                </a:lnTo>
                <a:lnTo>
                  <a:pt x="720" y="54"/>
                </a:lnTo>
                <a:lnTo>
                  <a:pt x="720" y="60"/>
                </a:lnTo>
                <a:lnTo>
                  <a:pt x="714" y="60"/>
                </a:lnTo>
                <a:lnTo>
                  <a:pt x="708" y="60"/>
                </a:lnTo>
                <a:lnTo>
                  <a:pt x="708" y="54"/>
                </a:lnTo>
                <a:lnTo>
                  <a:pt x="702" y="54"/>
                </a:lnTo>
                <a:lnTo>
                  <a:pt x="702" y="60"/>
                </a:lnTo>
                <a:lnTo>
                  <a:pt x="696" y="60"/>
                </a:lnTo>
                <a:lnTo>
                  <a:pt x="690" y="60"/>
                </a:lnTo>
                <a:lnTo>
                  <a:pt x="690" y="66"/>
                </a:lnTo>
                <a:lnTo>
                  <a:pt x="684" y="66"/>
                </a:lnTo>
                <a:lnTo>
                  <a:pt x="684" y="72"/>
                </a:lnTo>
                <a:lnTo>
                  <a:pt x="678" y="72"/>
                </a:lnTo>
                <a:lnTo>
                  <a:pt x="678" y="78"/>
                </a:lnTo>
                <a:lnTo>
                  <a:pt x="672" y="78"/>
                </a:lnTo>
                <a:lnTo>
                  <a:pt x="672" y="84"/>
                </a:lnTo>
                <a:lnTo>
                  <a:pt x="666" y="84"/>
                </a:lnTo>
                <a:lnTo>
                  <a:pt x="660" y="90"/>
                </a:lnTo>
                <a:lnTo>
                  <a:pt x="660" y="84"/>
                </a:lnTo>
                <a:lnTo>
                  <a:pt x="660" y="78"/>
                </a:lnTo>
                <a:lnTo>
                  <a:pt x="654" y="78"/>
                </a:lnTo>
                <a:lnTo>
                  <a:pt x="654" y="72"/>
                </a:lnTo>
                <a:lnTo>
                  <a:pt x="648" y="72"/>
                </a:lnTo>
                <a:lnTo>
                  <a:pt x="648" y="66"/>
                </a:lnTo>
                <a:lnTo>
                  <a:pt x="642" y="60"/>
                </a:lnTo>
                <a:lnTo>
                  <a:pt x="648" y="60"/>
                </a:lnTo>
                <a:lnTo>
                  <a:pt x="642" y="60"/>
                </a:lnTo>
                <a:lnTo>
                  <a:pt x="636" y="60"/>
                </a:lnTo>
                <a:lnTo>
                  <a:pt x="630" y="60"/>
                </a:lnTo>
                <a:lnTo>
                  <a:pt x="624" y="60"/>
                </a:lnTo>
                <a:lnTo>
                  <a:pt x="540" y="78"/>
                </a:lnTo>
                <a:lnTo>
                  <a:pt x="516" y="78"/>
                </a:lnTo>
                <a:lnTo>
                  <a:pt x="516" y="126"/>
                </a:lnTo>
                <a:lnTo>
                  <a:pt x="516" y="174"/>
                </a:lnTo>
                <a:lnTo>
                  <a:pt x="516" y="234"/>
                </a:lnTo>
                <a:lnTo>
                  <a:pt x="516" y="294"/>
                </a:lnTo>
                <a:lnTo>
                  <a:pt x="462" y="294"/>
                </a:lnTo>
                <a:lnTo>
                  <a:pt x="462" y="300"/>
                </a:lnTo>
                <a:lnTo>
                  <a:pt x="462" y="306"/>
                </a:lnTo>
                <a:lnTo>
                  <a:pt x="462" y="312"/>
                </a:lnTo>
                <a:lnTo>
                  <a:pt x="462" y="318"/>
                </a:lnTo>
                <a:lnTo>
                  <a:pt x="462" y="324"/>
                </a:lnTo>
                <a:lnTo>
                  <a:pt x="462" y="330"/>
                </a:lnTo>
                <a:lnTo>
                  <a:pt x="462" y="336"/>
                </a:lnTo>
                <a:lnTo>
                  <a:pt x="462" y="342"/>
                </a:lnTo>
                <a:lnTo>
                  <a:pt x="462" y="348"/>
                </a:lnTo>
                <a:lnTo>
                  <a:pt x="462" y="354"/>
                </a:lnTo>
                <a:lnTo>
                  <a:pt x="462" y="360"/>
                </a:lnTo>
                <a:lnTo>
                  <a:pt x="462" y="366"/>
                </a:lnTo>
                <a:lnTo>
                  <a:pt x="462" y="372"/>
                </a:lnTo>
                <a:lnTo>
                  <a:pt x="462" y="378"/>
                </a:lnTo>
                <a:lnTo>
                  <a:pt x="462" y="384"/>
                </a:lnTo>
                <a:lnTo>
                  <a:pt x="462" y="390"/>
                </a:lnTo>
                <a:lnTo>
                  <a:pt x="462" y="396"/>
                </a:lnTo>
                <a:lnTo>
                  <a:pt x="462" y="402"/>
                </a:lnTo>
                <a:lnTo>
                  <a:pt x="462" y="408"/>
                </a:lnTo>
                <a:lnTo>
                  <a:pt x="462" y="414"/>
                </a:lnTo>
                <a:lnTo>
                  <a:pt x="462" y="420"/>
                </a:lnTo>
                <a:lnTo>
                  <a:pt x="462" y="426"/>
                </a:lnTo>
                <a:lnTo>
                  <a:pt x="462" y="432"/>
                </a:lnTo>
                <a:lnTo>
                  <a:pt x="462" y="438"/>
                </a:lnTo>
                <a:lnTo>
                  <a:pt x="462" y="444"/>
                </a:lnTo>
                <a:lnTo>
                  <a:pt x="462" y="450"/>
                </a:lnTo>
                <a:lnTo>
                  <a:pt x="462" y="456"/>
                </a:lnTo>
                <a:lnTo>
                  <a:pt x="462" y="462"/>
                </a:lnTo>
                <a:close/>
                <a:moveTo>
                  <a:pt x="192" y="600"/>
                </a:moveTo>
                <a:lnTo>
                  <a:pt x="192" y="606"/>
                </a:lnTo>
                <a:lnTo>
                  <a:pt x="193" y="606"/>
                </a:lnTo>
                <a:lnTo>
                  <a:pt x="192" y="600"/>
                </a:lnTo>
                <a:close/>
                <a:moveTo>
                  <a:pt x="180" y="558"/>
                </a:moveTo>
                <a:lnTo>
                  <a:pt x="180" y="564"/>
                </a:lnTo>
                <a:lnTo>
                  <a:pt x="181" y="564"/>
                </a:lnTo>
                <a:lnTo>
                  <a:pt x="180" y="558"/>
                </a:lnTo>
                <a:close/>
                <a:moveTo>
                  <a:pt x="192" y="606"/>
                </a:moveTo>
                <a:lnTo>
                  <a:pt x="192" y="612"/>
                </a:lnTo>
                <a:lnTo>
                  <a:pt x="193" y="612"/>
                </a:lnTo>
                <a:lnTo>
                  <a:pt x="192" y="606"/>
                </a:lnTo>
                <a:close/>
              </a:path>
            </a:pathLst>
          </a:custGeom>
          <a:solidFill>
            <a:schemeClr val="accent1">
              <a:lumMod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CA" sz="612"/>
          </a:p>
        </p:txBody>
      </p:sp>
      <p:grpSp>
        <p:nvGrpSpPr>
          <p:cNvPr id="68" name="Group 67">
            <a:extLst>
              <a:ext uri="{FF2B5EF4-FFF2-40B4-BE49-F238E27FC236}">
                <a16:creationId xmlns:a16="http://schemas.microsoft.com/office/drawing/2014/main" id="{2B4B5917-DA38-B949-A7DA-8C58F0410F04}"/>
              </a:ext>
            </a:extLst>
          </p:cNvPr>
          <p:cNvGrpSpPr/>
          <p:nvPr/>
        </p:nvGrpSpPr>
        <p:grpSpPr>
          <a:xfrm>
            <a:off x="6548965" y="2429279"/>
            <a:ext cx="1145620" cy="1115385"/>
            <a:chOff x="7915092" y="284956"/>
            <a:chExt cx="1122812" cy="1219471"/>
          </a:xfrm>
        </p:grpSpPr>
        <p:grpSp>
          <p:nvGrpSpPr>
            <p:cNvPr id="69" name="Group 68">
              <a:extLst>
                <a:ext uri="{FF2B5EF4-FFF2-40B4-BE49-F238E27FC236}">
                  <a16:creationId xmlns:a16="http://schemas.microsoft.com/office/drawing/2014/main" id="{2B9CF061-D575-6D41-89C9-48D36908BFAA}"/>
                </a:ext>
              </a:extLst>
            </p:cNvPr>
            <p:cNvGrpSpPr/>
            <p:nvPr/>
          </p:nvGrpSpPr>
          <p:grpSpPr>
            <a:xfrm>
              <a:off x="7915092" y="284956"/>
              <a:ext cx="1121241" cy="195275"/>
              <a:chOff x="7915092" y="284956"/>
              <a:chExt cx="1121241" cy="195275"/>
            </a:xfrm>
          </p:grpSpPr>
          <p:sp>
            <p:nvSpPr>
              <p:cNvPr id="82" name="RectangleLegend1">
                <a:extLst>
                  <a:ext uri="{FF2B5EF4-FFF2-40B4-BE49-F238E27FC236}">
                    <a16:creationId xmlns:a16="http://schemas.microsoft.com/office/drawing/2014/main" id="{059DEAD3-E594-D741-8E63-F466D9043541}"/>
                  </a:ext>
                </a:extLst>
              </p:cNvPr>
              <p:cNvSpPr>
                <a:spLocks noChangeArrowheads="1"/>
              </p:cNvSpPr>
              <p:nvPr/>
            </p:nvSpPr>
            <p:spPr bwMode="gray">
              <a:xfrm>
                <a:off x="7915092" y="284956"/>
                <a:ext cx="165100" cy="160338"/>
              </a:xfrm>
              <a:prstGeom prst="rect">
                <a:avLst/>
              </a:prstGeom>
              <a:solidFill>
                <a:srgbClr val="0070C0"/>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dirty="0"/>
              </a:p>
            </p:txBody>
          </p:sp>
          <p:sp>
            <p:nvSpPr>
              <p:cNvPr id="83" name="Legend1">
                <a:extLst>
                  <a:ext uri="{FF2B5EF4-FFF2-40B4-BE49-F238E27FC236}">
                    <a16:creationId xmlns:a16="http://schemas.microsoft.com/office/drawing/2014/main" id="{AB8BC5FC-DA84-3747-9C94-DC4032EA60E1}"/>
                  </a:ext>
                </a:extLst>
              </p:cNvPr>
              <p:cNvSpPr>
                <a:spLocks noChangeArrowheads="1"/>
              </p:cNvSpPr>
              <p:nvPr>
                <p:custDataLst>
                  <p:tags r:id="rId63"/>
                </p:custDataLst>
              </p:nvPr>
            </p:nvSpPr>
            <p:spPr bwMode="gray">
              <a:xfrm>
                <a:off x="8169092" y="303570"/>
                <a:ext cx="867241" cy="176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1050" dirty="0">
                    <a:latin typeface="Candara" panose="020E0502030303020204" pitchFamily="34" charset="0"/>
                  </a:rPr>
                  <a:t>Northern Africa</a:t>
                </a:r>
              </a:p>
            </p:txBody>
          </p:sp>
        </p:grpSp>
        <p:grpSp>
          <p:nvGrpSpPr>
            <p:cNvPr id="70" name="Group 69">
              <a:extLst>
                <a:ext uri="{FF2B5EF4-FFF2-40B4-BE49-F238E27FC236}">
                  <a16:creationId xmlns:a16="http://schemas.microsoft.com/office/drawing/2014/main" id="{C70E72AD-3FCD-104F-9DC9-42EA130EEFE8}"/>
                </a:ext>
              </a:extLst>
            </p:cNvPr>
            <p:cNvGrpSpPr/>
            <p:nvPr/>
          </p:nvGrpSpPr>
          <p:grpSpPr>
            <a:xfrm>
              <a:off x="7915092" y="541005"/>
              <a:ext cx="1017549" cy="195275"/>
              <a:chOff x="7915092" y="554831"/>
              <a:chExt cx="1017549" cy="195275"/>
            </a:xfrm>
          </p:grpSpPr>
          <p:sp>
            <p:nvSpPr>
              <p:cNvPr id="80" name="RectangleLegend2">
                <a:extLst>
                  <a:ext uri="{FF2B5EF4-FFF2-40B4-BE49-F238E27FC236}">
                    <a16:creationId xmlns:a16="http://schemas.microsoft.com/office/drawing/2014/main" id="{BA22C573-9844-E14D-90FA-CD1ECDFA9DD0}"/>
                  </a:ext>
                </a:extLst>
              </p:cNvPr>
              <p:cNvSpPr>
                <a:spLocks noChangeArrowheads="1"/>
              </p:cNvSpPr>
              <p:nvPr/>
            </p:nvSpPr>
            <p:spPr bwMode="gray">
              <a:xfrm>
                <a:off x="7915092" y="554831"/>
                <a:ext cx="165100" cy="160338"/>
              </a:xfrm>
              <a:prstGeom prst="rect">
                <a:avLst/>
              </a:prstGeom>
              <a:solidFill>
                <a:schemeClr val="accent3"/>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900" dirty="0"/>
              </a:p>
            </p:txBody>
          </p:sp>
          <p:sp>
            <p:nvSpPr>
              <p:cNvPr id="81" name="Legend2">
                <a:extLst>
                  <a:ext uri="{FF2B5EF4-FFF2-40B4-BE49-F238E27FC236}">
                    <a16:creationId xmlns:a16="http://schemas.microsoft.com/office/drawing/2014/main" id="{185F27FE-83D5-6C44-BD9F-DB9E53471B14}"/>
                  </a:ext>
                </a:extLst>
              </p:cNvPr>
              <p:cNvSpPr>
                <a:spLocks noChangeArrowheads="1"/>
              </p:cNvSpPr>
              <p:nvPr>
                <p:custDataLst>
                  <p:tags r:id="rId62"/>
                </p:custDataLst>
              </p:nvPr>
            </p:nvSpPr>
            <p:spPr bwMode="gray">
              <a:xfrm>
                <a:off x="8169092" y="573445"/>
                <a:ext cx="763549" cy="176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1050" dirty="0">
                    <a:latin typeface="Candara" panose="020E0502030303020204" pitchFamily="34" charset="0"/>
                  </a:rPr>
                  <a:t>Western</a:t>
                </a:r>
                <a:r>
                  <a:rPr lang="en-US" sz="900" dirty="0"/>
                  <a:t> Africa</a:t>
                </a:r>
              </a:p>
            </p:txBody>
          </p:sp>
        </p:grpSp>
        <p:grpSp>
          <p:nvGrpSpPr>
            <p:cNvPr id="71" name="Group 70">
              <a:extLst>
                <a:ext uri="{FF2B5EF4-FFF2-40B4-BE49-F238E27FC236}">
                  <a16:creationId xmlns:a16="http://schemas.microsoft.com/office/drawing/2014/main" id="{8EF0E639-AB29-A942-9CEC-C99377251AE0}"/>
                </a:ext>
              </a:extLst>
            </p:cNvPr>
            <p:cNvGrpSpPr/>
            <p:nvPr/>
          </p:nvGrpSpPr>
          <p:grpSpPr>
            <a:xfrm>
              <a:off x="7915092" y="797054"/>
              <a:ext cx="945279" cy="195275"/>
              <a:chOff x="7915092" y="826294"/>
              <a:chExt cx="945279" cy="195275"/>
            </a:xfrm>
          </p:grpSpPr>
          <p:sp>
            <p:nvSpPr>
              <p:cNvPr id="78" name="RectangleLegend3">
                <a:extLst>
                  <a:ext uri="{FF2B5EF4-FFF2-40B4-BE49-F238E27FC236}">
                    <a16:creationId xmlns:a16="http://schemas.microsoft.com/office/drawing/2014/main" id="{F879F8EB-AA18-6D43-AB6C-85E87CD6507A}"/>
                  </a:ext>
                </a:extLst>
              </p:cNvPr>
              <p:cNvSpPr>
                <a:spLocks noChangeArrowheads="1"/>
              </p:cNvSpPr>
              <p:nvPr/>
            </p:nvSpPr>
            <p:spPr bwMode="gray">
              <a:xfrm>
                <a:off x="7915092" y="826294"/>
                <a:ext cx="165100" cy="160338"/>
              </a:xfrm>
              <a:prstGeom prst="rect">
                <a:avLst/>
              </a:prstGeom>
              <a:solidFill>
                <a:srgbClr val="A6CFF0"/>
              </a:solidFill>
              <a:ln w="9525">
                <a:noFill/>
                <a:miter lim="800000"/>
                <a:headEnd/>
                <a:tailEnd/>
              </a:ln>
              <a:effectLst/>
            </p:spPr>
            <p:txBody>
              <a:bodyPr wrap="none" anchor="ctr"/>
              <a:lstStyle/>
              <a:p>
                <a:endParaRPr lang="en-US" sz="900" dirty="0"/>
              </a:p>
            </p:txBody>
          </p:sp>
          <p:sp>
            <p:nvSpPr>
              <p:cNvPr id="79" name="Legend3">
                <a:extLst>
                  <a:ext uri="{FF2B5EF4-FFF2-40B4-BE49-F238E27FC236}">
                    <a16:creationId xmlns:a16="http://schemas.microsoft.com/office/drawing/2014/main" id="{C9164A82-4C36-4D4F-A878-22C8D05C7BA6}"/>
                  </a:ext>
                </a:extLst>
              </p:cNvPr>
              <p:cNvSpPr>
                <a:spLocks noChangeArrowheads="1"/>
              </p:cNvSpPr>
              <p:nvPr>
                <p:custDataLst>
                  <p:tags r:id="rId61"/>
                </p:custDataLst>
              </p:nvPr>
            </p:nvSpPr>
            <p:spPr bwMode="gray">
              <a:xfrm>
                <a:off x="8169092" y="844908"/>
                <a:ext cx="691279" cy="176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1050" dirty="0">
                    <a:latin typeface="Candara" panose="020E0502030303020204" pitchFamily="34" charset="0"/>
                  </a:rPr>
                  <a:t>Central</a:t>
                </a:r>
                <a:r>
                  <a:rPr lang="en-US" sz="900" dirty="0"/>
                  <a:t> Africa</a:t>
                </a:r>
              </a:p>
            </p:txBody>
          </p:sp>
        </p:grpSp>
        <p:grpSp>
          <p:nvGrpSpPr>
            <p:cNvPr id="72" name="Group 71">
              <a:extLst>
                <a:ext uri="{FF2B5EF4-FFF2-40B4-BE49-F238E27FC236}">
                  <a16:creationId xmlns:a16="http://schemas.microsoft.com/office/drawing/2014/main" id="{B940ED0A-96C0-4D4A-9CF5-DAD55FDAE244}"/>
                </a:ext>
              </a:extLst>
            </p:cNvPr>
            <p:cNvGrpSpPr/>
            <p:nvPr/>
          </p:nvGrpSpPr>
          <p:grpSpPr>
            <a:xfrm>
              <a:off x="7915092" y="1053103"/>
              <a:ext cx="967274" cy="195275"/>
              <a:chOff x="7915092" y="1097757"/>
              <a:chExt cx="967274" cy="195275"/>
            </a:xfrm>
          </p:grpSpPr>
          <p:sp>
            <p:nvSpPr>
              <p:cNvPr id="76" name="RectangleLegend4">
                <a:extLst>
                  <a:ext uri="{FF2B5EF4-FFF2-40B4-BE49-F238E27FC236}">
                    <a16:creationId xmlns:a16="http://schemas.microsoft.com/office/drawing/2014/main" id="{9271C247-492C-7E48-98F1-BDEFD32268EB}"/>
                  </a:ext>
                </a:extLst>
              </p:cNvPr>
              <p:cNvSpPr>
                <a:spLocks noChangeArrowheads="1"/>
              </p:cNvSpPr>
              <p:nvPr/>
            </p:nvSpPr>
            <p:spPr bwMode="gray">
              <a:xfrm>
                <a:off x="7915092" y="1097757"/>
                <a:ext cx="165100" cy="160338"/>
              </a:xfrm>
              <a:prstGeom prst="rect">
                <a:avLst/>
              </a:prstGeom>
              <a:solidFill>
                <a:schemeClr val="bg1">
                  <a:lumMod val="65000"/>
                </a:schemeClr>
              </a:solidFill>
              <a:ln w="9525">
                <a:noFill/>
                <a:miter lim="800000"/>
                <a:headEnd/>
                <a:tailEnd/>
              </a:ln>
              <a:effectLst/>
            </p:spPr>
            <p:txBody>
              <a:bodyPr wrap="none" anchor="ctr"/>
              <a:lstStyle/>
              <a:p>
                <a:endParaRPr lang="en-US" sz="900" dirty="0"/>
              </a:p>
            </p:txBody>
          </p:sp>
          <p:sp>
            <p:nvSpPr>
              <p:cNvPr id="77" name="Legend4">
                <a:extLst>
                  <a:ext uri="{FF2B5EF4-FFF2-40B4-BE49-F238E27FC236}">
                    <a16:creationId xmlns:a16="http://schemas.microsoft.com/office/drawing/2014/main" id="{1BAF8653-451D-2849-96C9-427BEC96C3CD}"/>
                  </a:ext>
                </a:extLst>
              </p:cNvPr>
              <p:cNvSpPr>
                <a:spLocks noChangeArrowheads="1"/>
              </p:cNvSpPr>
              <p:nvPr>
                <p:custDataLst>
                  <p:tags r:id="rId60"/>
                </p:custDataLst>
              </p:nvPr>
            </p:nvSpPr>
            <p:spPr bwMode="gray">
              <a:xfrm>
                <a:off x="8169092" y="1116371"/>
                <a:ext cx="713274" cy="176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1050" dirty="0">
                    <a:latin typeface="Candara" panose="020E0502030303020204" pitchFamily="34" charset="0"/>
                  </a:rPr>
                  <a:t>Eastern</a:t>
                </a:r>
                <a:r>
                  <a:rPr lang="en-US" sz="900" dirty="0"/>
                  <a:t> Africa</a:t>
                </a:r>
              </a:p>
            </p:txBody>
          </p:sp>
        </p:grpSp>
        <p:grpSp>
          <p:nvGrpSpPr>
            <p:cNvPr id="73" name="Group 72">
              <a:extLst>
                <a:ext uri="{FF2B5EF4-FFF2-40B4-BE49-F238E27FC236}">
                  <a16:creationId xmlns:a16="http://schemas.microsoft.com/office/drawing/2014/main" id="{3A203161-DC90-7A42-9567-94A47BBCF67F}"/>
                </a:ext>
              </a:extLst>
            </p:cNvPr>
            <p:cNvGrpSpPr/>
            <p:nvPr/>
          </p:nvGrpSpPr>
          <p:grpSpPr>
            <a:xfrm>
              <a:off x="7915092" y="1309152"/>
              <a:ext cx="1122812" cy="195275"/>
              <a:chOff x="7915092" y="1450876"/>
              <a:chExt cx="1122812" cy="195275"/>
            </a:xfrm>
          </p:grpSpPr>
          <p:sp>
            <p:nvSpPr>
              <p:cNvPr id="74" name="RectangleLegend4">
                <a:extLst>
                  <a:ext uri="{FF2B5EF4-FFF2-40B4-BE49-F238E27FC236}">
                    <a16:creationId xmlns:a16="http://schemas.microsoft.com/office/drawing/2014/main" id="{F586D07D-52DA-F54E-97C0-0ABEA27FAC48}"/>
                  </a:ext>
                </a:extLst>
              </p:cNvPr>
              <p:cNvSpPr>
                <a:spLocks noChangeArrowheads="1"/>
              </p:cNvSpPr>
              <p:nvPr/>
            </p:nvSpPr>
            <p:spPr bwMode="gray">
              <a:xfrm>
                <a:off x="7915092" y="1450876"/>
                <a:ext cx="165100" cy="160338"/>
              </a:xfrm>
              <a:prstGeom prst="rect">
                <a:avLst/>
              </a:prstGeom>
              <a:solidFill>
                <a:schemeClr val="accent1">
                  <a:lumMod val="50000"/>
                </a:schemeClr>
              </a:solidFill>
              <a:ln w="9525">
                <a:noFill/>
                <a:miter lim="800000"/>
                <a:headEnd/>
                <a:tailEnd/>
              </a:ln>
              <a:effectLst/>
            </p:spPr>
            <p:txBody>
              <a:bodyPr wrap="none" anchor="ctr"/>
              <a:lstStyle/>
              <a:p>
                <a:endParaRPr lang="en-US" sz="900" dirty="0"/>
              </a:p>
            </p:txBody>
          </p:sp>
          <p:sp>
            <p:nvSpPr>
              <p:cNvPr id="75" name="Legend4">
                <a:extLst>
                  <a:ext uri="{FF2B5EF4-FFF2-40B4-BE49-F238E27FC236}">
                    <a16:creationId xmlns:a16="http://schemas.microsoft.com/office/drawing/2014/main" id="{DF2D4F24-0B66-0C42-B824-29A2C2CF323A}"/>
                  </a:ext>
                </a:extLst>
              </p:cNvPr>
              <p:cNvSpPr>
                <a:spLocks noChangeArrowheads="1"/>
              </p:cNvSpPr>
              <p:nvPr>
                <p:custDataLst>
                  <p:tags r:id="rId59"/>
                </p:custDataLst>
              </p:nvPr>
            </p:nvSpPr>
            <p:spPr bwMode="gray">
              <a:xfrm>
                <a:off x="8169092" y="1469490"/>
                <a:ext cx="868812" cy="176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685145">
                  <a:buClr>
                    <a:schemeClr val="tx2"/>
                  </a:buClr>
                </a:pPr>
                <a:r>
                  <a:rPr lang="en-US" sz="1050" dirty="0">
                    <a:latin typeface="Candara" panose="020E0502030303020204" pitchFamily="34" charset="0"/>
                  </a:rPr>
                  <a:t>Southern Africa</a:t>
                </a:r>
              </a:p>
            </p:txBody>
          </p:sp>
        </p:grpSp>
      </p:grpSp>
      <p:sp>
        <p:nvSpPr>
          <p:cNvPr id="102" name="Oval 16">
            <a:extLst>
              <a:ext uri="{FF2B5EF4-FFF2-40B4-BE49-F238E27FC236}">
                <a16:creationId xmlns:a16="http://schemas.microsoft.com/office/drawing/2014/main" id="{919D50FE-1C19-1841-9E92-4734F3FC1BA8}"/>
              </a:ext>
            </a:extLst>
          </p:cNvPr>
          <p:cNvSpPr txBox="1"/>
          <p:nvPr>
            <p:custDataLst>
              <p:tags r:id="rId56"/>
            </p:custDataLst>
          </p:nvPr>
        </p:nvSpPr>
        <p:spPr>
          <a:xfrm>
            <a:off x="5951683" y="4602517"/>
            <a:ext cx="58189" cy="43642"/>
          </a:xfrm>
          <a:prstGeom prst="ellipse">
            <a:avLst/>
          </a:prstGeom>
          <a:solidFill>
            <a:srgbClr val="FFC000"/>
          </a:solidFill>
          <a:ln>
            <a:solidFill>
              <a:srgbClr val="FFC000"/>
            </a:solidFill>
          </a:ln>
        </p:spPr>
        <p:txBody>
          <a:bodyPr vert="horz" lIns="2858" tIns="0" rIns="2858" bIns="0" rtlCol="0" anchor="ctr" anchorCtr="1">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endParaRPr lang="en-US" sz="1200" dirty="0"/>
          </a:p>
        </p:txBody>
      </p:sp>
      <p:sp>
        <p:nvSpPr>
          <p:cNvPr id="105" name="TextBox 104">
            <a:extLst>
              <a:ext uri="{FF2B5EF4-FFF2-40B4-BE49-F238E27FC236}">
                <a16:creationId xmlns:a16="http://schemas.microsoft.com/office/drawing/2014/main" id="{312D8611-1101-FE4B-B2DC-AC7E1879C6A8}"/>
              </a:ext>
            </a:extLst>
          </p:cNvPr>
          <p:cNvSpPr txBox="1"/>
          <p:nvPr/>
        </p:nvSpPr>
        <p:spPr>
          <a:xfrm>
            <a:off x="479505" y="5340273"/>
            <a:ext cx="2256002" cy="369332"/>
          </a:xfrm>
          <a:prstGeom prst="rect">
            <a:avLst/>
          </a:prstGeom>
          <a:noFill/>
        </p:spPr>
        <p:txBody>
          <a:bodyPr wrap="none" rtlCol="0">
            <a:spAutoFit/>
          </a:bodyPr>
          <a:lstStyle/>
          <a:p>
            <a:r>
              <a:rPr lang="en-US" dirty="0"/>
              <a:t>Sequencing capacity</a:t>
            </a:r>
          </a:p>
        </p:txBody>
      </p:sp>
      <p:sp>
        <p:nvSpPr>
          <p:cNvPr id="107" name="Oval 106">
            <a:extLst>
              <a:ext uri="{FF2B5EF4-FFF2-40B4-BE49-F238E27FC236}">
                <a16:creationId xmlns:a16="http://schemas.microsoft.com/office/drawing/2014/main" id="{5D65E976-C968-C540-B208-817825C3B9EE}"/>
              </a:ext>
            </a:extLst>
          </p:cNvPr>
          <p:cNvSpPr/>
          <p:nvPr/>
        </p:nvSpPr>
        <p:spPr>
          <a:xfrm>
            <a:off x="4309419" y="4517007"/>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8" name="Oval 107">
            <a:extLst>
              <a:ext uri="{FF2B5EF4-FFF2-40B4-BE49-F238E27FC236}">
                <a16:creationId xmlns:a16="http://schemas.microsoft.com/office/drawing/2014/main" id="{C4A35CC5-7090-2046-8A35-B7E1B47926DB}"/>
              </a:ext>
            </a:extLst>
          </p:cNvPr>
          <p:cNvSpPr/>
          <p:nvPr/>
        </p:nvSpPr>
        <p:spPr>
          <a:xfrm>
            <a:off x="5955861" y="4468376"/>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9" name="Oval 108">
            <a:extLst>
              <a:ext uri="{FF2B5EF4-FFF2-40B4-BE49-F238E27FC236}">
                <a16:creationId xmlns:a16="http://schemas.microsoft.com/office/drawing/2014/main" id="{4A4A5600-46B2-1C48-A421-0CCC40514A11}"/>
              </a:ext>
            </a:extLst>
          </p:cNvPr>
          <p:cNvSpPr/>
          <p:nvPr/>
        </p:nvSpPr>
        <p:spPr>
          <a:xfrm>
            <a:off x="3982318" y="4000335"/>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Oval 109">
            <a:extLst>
              <a:ext uri="{FF2B5EF4-FFF2-40B4-BE49-F238E27FC236}">
                <a16:creationId xmlns:a16="http://schemas.microsoft.com/office/drawing/2014/main" id="{B568BD6B-84D6-E046-A7CC-C6B503F66FD8}"/>
              </a:ext>
            </a:extLst>
          </p:cNvPr>
          <p:cNvSpPr/>
          <p:nvPr/>
        </p:nvSpPr>
        <p:spPr>
          <a:xfrm>
            <a:off x="3454497" y="4085829"/>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Oval 110">
            <a:extLst>
              <a:ext uri="{FF2B5EF4-FFF2-40B4-BE49-F238E27FC236}">
                <a16:creationId xmlns:a16="http://schemas.microsoft.com/office/drawing/2014/main" id="{04C2380A-02EA-EC45-88F5-5EAE9A655EFB}"/>
              </a:ext>
            </a:extLst>
          </p:cNvPr>
          <p:cNvSpPr/>
          <p:nvPr/>
        </p:nvSpPr>
        <p:spPr>
          <a:xfrm>
            <a:off x="5164346" y="5862588"/>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Oval 111">
            <a:extLst>
              <a:ext uri="{FF2B5EF4-FFF2-40B4-BE49-F238E27FC236}">
                <a16:creationId xmlns:a16="http://schemas.microsoft.com/office/drawing/2014/main" id="{09DE4827-A796-194A-9EF9-00FFE9243ADC}"/>
              </a:ext>
            </a:extLst>
          </p:cNvPr>
          <p:cNvSpPr/>
          <p:nvPr/>
        </p:nvSpPr>
        <p:spPr>
          <a:xfrm>
            <a:off x="3339271" y="3546855"/>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Oval 112">
            <a:extLst>
              <a:ext uri="{FF2B5EF4-FFF2-40B4-BE49-F238E27FC236}">
                <a16:creationId xmlns:a16="http://schemas.microsoft.com/office/drawing/2014/main" id="{CEA0B8F9-7EBB-4D49-812F-4D51E01D9ED3}"/>
              </a:ext>
            </a:extLst>
          </p:cNvPr>
          <p:cNvSpPr/>
          <p:nvPr/>
        </p:nvSpPr>
        <p:spPr>
          <a:xfrm>
            <a:off x="2566120" y="3755010"/>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4" name="Oval 113">
            <a:extLst>
              <a:ext uri="{FF2B5EF4-FFF2-40B4-BE49-F238E27FC236}">
                <a16:creationId xmlns:a16="http://schemas.microsoft.com/office/drawing/2014/main" id="{3AD8A26F-6AE2-6947-9A40-08E42D76CF37}"/>
              </a:ext>
            </a:extLst>
          </p:cNvPr>
          <p:cNvSpPr/>
          <p:nvPr/>
        </p:nvSpPr>
        <p:spPr>
          <a:xfrm>
            <a:off x="5142048" y="5182363"/>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5" name="Oval 114">
            <a:extLst>
              <a:ext uri="{FF2B5EF4-FFF2-40B4-BE49-F238E27FC236}">
                <a16:creationId xmlns:a16="http://schemas.microsoft.com/office/drawing/2014/main" id="{AE00F4FB-2211-D649-9450-BB3F0F6246FA}"/>
              </a:ext>
            </a:extLst>
          </p:cNvPr>
          <p:cNvSpPr/>
          <p:nvPr/>
        </p:nvSpPr>
        <p:spPr>
          <a:xfrm>
            <a:off x="5684742" y="5134043"/>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6" name="Oval 115">
            <a:extLst>
              <a:ext uri="{FF2B5EF4-FFF2-40B4-BE49-F238E27FC236}">
                <a16:creationId xmlns:a16="http://schemas.microsoft.com/office/drawing/2014/main" id="{E76EAE92-75C2-4742-A6D0-0D71CE8B76F6}"/>
              </a:ext>
            </a:extLst>
          </p:cNvPr>
          <p:cNvSpPr/>
          <p:nvPr/>
        </p:nvSpPr>
        <p:spPr>
          <a:xfrm>
            <a:off x="377292" y="5451036"/>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Oval 91">
            <a:extLst>
              <a:ext uri="{FF2B5EF4-FFF2-40B4-BE49-F238E27FC236}">
                <a16:creationId xmlns:a16="http://schemas.microsoft.com/office/drawing/2014/main" id="{8D89C123-206E-F04F-B9AC-72BEDF21E6C1}"/>
              </a:ext>
            </a:extLst>
          </p:cNvPr>
          <p:cNvSpPr/>
          <p:nvPr/>
        </p:nvSpPr>
        <p:spPr>
          <a:xfrm>
            <a:off x="5018000" y="4593992"/>
            <a:ext cx="102213" cy="14780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6" name="Audio 5">
            <a:hlinkClick r:id="" action="ppaction://media"/>
            <a:extLst>
              <a:ext uri="{FF2B5EF4-FFF2-40B4-BE49-F238E27FC236}">
                <a16:creationId xmlns:a16="http://schemas.microsoft.com/office/drawing/2014/main" id="{2B77E353-169D-904A-91E3-F0000BBDF8E5}"/>
              </a:ext>
            </a:extLst>
          </p:cNvPr>
          <p:cNvPicPr>
            <a:picLocks noChangeAspect="1"/>
          </p:cNvPicPr>
          <p:nvPr>
            <a:audioFile r:link="rId58"/>
            <p:extLst>
              <p:ext uri="{DAA4B4D4-6D71-4841-9C94-3DE7FCFB9230}">
                <p14:media xmlns:p14="http://schemas.microsoft.com/office/powerpoint/2010/main" r:embed="rId57"/>
              </p:ext>
            </p:extLst>
          </p:nvPr>
        </p:nvPicPr>
        <p:blipFill>
          <a:blip r:embed="rId66"/>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129213434"/>
      </p:ext>
    </p:extLst>
  </p:cSld>
  <p:clrMapOvr>
    <a:masterClrMapping/>
  </p:clrMapOvr>
  <p:transition spd="slow" advTm="48662">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p:txBody>
          <a:bodyPr>
            <a:normAutofit fontScale="55000" lnSpcReduction="20000"/>
          </a:bodyPr>
          <a:lstStyle/>
          <a:p>
            <a:pPr marL="0" indent="0">
              <a:buNone/>
            </a:pPr>
            <a:r>
              <a:rPr lang="en-ZA" b="1" dirty="0"/>
              <a:t>How is the genomic data shared with others?</a:t>
            </a:r>
          </a:p>
          <a:p>
            <a:pPr marL="0" indent="0">
              <a:buNone/>
            </a:pPr>
            <a:r>
              <a:rPr lang="en-ZA" dirty="0"/>
              <a:t>There are international databases that store and provide access to a range of genomic data. Some of these databases are specific for one disease or for an organism. </a:t>
            </a:r>
          </a:p>
          <a:p>
            <a:pPr marL="0" indent="0">
              <a:buNone/>
            </a:pPr>
            <a:r>
              <a:rPr lang="en-ZA" dirty="0"/>
              <a:t>The Global Initiative on Sharing All Influenza Data (GISAID) is a public-private partnership that promotes international sharing of ALL influenza virus sequences, and associated meta data such as a clinical data in the case of human viruses or species-specific data for birds and animal viruses. </a:t>
            </a:r>
          </a:p>
          <a:p>
            <a:pPr marL="0" indent="0">
              <a:buNone/>
            </a:pPr>
            <a:r>
              <a:rPr lang="en-ZA" dirty="0"/>
              <a:t>Scientists are allowed to submit SARS-COV-2 genome data to GISAID</a:t>
            </a:r>
          </a:p>
          <a:p>
            <a:r>
              <a:rPr lang="en-ZA" u="sng" dirty="0">
                <a:hlinkClick r:id="rId5"/>
              </a:rPr>
              <a:t>https://www.gisaid.org/</a:t>
            </a:r>
            <a:endParaRPr lang="en-ZA" dirty="0"/>
          </a:p>
          <a:p>
            <a:pPr marL="0" indent="0">
              <a:buNone/>
            </a:pPr>
            <a:r>
              <a:rPr lang="en-ZA" dirty="0"/>
              <a:t>Raw DNA sequencing data for SARS-COV-2 can be submitted to the Sequence Read Archive:</a:t>
            </a:r>
          </a:p>
          <a:p>
            <a:r>
              <a:rPr lang="en-ZA" u="sng" dirty="0">
                <a:hlinkClick r:id="rId6"/>
              </a:rPr>
              <a:t>https://submit.ncbi.nlm.nih.gov/subs/sra/</a:t>
            </a:r>
            <a:endParaRPr lang="en-ZA" dirty="0"/>
          </a:p>
          <a:p>
            <a:pPr marL="0" indent="0">
              <a:buNone/>
            </a:pPr>
            <a:endParaRPr lang="en-ZA" sz="2400" dirty="0"/>
          </a:p>
        </p:txBody>
      </p:sp>
      <p:pic>
        <p:nvPicPr>
          <p:cNvPr id="5" name="Audio 4">
            <a:hlinkClick r:id="" action="ppaction://media"/>
            <a:extLst>
              <a:ext uri="{FF2B5EF4-FFF2-40B4-BE49-F238E27FC236}">
                <a16:creationId xmlns:a16="http://schemas.microsoft.com/office/drawing/2014/main" id="{3084723D-6B8E-FC4C-AB84-AE25BFD594B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2183623025"/>
      </p:ext>
    </p:extLst>
  </p:cSld>
  <p:clrMapOvr>
    <a:masterClrMapping/>
  </p:clrMapOvr>
  <p:transition spd="slow" advTm="83053">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a:xfrm>
            <a:off x="492505" y="1825625"/>
            <a:ext cx="10515600" cy="705702"/>
          </a:xfrm>
        </p:spPr>
        <p:txBody>
          <a:bodyPr>
            <a:normAutofit/>
          </a:bodyPr>
          <a:lstStyle/>
          <a:p>
            <a:pPr marL="0" indent="0">
              <a:buNone/>
            </a:pPr>
            <a:r>
              <a:rPr lang="en-ZA" sz="2400" b="1" dirty="0"/>
              <a:t>How do I use this data to control COVID19 spread?</a:t>
            </a:r>
            <a:endParaRPr lang="en-ZA" sz="2400" dirty="0"/>
          </a:p>
        </p:txBody>
      </p:sp>
      <p:sp>
        <p:nvSpPr>
          <p:cNvPr id="4" name="Rounded Rectangle 3">
            <a:extLst>
              <a:ext uri="{FF2B5EF4-FFF2-40B4-BE49-F238E27FC236}">
                <a16:creationId xmlns:a16="http://schemas.microsoft.com/office/drawing/2014/main" id="{3EAEDB0C-D8B0-B746-BD8D-378D580D7D2E}"/>
              </a:ext>
            </a:extLst>
          </p:cNvPr>
          <p:cNvSpPr/>
          <p:nvPr/>
        </p:nvSpPr>
        <p:spPr>
          <a:xfrm>
            <a:off x="1295392" y="2977378"/>
            <a:ext cx="2261846" cy="11374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lobally collected virus genomes</a:t>
            </a:r>
          </a:p>
          <a:p>
            <a:pPr algn="ctr"/>
            <a:r>
              <a:rPr lang="en-US" dirty="0">
                <a:solidFill>
                  <a:schemeClr val="tx1"/>
                </a:solidFill>
              </a:rPr>
              <a:t>(GISAID)</a:t>
            </a:r>
          </a:p>
        </p:txBody>
      </p:sp>
      <p:sp>
        <p:nvSpPr>
          <p:cNvPr id="93" name="Rounded Rectangle 92">
            <a:extLst>
              <a:ext uri="{FF2B5EF4-FFF2-40B4-BE49-F238E27FC236}">
                <a16:creationId xmlns:a16="http://schemas.microsoft.com/office/drawing/2014/main" id="{142341C1-960F-C942-86EC-D12765CA93B4}"/>
              </a:ext>
            </a:extLst>
          </p:cNvPr>
          <p:cNvSpPr/>
          <p:nvPr/>
        </p:nvSpPr>
        <p:spPr>
          <a:xfrm>
            <a:off x="5283808" y="2977378"/>
            <a:ext cx="2261846" cy="1137424"/>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ocally sequenced virus genomes</a:t>
            </a:r>
          </a:p>
        </p:txBody>
      </p:sp>
      <p:sp>
        <p:nvSpPr>
          <p:cNvPr id="5" name="Right Arrow 4">
            <a:extLst>
              <a:ext uri="{FF2B5EF4-FFF2-40B4-BE49-F238E27FC236}">
                <a16:creationId xmlns:a16="http://schemas.microsoft.com/office/drawing/2014/main" id="{90B249E1-162B-FA40-94EF-7F79F7DA1014}"/>
              </a:ext>
            </a:extLst>
          </p:cNvPr>
          <p:cNvSpPr/>
          <p:nvPr/>
        </p:nvSpPr>
        <p:spPr>
          <a:xfrm>
            <a:off x="7961966" y="3328641"/>
            <a:ext cx="802890" cy="3735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an 5">
            <a:extLst>
              <a:ext uri="{FF2B5EF4-FFF2-40B4-BE49-F238E27FC236}">
                <a16:creationId xmlns:a16="http://schemas.microsoft.com/office/drawing/2014/main" id="{0A9C322F-96E6-814E-AD64-2EE857903405}"/>
              </a:ext>
            </a:extLst>
          </p:cNvPr>
          <p:cNvSpPr/>
          <p:nvPr/>
        </p:nvSpPr>
        <p:spPr>
          <a:xfrm>
            <a:off x="8876369" y="2453265"/>
            <a:ext cx="2587083" cy="1750747"/>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are all the virus genomes and find differences (SNPs)</a:t>
            </a:r>
          </a:p>
          <a:p>
            <a:pPr algn="ctr"/>
            <a:r>
              <a:rPr lang="en-US" dirty="0">
                <a:solidFill>
                  <a:schemeClr val="tx1"/>
                </a:solidFill>
              </a:rPr>
              <a:t>(MAFFT)</a:t>
            </a:r>
          </a:p>
        </p:txBody>
      </p:sp>
      <p:sp>
        <p:nvSpPr>
          <p:cNvPr id="31" name="Down Arrow 30">
            <a:extLst>
              <a:ext uri="{FF2B5EF4-FFF2-40B4-BE49-F238E27FC236}">
                <a16:creationId xmlns:a16="http://schemas.microsoft.com/office/drawing/2014/main" id="{D75647B7-DA54-3E43-9ACF-AD1421FCBADF}"/>
              </a:ext>
            </a:extLst>
          </p:cNvPr>
          <p:cNvSpPr/>
          <p:nvPr/>
        </p:nvSpPr>
        <p:spPr>
          <a:xfrm>
            <a:off x="9969189" y="4404735"/>
            <a:ext cx="367990" cy="2787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ounded Rectangle 96">
            <a:extLst>
              <a:ext uri="{FF2B5EF4-FFF2-40B4-BE49-F238E27FC236}">
                <a16:creationId xmlns:a16="http://schemas.microsoft.com/office/drawing/2014/main" id="{346FE4B5-ABF6-684D-9AAC-7DB207418093}"/>
              </a:ext>
            </a:extLst>
          </p:cNvPr>
          <p:cNvSpPr/>
          <p:nvPr/>
        </p:nvSpPr>
        <p:spPr>
          <a:xfrm>
            <a:off x="8933052" y="4791913"/>
            <a:ext cx="2587083" cy="1451427"/>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se the SNPs to group virus fingerprints together</a:t>
            </a:r>
          </a:p>
          <a:p>
            <a:pPr algn="ctr"/>
            <a:r>
              <a:rPr lang="en-US" dirty="0"/>
              <a:t>(</a:t>
            </a:r>
            <a:r>
              <a:rPr lang="en-US" dirty="0" err="1"/>
              <a:t>Nextstrain</a:t>
            </a:r>
            <a:r>
              <a:rPr lang="en-US" dirty="0"/>
              <a:t>)</a:t>
            </a:r>
          </a:p>
        </p:txBody>
      </p:sp>
      <p:sp>
        <p:nvSpPr>
          <p:cNvPr id="84" name="Left Arrow 83">
            <a:extLst>
              <a:ext uri="{FF2B5EF4-FFF2-40B4-BE49-F238E27FC236}">
                <a16:creationId xmlns:a16="http://schemas.microsoft.com/office/drawing/2014/main" id="{E0ED93D8-2DD3-2D42-B83B-8DDBBE21F3D4}"/>
              </a:ext>
            </a:extLst>
          </p:cNvPr>
          <p:cNvSpPr/>
          <p:nvPr/>
        </p:nvSpPr>
        <p:spPr>
          <a:xfrm>
            <a:off x="8051180" y="5187782"/>
            <a:ext cx="719256" cy="34568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ounded Rectangle 98">
            <a:extLst>
              <a:ext uri="{FF2B5EF4-FFF2-40B4-BE49-F238E27FC236}">
                <a16:creationId xmlns:a16="http://schemas.microsoft.com/office/drawing/2014/main" id="{6EE8FB08-300A-4E42-AF79-CD1E9B45D2C2}"/>
              </a:ext>
            </a:extLst>
          </p:cNvPr>
          <p:cNvSpPr/>
          <p:nvPr/>
        </p:nvSpPr>
        <p:spPr>
          <a:xfrm>
            <a:off x="5375347" y="4869971"/>
            <a:ext cx="2587083" cy="11374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ck the transmission history of the local virus</a:t>
            </a:r>
          </a:p>
        </p:txBody>
      </p:sp>
      <p:sp>
        <p:nvSpPr>
          <p:cNvPr id="100" name="Rounded Rectangle 99">
            <a:extLst>
              <a:ext uri="{FF2B5EF4-FFF2-40B4-BE49-F238E27FC236}">
                <a16:creationId xmlns:a16="http://schemas.microsoft.com/office/drawing/2014/main" id="{F6178E0F-6D05-0047-916F-174E9B922BC6}"/>
              </a:ext>
            </a:extLst>
          </p:cNvPr>
          <p:cNvSpPr/>
          <p:nvPr/>
        </p:nvSpPr>
        <p:spPr>
          <a:xfrm>
            <a:off x="345688" y="4739268"/>
            <a:ext cx="4132451" cy="1371599"/>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form public health response</a:t>
            </a:r>
          </a:p>
          <a:p>
            <a:pPr marL="285750" indent="-285750" algn="ctr">
              <a:buFont typeface="Arial" panose="020B0604020202020204" pitchFamily="34" charset="0"/>
              <a:buChar char="•"/>
            </a:pPr>
            <a:r>
              <a:rPr lang="en-US" dirty="0"/>
              <a:t>new virus emerging?</a:t>
            </a:r>
          </a:p>
          <a:p>
            <a:pPr marL="285750" indent="-285750" algn="ctr">
              <a:buFont typeface="Arial" panose="020B0604020202020204" pitchFamily="34" charset="0"/>
              <a:buChar char="•"/>
            </a:pPr>
            <a:r>
              <a:rPr lang="en-US" dirty="0"/>
              <a:t>Spread of virus to other regions?</a:t>
            </a:r>
          </a:p>
        </p:txBody>
      </p:sp>
      <p:sp>
        <p:nvSpPr>
          <p:cNvPr id="101" name="Left Arrow 100">
            <a:extLst>
              <a:ext uri="{FF2B5EF4-FFF2-40B4-BE49-F238E27FC236}">
                <a16:creationId xmlns:a16="http://schemas.microsoft.com/office/drawing/2014/main" id="{29A0094C-BDC4-7343-A263-D3EEE04F72D8}"/>
              </a:ext>
            </a:extLst>
          </p:cNvPr>
          <p:cNvSpPr/>
          <p:nvPr/>
        </p:nvSpPr>
        <p:spPr>
          <a:xfrm>
            <a:off x="4556188" y="5212549"/>
            <a:ext cx="719256" cy="35437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ight Arrow 102">
            <a:extLst>
              <a:ext uri="{FF2B5EF4-FFF2-40B4-BE49-F238E27FC236}">
                <a16:creationId xmlns:a16="http://schemas.microsoft.com/office/drawing/2014/main" id="{5E4773BA-5C46-6A49-8C90-1CB695B57C6D}"/>
              </a:ext>
            </a:extLst>
          </p:cNvPr>
          <p:cNvSpPr/>
          <p:nvPr/>
        </p:nvSpPr>
        <p:spPr>
          <a:xfrm>
            <a:off x="3806285" y="3328641"/>
            <a:ext cx="802890" cy="3735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Left-right Arrow 87">
            <a:extLst>
              <a:ext uri="{FF2B5EF4-FFF2-40B4-BE49-F238E27FC236}">
                <a16:creationId xmlns:a16="http://schemas.microsoft.com/office/drawing/2014/main" id="{827A10D5-7D48-D94B-ADDA-95EA20493ACA}"/>
              </a:ext>
            </a:extLst>
          </p:cNvPr>
          <p:cNvSpPr/>
          <p:nvPr/>
        </p:nvSpPr>
        <p:spPr>
          <a:xfrm>
            <a:off x="223024" y="6556917"/>
            <a:ext cx="11452303" cy="11151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6725E60B-BC8B-B542-8525-F4181CC36B0A}"/>
              </a:ext>
            </a:extLst>
          </p:cNvPr>
          <p:cNvSpPr txBox="1"/>
          <p:nvPr/>
        </p:nvSpPr>
        <p:spPr>
          <a:xfrm>
            <a:off x="4337899" y="6243341"/>
            <a:ext cx="2824812" cy="369332"/>
          </a:xfrm>
          <a:prstGeom prst="rect">
            <a:avLst/>
          </a:prstGeom>
          <a:noFill/>
        </p:spPr>
        <p:txBody>
          <a:bodyPr wrap="none" rtlCol="0">
            <a:spAutoFit/>
          </a:bodyPr>
          <a:lstStyle/>
          <a:p>
            <a:r>
              <a:rPr lang="en-US" b="1" dirty="0"/>
              <a:t>Genomic Epidemiology</a:t>
            </a:r>
          </a:p>
        </p:txBody>
      </p:sp>
      <p:pic>
        <p:nvPicPr>
          <p:cNvPr id="7" name="Audio 6">
            <a:hlinkClick r:id="" action="ppaction://media"/>
            <a:extLst>
              <a:ext uri="{FF2B5EF4-FFF2-40B4-BE49-F238E27FC236}">
                <a16:creationId xmlns:a16="http://schemas.microsoft.com/office/drawing/2014/main" id="{9F71FCFD-7F57-1A40-9672-A73E18A7036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3928714035"/>
      </p:ext>
    </p:extLst>
  </p:cSld>
  <p:clrMapOvr>
    <a:masterClrMapping/>
  </p:clrMapOvr>
  <p:transition spd="slow" advTm="84937">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a:xfrm>
            <a:off x="492505" y="1825625"/>
            <a:ext cx="10515600" cy="705702"/>
          </a:xfrm>
        </p:spPr>
        <p:txBody>
          <a:bodyPr>
            <a:normAutofit/>
          </a:bodyPr>
          <a:lstStyle/>
          <a:p>
            <a:pPr marL="0" indent="0">
              <a:buNone/>
            </a:pPr>
            <a:r>
              <a:rPr lang="en-ZA" sz="2400" b="1" dirty="0"/>
              <a:t>An example of using COVID19 data for genomic epidemiology?</a:t>
            </a:r>
            <a:endParaRPr lang="en-ZA" sz="2400" dirty="0"/>
          </a:p>
        </p:txBody>
      </p:sp>
      <p:pic>
        <p:nvPicPr>
          <p:cNvPr id="8" name="Picture 7">
            <a:extLst>
              <a:ext uri="{FF2B5EF4-FFF2-40B4-BE49-F238E27FC236}">
                <a16:creationId xmlns:a16="http://schemas.microsoft.com/office/drawing/2014/main" id="{E74D8865-9B39-D340-A15F-EF40EC0208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2505" y="3013928"/>
            <a:ext cx="5981700" cy="1959516"/>
          </a:xfrm>
          <a:prstGeom prst="rect">
            <a:avLst/>
          </a:prstGeom>
        </p:spPr>
      </p:pic>
      <p:sp>
        <p:nvSpPr>
          <p:cNvPr id="11" name="Down Arrow 10">
            <a:extLst>
              <a:ext uri="{FF2B5EF4-FFF2-40B4-BE49-F238E27FC236}">
                <a16:creationId xmlns:a16="http://schemas.microsoft.com/office/drawing/2014/main" id="{C142246D-BF01-DC48-8F30-E86983B391F7}"/>
              </a:ext>
            </a:extLst>
          </p:cNvPr>
          <p:cNvSpPr/>
          <p:nvPr/>
        </p:nvSpPr>
        <p:spPr>
          <a:xfrm>
            <a:off x="2464419" y="2781998"/>
            <a:ext cx="245327" cy="1661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AE0D7B5E-3B53-2B40-94E7-8F49305FFADF}"/>
              </a:ext>
            </a:extLst>
          </p:cNvPr>
          <p:cNvSpPr txBox="1"/>
          <p:nvPr/>
        </p:nvSpPr>
        <p:spPr>
          <a:xfrm>
            <a:off x="2006371" y="2493944"/>
            <a:ext cx="1311578" cy="307777"/>
          </a:xfrm>
          <a:prstGeom prst="rect">
            <a:avLst/>
          </a:prstGeom>
          <a:noFill/>
        </p:spPr>
        <p:txBody>
          <a:bodyPr wrap="none" rtlCol="0">
            <a:spAutoFit/>
          </a:bodyPr>
          <a:lstStyle/>
          <a:p>
            <a:r>
              <a:rPr lang="en-US" sz="1400" b="1" dirty="0"/>
              <a:t>Position 241</a:t>
            </a:r>
          </a:p>
        </p:txBody>
      </p:sp>
      <p:sp>
        <p:nvSpPr>
          <p:cNvPr id="13" name="Rounded Rectangle 12">
            <a:extLst>
              <a:ext uri="{FF2B5EF4-FFF2-40B4-BE49-F238E27FC236}">
                <a16:creationId xmlns:a16="http://schemas.microsoft.com/office/drawing/2014/main" id="{322737C8-E830-C54F-BE68-E4BA1527C10B}"/>
              </a:ext>
            </a:extLst>
          </p:cNvPr>
          <p:cNvSpPr/>
          <p:nvPr/>
        </p:nvSpPr>
        <p:spPr>
          <a:xfrm>
            <a:off x="7181385" y="3201951"/>
            <a:ext cx="4650059" cy="158347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ignment of 3069 virus sequences</a:t>
            </a:r>
          </a:p>
          <a:p>
            <a:pPr algn="ctr"/>
            <a:r>
              <a:rPr lang="en-US" dirty="0"/>
              <a:t>Belgium and SA sequences have a ”T” at position 241</a:t>
            </a:r>
          </a:p>
          <a:p>
            <a:pPr algn="ctr"/>
            <a:r>
              <a:rPr lang="en-US" dirty="0"/>
              <a:t>Hongkong Sequences have a “C” at pos.241</a:t>
            </a:r>
          </a:p>
        </p:txBody>
      </p:sp>
      <p:pic>
        <p:nvPicPr>
          <p:cNvPr id="4" name="Audio 3">
            <a:hlinkClick r:id="" action="ppaction://media"/>
            <a:extLst>
              <a:ext uri="{FF2B5EF4-FFF2-40B4-BE49-F238E27FC236}">
                <a16:creationId xmlns:a16="http://schemas.microsoft.com/office/drawing/2014/main" id="{1D879CBF-F667-DD46-88DC-B576C25AB28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2598438800"/>
      </p:ext>
    </p:extLst>
  </p:cSld>
  <p:clrMapOvr>
    <a:masterClrMapping/>
  </p:clrMapOvr>
  <p:transition spd="slow" advTm="43970">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CCAB1-ECAC-4097-9250-13B1C6D9C683}"/>
              </a:ext>
            </a:extLst>
          </p:cNvPr>
          <p:cNvSpPr>
            <a:spLocks noGrp="1"/>
          </p:cNvSpPr>
          <p:nvPr>
            <p:ph type="title"/>
          </p:nvPr>
        </p:nvSpPr>
        <p:spPr/>
        <p:txBody>
          <a:bodyPr/>
          <a:lstStyle/>
          <a:p>
            <a:r>
              <a:rPr lang="en-US" dirty="0"/>
              <a:t>The role of pathogen genomics</a:t>
            </a:r>
          </a:p>
        </p:txBody>
      </p:sp>
      <p:sp>
        <p:nvSpPr>
          <p:cNvPr id="3" name="Content Placeholder 2">
            <a:extLst>
              <a:ext uri="{FF2B5EF4-FFF2-40B4-BE49-F238E27FC236}">
                <a16:creationId xmlns:a16="http://schemas.microsoft.com/office/drawing/2014/main" id="{6868AAEB-58AD-42E8-BCA6-96186D6296C8}"/>
              </a:ext>
            </a:extLst>
          </p:cNvPr>
          <p:cNvSpPr>
            <a:spLocks noGrp="1"/>
          </p:cNvSpPr>
          <p:nvPr>
            <p:ph idx="1"/>
          </p:nvPr>
        </p:nvSpPr>
        <p:spPr>
          <a:xfrm>
            <a:off x="492505" y="1825625"/>
            <a:ext cx="10515600" cy="705702"/>
          </a:xfrm>
        </p:spPr>
        <p:txBody>
          <a:bodyPr>
            <a:normAutofit/>
          </a:bodyPr>
          <a:lstStyle/>
          <a:p>
            <a:pPr marL="0" indent="0">
              <a:buNone/>
            </a:pPr>
            <a:r>
              <a:rPr lang="en-ZA" sz="2400" b="1" dirty="0"/>
              <a:t>An example of using COVID19 data for genomic epidemiology?</a:t>
            </a:r>
            <a:endParaRPr lang="en-ZA" sz="2400" dirty="0"/>
          </a:p>
        </p:txBody>
      </p:sp>
      <p:pic>
        <p:nvPicPr>
          <p:cNvPr id="5" name="Picture 4">
            <a:extLst>
              <a:ext uri="{FF2B5EF4-FFF2-40B4-BE49-F238E27FC236}">
                <a16:creationId xmlns:a16="http://schemas.microsoft.com/office/drawing/2014/main" id="{9E177389-DA0F-3741-9FAD-470F494892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8200" y="2666263"/>
            <a:ext cx="5100018" cy="3834897"/>
          </a:xfrm>
          <a:prstGeom prst="rect">
            <a:avLst/>
          </a:prstGeom>
        </p:spPr>
      </p:pic>
      <p:sp>
        <p:nvSpPr>
          <p:cNvPr id="6" name="Rounded Rectangle 5">
            <a:extLst>
              <a:ext uri="{FF2B5EF4-FFF2-40B4-BE49-F238E27FC236}">
                <a16:creationId xmlns:a16="http://schemas.microsoft.com/office/drawing/2014/main" id="{F0F4802B-52E1-6548-856E-E8A8B96D6667}"/>
              </a:ext>
            </a:extLst>
          </p:cNvPr>
          <p:cNvSpPr/>
          <p:nvPr/>
        </p:nvSpPr>
        <p:spPr>
          <a:xfrm>
            <a:off x="6813395" y="3636419"/>
            <a:ext cx="4984596" cy="22291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ultiple clusters from Senegal – </a:t>
            </a:r>
          </a:p>
          <a:p>
            <a:pPr algn="ctr"/>
            <a:r>
              <a:rPr lang="en-US" sz="2400" dirty="0"/>
              <a:t>Suggests that the virus was introduced multiple times</a:t>
            </a:r>
          </a:p>
          <a:p>
            <a:pPr algn="ctr"/>
            <a:r>
              <a:rPr lang="en-US" sz="2400" dirty="0"/>
              <a:t>(pink arrows)</a:t>
            </a:r>
          </a:p>
          <a:p>
            <a:pPr algn="ctr"/>
            <a:endParaRPr lang="en-US" sz="2400" dirty="0"/>
          </a:p>
        </p:txBody>
      </p:sp>
      <p:sp>
        <p:nvSpPr>
          <p:cNvPr id="7" name="Left Arrow 6">
            <a:extLst>
              <a:ext uri="{FF2B5EF4-FFF2-40B4-BE49-F238E27FC236}">
                <a16:creationId xmlns:a16="http://schemas.microsoft.com/office/drawing/2014/main" id="{CA4B9183-4607-F940-9C9F-9296325C1E6E}"/>
              </a:ext>
            </a:extLst>
          </p:cNvPr>
          <p:cNvSpPr/>
          <p:nvPr/>
        </p:nvSpPr>
        <p:spPr>
          <a:xfrm>
            <a:off x="4694662" y="4917547"/>
            <a:ext cx="652540" cy="13381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eft Arrow 14">
            <a:extLst>
              <a:ext uri="{FF2B5EF4-FFF2-40B4-BE49-F238E27FC236}">
                <a16:creationId xmlns:a16="http://schemas.microsoft.com/office/drawing/2014/main" id="{C218AF4A-7D5A-C04B-8F91-17B0DEC180A2}"/>
              </a:ext>
            </a:extLst>
          </p:cNvPr>
          <p:cNvSpPr/>
          <p:nvPr/>
        </p:nvSpPr>
        <p:spPr>
          <a:xfrm>
            <a:off x="5033741" y="4583711"/>
            <a:ext cx="652540" cy="13381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Left Arrow 15">
            <a:extLst>
              <a:ext uri="{FF2B5EF4-FFF2-40B4-BE49-F238E27FC236}">
                <a16:creationId xmlns:a16="http://schemas.microsoft.com/office/drawing/2014/main" id="{FB7AB36B-B9D3-9545-B981-8ADB93E6B965}"/>
              </a:ext>
            </a:extLst>
          </p:cNvPr>
          <p:cNvSpPr/>
          <p:nvPr/>
        </p:nvSpPr>
        <p:spPr>
          <a:xfrm>
            <a:off x="5097765" y="3907256"/>
            <a:ext cx="652540" cy="13381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2AD43541-2323-804F-85C0-0AA43ED521EA}"/>
              </a:ext>
            </a:extLst>
          </p:cNvPr>
          <p:cNvSpPr txBox="1"/>
          <p:nvPr/>
        </p:nvSpPr>
        <p:spPr>
          <a:xfrm>
            <a:off x="5361929" y="4830565"/>
            <a:ext cx="298480" cy="307777"/>
          </a:xfrm>
          <a:prstGeom prst="rect">
            <a:avLst/>
          </a:prstGeom>
          <a:noFill/>
        </p:spPr>
        <p:txBody>
          <a:bodyPr wrap="none" rtlCol="0">
            <a:spAutoFit/>
          </a:bodyPr>
          <a:lstStyle/>
          <a:p>
            <a:r>
              <a:rPr lang="en-US" sz="1400" b="1" dirty="0">
                <a:solidFill>
                  <a:schemeClr val="accent1"/>
                </a:solidFill>
              </a:rPr>
              <a:t>1</a:t>
            </a:r>
          </a:p>
        </p:txBody>
      </p:sp>
      <p:sp>
        <p:nvSpPr>
          <p:cNvPr id="10" name="TextBox 9">
            <a:extLst>
              <a:ext uri="{FF2B5EF4-FFF2-40B4-BE49-F238E27FC236}">
                <a16:creationId xmlns:a16="http://schemas.microsoft.com/office/drawing/2014/main" id="{8D373D48-B49D-9645-938E-12E8A2251F4E}"/>
              </a:ext>
            </a:extLst>
          </p:cNvPr>
          <p:cNvSpPr txBox="1"/>
          <p:nvPr/>
        </p:nvSpPr>
        <p:spPr>
          <a:xfrm>
            <a:off x="5636879" y="4492771"/>
            <a:ext cx="298480" cy="307777"/>
          </a:xfrm>
          <a:prstGeom prst="rect">
            <a:avLst/>
          </a:prstGeom>
          <a:noFill/>
        </p:spPr>
        <p:txBody>
          <a:bodyPr wrap="none" rtlCol="0">
            <a:spAutoFit/>
          </a:bodyPr>
          <a:lstStyle/>
          <a:p>
            <a:r>
              <a:rPr lang="en-US" sz="1400" b="1" dirty="0">
                <a:solidFill>
                  <a:schemeClr val="accent1"/>
                </a:solidFill>
              </a:rPr>
              <a:t>2</a:t>
            </a:r>
          </a:p>
        </p:txBody>
      </p:sp>
      <p:sp>
        <p:nvSpPr>
          <p:cNvPr id="11" name="TextBox 10">
            <a:extLst>
              <a:ext uri="{FF2B5EF4-FFF2-40B4-BE49-F238E27FC236}">
                <a16:creationId xmlns:a16="http://schemas.microsoft.com/office/drawing/2014/main" id="{294B0DE9-3A4D-D644-A40A-CBF9F3EA854B}"/>
              </a:ext>
            </a:extLst>
          </p:cNvPr>
          <p:cNvSpPr txBox="1"/>
          <p:nvPr/>
        </p:nvSpPr>
        <p:spPr>
          <a:xfrm>
            <a:off x="5742144" y="3815612"/>
            <a:ext cx="298480" cy="307777"/>
          </a:xfrm>
          <a:prstGeom prst="rect">
            <a:avLst/>
          </a:prstGeom>
          <a:noFill/>
        </p:spPr>
        <p:txBody>
          <a:bodyPr wrap="none" rtlCol="0">
            <a:spAutoFit/>
          </a:bodyPr>
          <a:lstStyle/>
          <a:p>
            <a:r>
              <a:rPr lang="en-US" sz="1400" b="1" dirty="0">
                <a:solidFill>
                  <a:schemeClr val="accent1"/>
                </a:solidFill>
              </a:rPr>
              <a:t>3</a:t>
            </a:r>
          </a:p>
        </p:txBody>
      </p:sp>
      <p:pic>
        <p:nvPicPr>
          <p:cNvPr id="8" name="Audio 7">
            <a:hlinkClick r:id="" action="ppaction://media"/>
            <a:extLst>
              <a:ext uri="{FF2B5EF4-FFF2-40B4-BE49-F238E27FC236}">
                <a16:creationId xmlns:a16="http://schemas.microsoft.com/office/drawing/2014/main" id="{1E119891-3902-BB46-954A-707CA3277B77}"/>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226800" y="5892800"/>
            <a:ext cx="812800" cy="812800"/>
          </a:xfrm>
          <a:prstGeom prst="rect">
            <a:avLst/>
          </a:prstGeom>
        </p:spPr>
      </p:pic>
    </p:spTree>
    <p:extLst>
      <p:ext uri="{BB962C8B-B14F-4D97-AF65-F5344CB8AC3E}">
        <p14:creationId xmlns:p14="http://schemas.microsoft.com/office/powerpoint/2010/main" val="2240483146"/>
      </p:ext>
    </p:extLst>
  </p:cSld>
  <p:clrMapOvr>
    <a:masterClrMapping/>
  </p:clrMapOvr>
  <p:transition spd="slow" advTm="131681">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H3Skcwk0E2P8PXZsjv8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ehbMpfwp0KH19RQniio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H_M8JAOa0S6DpOFAcd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nDb0egM8UiH7.TrZvgU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ZUdhFp5MEaGJL._vYV0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QZSxORKB0SBO0kH3Nvm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SnwTjHyEUecTwBL.Nsy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tJWXRSAjE.H9uTTabaq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wakVjWRu0qXathmwwBA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oI753_dREuxiF2v0lKB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zOKk.O8kazl74FnAUT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VSPh39PCE2bOPlh0hH7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w8UeUO_20uKotAQEF7y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7PL0NqxSkyE1WDodlnS2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Riu7lXtqEKhyJ2rzwDT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UmQ2FRGxEeOb54fnA7l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z90yc_LYkmpPWiqFRb5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Irqufyr0.5h.rT.ODn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ALQNdhbDk6XVstxyLMH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QvYuGoVc022qPAnXtG_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dtmfVMY.E.y8uGBT4jp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g8B4.mkv0y2yR9a_yYX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qj1F8F31k.f.B2joMS3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csIUcvttU60_ugmII1q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9UfU7F0uEu8v4Leyogz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61qmbbWSkqVBBmfiN9q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iQvhwKJsUmyrttVA1zZ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ou.HupfL0Cr94Bl5kf4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BR7A1wrNk2GtUVI1GVZ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YYtt5Tut0ikLF602xlA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TXew2i0jk.dTgihsIHP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ZfTQen7zUCdYpuAtv9c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0XLbFJUF0y1WM.CoMlg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B8.gxTuOEG3LZpP6Z79b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x_uqil30UeVyz2Uxs5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qTJ9awHyUi6W7HdPjzl8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hJgM8qDpEuM3SBKpoGu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Uuy_WGml0KsJK.L1RRB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owLQkPcTUa.Y9.I4uV5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7JKSeKjVUyD2ie3GsZw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RXYPlo5WkmWtGudgQYw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IvufTrJkG_WcDL5XZk_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HPwLDmh6UG0GK3kWC5dM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fAI6aHeQkG3cIkzvB7J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5mYUOMwE0qFumjRPYOh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ngtM_C31kefXEQtG96i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PsOsObJoE6qJ5GbWusM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3NAnSSaikOa9yaACIuF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4MBraLMs0adauk0i0vY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OoBhBM5TEm.THDelqcz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4nI7MFjkKxx.L_FxZd2A"/>
</p:tagLst>
</file>

<file path=ppt/tags/tag56.xml><?xml version="1.0" encoding="utf-8"?>
<p:tagLst xmlns:a="http://schemas.openxmlformats.org/drawingml/2006/main" xmlns:r="http://schemas.openxmlformats.org/officeDocument/2006/relationships" xmlns:p="http://schemas.openxmlformats.org/presentationml/2006/main">
  <p:tag name="NAME" val="Oval"/>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bItuW9Vgkec1WoojG4Sqg"/>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1.xml><?xml version="1.0" encoding="utf-8"?>
<p:tagLst xmlns:a="http://schemas.openxmlformats.org/drawingml/2006/main" xmlns:r="http://schemas.openxmlformats.org/officeDocument/2006/relationships" xmlns:p="http://schemas.openxmlformats.org/presentationml/2006/main">
  <p:tag name="ISLEGEND"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XsSoxjxQU2wxCGOZfGf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nA7aWq.1ESvGlDxGyyJ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EcnxCFz02xZv0awUnHxQ"/>
</p:tagLst>
</file>

<file path=ppt/theme/theme1.xml><?xml version="1.0" encoding="utf-8"?>
<a:theme xmlns:a="http://schemas.openxmlformats.org/drawingml/2006/main" name="Office Theme">
  <a:themeElements>
    <a:clrScheme name="Custom 12">
      <a:dk1>
        <a:sysClr val="windowText" lastClr="000000"/>
      </a:dk1>
      <a:lt1>
        <a:sysClr val="window" lastClr="FFFFFF"/>
      </a:lt1>
      <a:dk2>
        <a:srgbClr val="44546A"/>
      </a:dk2>
      <a:lt2>
        <a:srgbClr val="BBBCBC"/>
      </a:lt2>
      <a:accent1>
        <a:srgbClr val="FF0066"/>
      </a:accent1>
      <a:accent2>
        <a:srgbClr val="FF3300"/>
      </a:accent2>
      <a:accent3>
        <a:srgbClr val="FF9900"/>
      </a:accent3>
      <a:accent4>
        <a:srgbClr val="FFC000"/>
      </a:accent4>
      <a:accent5>
        <a:srgbClr val="660033"/>
      </a:accent5>
      <a:accent6>
        <a:srgbClr val="5F2B5A"/>
      </a:accent6>
      <a:hlink>
        <a:srgbClr val="8DC8E8"/>
      </a:hlink>
      <a:folHlink>
        <a:srgbClr val="954F72"/>
      </a:folHlink>
    </a:clrScheme>
    <a:fontScheme name="Custom 2">
      <a:majorFont>
        <a:latin typeface="Tahoma Bold"/>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60</TotalTime>
  <Words>2115</Words>
  <Application>Microsoft Macintosh PowerPoint</Application>
  <PresentationFormat>Widescreen</PresentationFormat>
  <Paragraphs>174</Paragraphs>
  <Slides>11</Slides>
  <Notes>11</Notes>
  <HiddenSlides>0</HiddenSlides>
  <MMClips>1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Calibri</vt:lpstr>
      <vt:lpstr>Candara</vt:lpstr>
      <vt:lpstr>Tahoma</vt:lpstr>
      <vt:lpstr>Tahoma Bold</vt:lpstr>
      <vt:lpstr>Office Theme</vt:lpstr>
      <vt:lpstr>The role of pathogen genomics in COVID19 outbreak response</vt:lpstr>
      <vt:lpstr>The role of pathogen genomics</vt:lpstr>
      <vt:lpstr>The role of pathogen genomics</vt:lpstr>
      <vt:lpstr>The role of pathogen genomics</vt:lpstr>
      <vt:lpstr>The role of pathogen genomics</vt:lpstr>
      <vt:lpstr>The role of pathogen genomics</vt:lpstr>
      <vt:lpstr>The role of pathogen genomics</vt:lpstr>
      <vt:lpstr>The role of pathogen genomics</vt:lpstr>
      <vt:lpstr>The role of pathogen genomics</vt:lpstr>
      <vt:lpstr>The role of pathogen genomics</vt:lpstr>
      <vt:lpstr>The role of pathogen genom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na Bicu</dc:creator>
  <cp:lastModifiedBy>alan christoffels</cp:lastModifiedBy>
  <cp:revision>132</cp:revision>
  <dcterms:created xsi:type="dcterms:W3CDTF">2020-04-07T08:32:00Z</dcterms:created>
  <dcterms:modified xsi:type="dcterms:W3CDTF">2020-05-21T08:27:45Z</dcterms:modified>
</cp:coreProperties>
</file>